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69" r:id="rId5"/>
  </p:sldMasterIdLst>
  <p:notesMasterIdLst>
    <p:notesMasterId r:id="rId30"/>
  </p:notesMasterIdLst>
  <p:handoutMasterIdLst>
    <p:handoutMasterId r:id="rId31"/>
  </p:handoutMasterIdLst>
  <p:sldIdLst>
    <p:sldId id="256" r:id="rId6"/>
    <p:sldId id="455" r:id="rId7"/>
    <p:sldId id="447" r:id="rId8"/>
    <p:sldId id="353" r:id="rId9"/>
    <p:sldId id="451" r:id="rId10"/>
    <p:sldId id="363" r:id="rId11"/>
    <p:sldId id="448" r:id="rId12"/>
    <p:sldId id="356" r:id="rId13"/>
    <p:sldId id="357" r:id="rId14"/>
    <p:sldId id="369" r:id="rId15"/>
    <p:sldId id="452" r:id="rId16"/>
    <p:sldId id="360" r:id="rId17"/>
    <p:sldId id="362" r:id="rId18"/>
    <p:sldId id="365" r:id="rId19"/>
    <p:sldId id="453" r:id="rId20"/>
    <p:sldId id="372" r:id="rId21"/>
    <p:sldId id="367" r:id="rId22"/>
    <p:sldId id="449" r:id="rId23"/>
    <p:sldId id="366" r:id="rId24"/>
    <p:sldId id="446" r:id="rId25"/>
    <p:sldId id="370" r:id="rId26"/>
    <p:sldId id="450" r:id="rId27"/>
    <p:sldId id="371" r:id="rId28"/>
    <p:sldId id="454" r:id="rId29"/>
  </p:sldIdLst>
  <p:sldSz cx="12192000" cy="6858000"/>
  <p:notesSz cx="6858000" cy="9144000"/>
  <p:custDataLst>
    <p:tags r:id="rId32"/>
  </p:custDataLst>
  <p:defaultTextStyle>
    <a:defPPr>
      <a:defRPr lang="en-US"/>
    </a:defPPr>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B28F46E-124F-1422-CA50-2E29BDCE5B3E}" name="Marc Martens" initials="MM" userId="S::MZM@twobirds.com::a3e27f3c-b9a1-42a8-9f09-b5fab181d88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0F0F0"/>
    <a:srgbClr val="005C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6E914CF-E091-4348-A3B9-0B77A1330A93}">
  <a:tblStyle styleId="{B6E914CF-E091-4348-A3B9-0B77A1330A93}" styleName="Bird &amp; Bird">
    <a:wholeTbl>
      <a:tcTxStyle>
        <a:fontRef idx="minor">
          <a:prstClr val="black"/>
        </a:fontRef>
        <a:schemeClr val="dk1"/>
      </a:tcTxStyle>
      <a:tcStyle>
        <a:tcBdr>
          <a:left>
            <a:ln>
              <a:noFill/>
            </a:ln>
          </a:left>
          <a:right>
            <a:ln>
              <a:noFill/>
            </a:ln>
          </a:right>
          <a:top>
            <a:ln w="12700" cmpd="sng">
              <a:solidFill>
                <a:schemeClr val="dk1"/>
              </a:solidFill>
            </a:ln>
          </a:top>
          <a:bottom>
            <a:ln w="12700" cmpd="sng">
              <a:solidFill>
                <a:schemeClr val="dk1"/>
              </a:solidFill>
            </a:ln>
          </a:bottom>
          <a:insideH>
            <a:ln w="6350" cmpd="sng">
              <a:solidFill>
                <a:schemeClr val="dk1"/>
              </a:solidFill>
            </a:ln>
          </a:insideH>
          <a:insideV>
            <a:ln>
              <a:noFill/>
            </a:ln>
          </a:insideV>
        </a:tcBdr>
        <a:fill>
          <a:noFill/>
        </a:fill>
      </a:tcStyle>
    </a:wholeTbl>
    <a:band1H>
      <a:tcStyle>
        <a:tcBdr/>
        <a:fill>
          <a:solidFill>
            <a:schemeClr val="accent1">
              <a:tint val="20000"/>
            </a:schemeClr>
          </a:solidFill>
        </a:fill>
      </a:tcStyle>
    </a:band1H>
    <a:band2H>
      <a:tcStyle>
        <a:tcBdr/>
      </a:tcStyle>
    </a:band2H>
    <a:firstCol>
      <a:tcTxStyle>
        <a:fontRef idx="major">
          <a:prstClr val="black"/>
        </a:fontRef>
        <a:schemeClr val="dk1"/>
      </a:tcTxStyle>
      <a:tcStyle>
        <a:tcBdr/>
      </a:tcStyle>
    </a:firstCol>
    <a:lastRow>
      <a:tcTxStyle>
        <a:fontRef idx="minor">
          <a:prstClr val="black"/>
        </a:fontRef>
        <a:schemeClr val="dk1"/>
      </a:tcTxStyle>
      <a:tcStyle>
        <a:tcBdr/>
        <a:fill>
          <a:solidFill>
            <a:schemeClr val="bg2"/>
          </a:solidFill>
        </a:fill>
      </a:tcStyle>
    </a:lastRow>
    <a:firstRow>
      <a:tcTxStyle>
        <a:fontRef idx="major">
          <a:prstClr val="black"/>
        </a:fontRef>
        <a:schemeClr val="dk1"/>
      </a:tcTxStyle>
      <a:tcStyle>
        <a:tcBdr>
          <a:top>
            <a:ln w="0" cmpd="sng">
              <a:noFill/>
            </a:ln>
          </a:top>
          <a:bottom>
            <a:ln w="12700" cmpd="sng">
              <a:solidFill>
                <a:schemeClr val="dk1"/>
              </a:solidFill>
            </a:ln>
          </a:bottom>
        </a:tcBdr>
        <a:fill>
          <a:solidFill>
            <a:schemeClr val="accent1"/>
          </a:solidFill>
        </a:fill>
      </a:tcStyle>
    </a:firstRow>
    <a:nwCell>
      <a:tcTxStyle b="off">
        <a:fontRef idx="major">
          <a:prstClr val="black"/>
        </a:fontRef>
        <a:schemeClr val="dk1"/>
      </a:tcTxStyle>
      <a:tcStyle>
        <a:tcBdr/>
      </a:tcStyle>
    </a:nwCell>
  </a:tblStyle>
  <a:tblStyle styleId="{5C22544A-7EE6-4342-B048-85BDC9FD1C3A}" styleName="Medium Style 2 - Accent 1">
    <a:wholeTbl>
      <a:tcTxStyle>
        <a:fontRef idx="minor">
          <a:prstClr val="black"/>
        </a:fontRef>
        <a:schemeClr val="dk1"/>
      </a:tcTxStyle>
      <a:tcStyle>
        <a:tcBdr>
          <a:left>
            <a:ln>
              <a:noFill/>
            </a:ln>
          </a:left>
          <a:right>
            <a:ln>
              <a:noFill/>
            </a:ln>
          </a:right>
          <a:top>
            <a:ln w="12700" cmpd="sng">
              <a:solidFill>
                <a:schemeClr val="dk1"/>
              </a:solidFill>
            </a:ln>
          </a:top>
          <a:bottom>
            <a:ln w="12700" cmpd="sng">
              <a:solidFill>
                <a:schemeClr val="dk1"/>
              </a:solidFill>
            </a:ln>
          </a:bottom>
          <a:insideH>
            <a:ln w="6350" cmpd="sng">
              <a:solidFill>
                <a:schemeClr val="dk1"/>
              </a:solidFill>
            </a:ln>
          </a:insideH>
          <a:insideV>
            <a:ln>
              <a:noFill/>
            </a:ln>
          </a:insideV>
        </a:tcBdr>
        <a:fill>
          <a:noFill/>
        </a:fill>
      </a:tcStyle>
    </a:wholeTbl>
    <a:band1H>
      <a:tcStyle>
        <a:tcBdr/>
        <a:fill>
          <a:solidFill>
            <a:schemeClr val="accent1">
              <a:tint val="20000"/>
            </a:schemeClr>
          </a:solidFill>
        </a:fill>
      </a:tcStyle>
    </a:band1H>
    <a:band2H>
      <a:tcStyle>
        <a:tcBdr/>
      </a:tcStyle>
    </a:band2H>
    <a:firstCol>
      <a:tcTxStyle>
        <a:fontRef idx="major">
          <a:prstClr val="black"/>
        </a:fontRef>
        <a:schemeClr val="dk1"/>
      </a:tcTxStyle>
      <a:tcStyle>
        <a:tcBdr/>
      </a:tcStyle>
    </a:firstCol>
    <a:lastRow>
      <a:tcTxStyle>
        <a:fontRef idx="minor">
          <a:prstClr val="black"/>
        </a:fontRef>
        <a:schemeClr val="dk1"/>
      </a:tcTxStyle>
      <a:tcStyle>
        <a:tcBdr/>
        <a:fill>
          <a:solidFill>
            <a:schemeClr val="bg2"/>
          </a:solidFill>
        </a:fill>
      </a:tcStyle>
    </a:lastRow>
    <a:firstRow>
      <a:tcTxStyle>
        <a:fontRef idx="major">
          <a:prstClr val="black"/>
        </a:fontRef>
        <a:schemeClr val="dk1"/>
      </a:tcTxStyle>
      <a:tcStyle>
        <a:tcBdr>
          <a:top>
            <a:ln w="0" cmpd="sng">
              <a:noFill/>
            </a:ln>
          </a:top>
          <a:bottom>
            <a:ln w="12700" cmpd="sng">
              <a:solidFill>
                <a:schemeClr val="dk1"/>
              </a:solidFill>
            </a:ln>
          </a:bottom>
        </a:tcBdr>
        <a:fill>
          <a:solidFill>
            <a:schemeClr val="accent1"/>
          </a:solidFill>
        </a:fill>
      </a:tcStyle>
    </a:firstRow>
    <a:nwCell>
      <a:tcTxStyle b="off">
        <a:fontRef idx="major">
          <a:prstClr val="black"/>
        </a:fontRef>
        <a:schemeClr val="dk1"/>
      </a:tcTxStyle>
      <a:tcStyle>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405" autoAdjust="0"/>
    <p:restoredTop sz="93792" autoAdjust="0"/>
  </p:normalViewPr>
  <p:slideViewPr>
    <p:cSldViewPr snapToGrid="0">
      <p:cViewPr varScale="1">
        <p:scale>
          <a:sx n="67" d="100"/>
          <a:sy n="67" d="100"/>
        </p:scale>
        <p:origin x="128" y="44"/>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29610"/>
    </p:cViewPr>
  </p:sorterViewPr>
  <p:notesViewPr>
    <p:cSldViewPr snapToGrid="0" showGuides="1">
      <p:cViewPr varScale="1">
        <p:scale>
          <a:sx n="88" d="100"/>
          <a:sy n="88" d="100"/>
        </p:scale>
        <p:origin x="3822" y="72"/>
      </p:cViewPr>
      <p:guideLst/>
    </p:cSldViewPr>
  </p:notesViewPr>
  <p:gridSpacing cx="72008" cy="72008"/>
</p:viewPr>
</file>

<file path=ppt/_rels/presentation.xml.rels>&#65279;<?xml version="1.0" encoding="utf-8"?><Relationships xmlns="http://schemas.openxmlformats.org/package/2006/relationships"><Relationship Type="http://schemas.openxmlformats.org/officeDocument/2006/relationships/slide" Target="slides/slide8.xml" Id="rId13" /><Relationship Type="http://schemas.openxmlformats.org/officeDocument/2006/relationships/slide" Target="slides/slide13.xml" Id="rId18" /><Relationship Type="http://schemas.openxmlformats.org/officeDocument/2006/relationships/slide" Target="slides/slide21.xml" Id="rId26" /><Relationship Type="http://schemas.openxmlformats.org/officeDocument/2006/relationships/slide" Target="slides/slide16.xml" Id="rId21" /><Relationship Type="http://schemas.openxmlformats.org/officeDocument/2006/relationships/viewProps" Target="viewProps.xml" Id="rId34" /><Relationship Type="http://schemas.openxmlformats.org/officeDocument/2006/relationships/slide" Target="slides/slide2.xml" Id="rId7" /><Relationship Type="http://schemas.openxmlformats.org/officeDocument/2006/relationships/slide" Target="slides/slide7.xml" Id="rId12" /><Relationship Type="http://schemas.openxmlformats.org/officeDocument/2006/relationships/slide" Target="slides/slide12.xml" Id="rId17" /><Relationship Type="http://schemas.openxmlformats.org/officeDocument/2006/relationships/slide" Target="slides/slide20.xml" Id="rId25" /><Relationship Type="http://schemas.openxmlformats.org/officeDocument/2006/relationships/presProps" Target="presProps.xml" Id="rId33" /><Relationship Type="http://schemas.openxmlformats.org/officeDocument/2006/relationships/customXml" Target="../customXml/item2.xml" Id="rId2" /><Relationship Type="http://schemas.openxmlformats.org/officeDocument/2006/relationships/slide" Target="slides/slide11.xml" Id="rId16" /><Relationship Type="http://schemas.openxmlformats.org/officeDocument/2006/relationships/slide" Target="slides/slide15.xml" Id="rId20" /><Relationship Type="http://schemas.openxmlformats.org/officeDocument/2006/relationships/slide" Target="slides/slide24.xml" Id="rId29" /><Relationship Type="http://schemas.openxmlformats.org/officeDocument/2006/relationships/customXml" Target="../customXml/item1.xml" Id="rId1" /><Relationship Type="http://schemas.openxmlformats.org/officeDocument/2006/relationships/slide" Target="slides/slide1.xml" Id="rId6" /><Relationship Type="http://schemas.openxmlformats.org/officeDocument/2006/relationships/slide" Target="slides/slide6.xml" Id="rId11" /><Relationship Type="http://schemas.openxmlformats.org/officeDocument/2006/relationships/slide" Target="slides/slide19.xml" Id="rId24" /><Relationship Type="http://schemas.openxmlformats.org/officeDocument/2006/relationships/tags" Target="tags/tag1.xml" Id="rId32" /><Relationship Type="http://schemas.microsoft.com/office/2018/10/relationships/authors" Target="authors.xml" Id="rId37" /><Relationship Type="http://schemas.openxmlformats.org/officeDocument/2006/relationships/slideMaster" Target="slideMasters/slideMaster2.xml" Id="rId5" /><Relationship Type="http://schemas.openxmlformats.org/officeDocument/2006/relationships/slide" Target="slides/slide10.xml" Id="rId15" /><Relationship Type="http://schemas.openxmlformats.org/officeDocument/2006/relationships/slide" Target="slides/slide18.xml" Id="rId23" /><Relationship Type="http://schemas.openxmlformats.org/officeDocument/2006/relationships/slide" Target="slides/slide23.xml" Id="rId28" /><Relationship Type="http://schemas.openxmlformats.org/officeDocument/2006/relationships/tableStyles" Target="tableStyles.xml" Id="rId36" /><Relationship Type="http://schemas.openxmlformats.org/officeDocument/2006/relationships/slide" Target="slides/slide5.xml" Id="rId10" /><Relationship Type="http://schemas.openxmlformats.org/officeDocument/2006/relationships/slide" Target="slides/slide14.xml" Id="rId19" /><Relationship Type="http://schemas.openxmlformats.org/officeDocument/2006/relationships/handoutMaster" Target="handoutMasters/handoutMaster1.xml" Id="rId31" /><Relationship Type="http://schemas.openxmlformats.org/officeDocument/2006/relationships/slideMaster" Target="slideMasters/slideMaster1.xml" Id="rId4" /><Relationship Type="http://schemas.openxmlformats.org/officeDocument/2006/relationships/slide" Target="slides/slide4.xml" Id="rId9" /><Relationship Type="http://schemas.openxmlformats.org/officeDocument/2006/relationships/slide" Target="slides/slide9.xml" Id="rId14" /><Relationship Type="http://schemas.openxmlformats.org/officeDocument/2006/relationships/slide" Target="slides/slide17.xml" Id="rId22" /><Relationship Type="http://schemas.openxmlformats.org/officeDocument/2006/relationships/slide" Target="slides/slide22.xml" Id="rId27" /><Relationship Type="http://schemas.openxmlformats.org/officeDocument/2006/relationships/notesMaster" Target="notesMasters/notesMaster1.xml" Id="rId30" /><Relationship Type="http://schemas.openxmlformats.org/officeDocument/2006/relationships/theme" Target="theme/theme1.xml" Id="rId35" /><Relationship Type="http://schemas.openxmlformats.org/officeDocument/2006/relationships/slide" Target="slides/slide3.xml" Id="rId8" /><Relationship Type="http://schemas.openxmlformats.org/officeDocument/2006/relationships/customXml" Target="../customXml/item3.xml" Id="rId3" /><Relationship Type="http://schemas.openxmlformats.org/officeDocument/2006/relationships/customXml" Target="/customXML/item4.xml" Id="imanage.xml" /></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C2A3464-1F9C-4FB9-A86F-089F2DC6D59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0A819BC2-36D0-4B45-94A9-C78D4BBBF98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2140E2-8FE0-477F-ABCA-0D9406DC1A18}" type="datetimeFigureOut">
              <a:rPr lang="en-GB" smtClean="0"/>
              <a:t>14/11/2022</a:t>
            </a:fld>
            <a:endParaRPr lang="en-GB"/>
          </a:p>
        </p:txBody>
      </p:sp>
      <p:sp>
        <p:nvSpPr>
          <p:cNvPr id="4" name="Footer Placeholder 3">
            <a:extLst>
              <a:ext uri="{FF2B5EF4-FFF2-40B4-BE49-F238E27FC236}">
                <a16:creationId xmlns:a16="http://schemas.microsoft.com/office/drawing/2014/main" id="{7BA8E174-17F4-440A-AD2E-52D18133EF9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005D94D-0467-41F1-8CC3-AE76EC28932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E126785-7F39-4491-A6ED-08A7BD8E2ECE}" type="slidenum">
              <a:rPr lang="en-GB" smtClean="0"/>
              <a:t>‹#›</a:t>
            </a:fld>
            <a:endParaRPr lang="en-GB"/>
          </a:p>
        </p:txBody>
      </p:sp>
    </p:spTree>
    <p:extLst>
      <p:ext uri="{BB962C8B-B14F-4D97-AF65-F5344CB8AC3E}">
        <p14:creationId xmlns:p14="http://schemas.microsoft.com/office/powerpoint/2010/main" val="3722475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6B173CE-6B02-426E-8088-47D675976D29}" type="datetimeFigureOut">
              <a:rPr lang="en-GB" smtClean="0"/>
              <a:t>14/11/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AA0218-8EA7-46C1-B12C-665269A91A87}" type="slidenum">
              <a:rPr lang="en-GB" smtClean="0"/>
              <a:t>‹#›</a:t>
            </a:fld>
            <a:endParaRPr lang="en-GB"/>
          </a:p>
        </p:txBody>
      </p:sp>
    </p:spTree>
    <p:extLst>
      <p:ext uri="{BB962C8B-B14F-4D97-AF65-F5344CB8AC3E}">
        <p14:creationId xmlns:p14="http://schemas.microsoft.com/office/powerpoint/2010/main" val="28959321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dirty="0"/>
              <a:t>Introduction</a:t>
            </a:r>
            <a:r>
              <a:rPr lang="fr-BE" dirty="0"/>
              <a:t>: </a:t>
            </a:r>
          </a:p>
          <a:p>
            <a:pPr algn="just"/>
            <a:r>
              <a:rPr lang="fr-FR" sz="1600" b="0" i="1" u="none" strike="noStrike" baseline="0" dirty="0">
                <a:latin typeface="OpenSans-Light"/>
              </a:rPr>
              <a:t>En 2014, l'Agence européenne des médicaments (EMA) a publié le règlement sur les essais cliniques UE n° 536/2014[1] afin d'harmoniser les processus d'évaluation et de supervision des essais cliniques sur les médicaments à usage humain. Il s'appuie sur la directive 2001/20/CE[2] et sur les idéaux représentés dans la procédure d'harmonisation volontaire (VHP)[3] par le groupe de facilitation des essais cliniques (CTFG) des Heads of </a:t>
            </a:r>
            <a:r>
              <a:rPr lang="fr-FR" sz="1600" b="0" i="1" u="none" strike="noStrike" baseline="0" dirty="0" err="1">
                <a:latin typeface="OpenSans-Light"/>
              </a:rPr>
              <a:t>Medicines</a:t>
            </a:r>
            <a:r>
              <a:rPr lang="fr-FR" sz="1600" b="0" i="1" u="none" strike="noStrike" baseline="0" dirty="0">
                <a:latin typeface="OpenSans-Light"/>
              </a:rPr>
              <a:t> (HMA).</a:t>
            </a:r>
            <a:endParaRPr lang="nl-NL" sz="1600" i="1" dirty="0"/>
          </a:p>
        </p:txBody>
      </p:sp>
      <p:sp>
        <p:nvSpPr>
          <p:cNvPr id="4" name="Slide Number Placeholder 3"/>
          <p:cNvSpPr>
            <a:spLocks noGrp="1"/>
          </p:cNvSpPr>
          <p:nvPr>
            <p:ph type="sldNum" sz="quarter" idx="5"/>
          </p:nvPr>
        </p:nvSpPr>
        <p:spPr/>
        <p:txBody>
          <a:bodyPr/>
          <a:lstStyle/>
          <a:p>
            <a:fld id="{57AA0218-8EA7-46C1-B12C-665269A91A87}" type="slidenum">
              <a:rPr lang="en-GB" smtClean="0"/>
              <a:t>1</a:t>
            </a:fld>
            <a:endParaRPr lang="en-GB"/>
          </a:p>
        </p:txBody>
      </p:sp>
    </p:spTree>
    <p:extLst>
      <p:ext uri="{BB962C8B-B14F-4D97-AF65-F5344CB8AC3E}">
        <p14:creationId xmlns:p14="http://schemas.microsoft.com/office/powerpoint/2010/main" val="3174783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dirty="0">
                <a:solidFill>
                  <a:srgbClr val="000000"/>
                </a:solidFill>
                <a:effectLst/>
                <a:latin typeface="Verdana" panose="020B0604030504040204" pitchFamily="34" charset="0"/>
              </a:rPr>
              <a:t>Le règlement permet aux promoteurs de soumettre une seule demande en ligne, via une plateforme en ligne unique connue sous le nom de système d'information sur les essais cliniques (CTIS), pour obtenir l'autorisation de mener un essai clinique dans plusieurs pays européens, ce qui rend plus efficace la réalisation de ces essais multinationaux. Cela permet également aux États membres de l'UE d'évaluer et d'autoriser ensemble ces demand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b="0" i="0" dirty="0">
              <a:solidFill>
                <a:srgbClr val="000000"/>
              </a:solidFill>
              <a:effectLst/>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dirty="0">
                <a:solidFill>
                  <a:srgbClr val="000000"/>
                </a:solidFill>
                <a:effectLst/>
                <a:latin typeface="Verdana" panose="020B0604030504040204" pitchFamily="34" charset="0"/>
              </a:rPr>
              <a:t>Les régulateurs nationaux peuvent demander des informations complémentaires, autoriser ou refuser un essai et superviser un essai autorisé.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b="0" i="0" dirty="0">
              <a:solidFill>
                <a:srgbClr val="000000"/>
              </a:solidFill>
              <a:effectLst/>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dirty="0">
                <a:solidFill>
                  <a:srgbClr val="000000"/>
                </a:solidFill>
                <a:effectLst/>
                <a:latin typeface="Verdana" panose="020B0604030504040204" pitchFamily="34" charset="0"/>
              </a:rPr>
              <a:t>Site web public des essais cliniques : http://euclinicaltrials.eu/home </a:t>
            </a:r>
            <a:endParaRPr lang="en-GB" sz="900" b="0" i="0" u="none" dirty="0">
              <a:solidFill>
                <a:schemeClr val="tx1"/>
              </a:solidFill>
              <a:effectLst/>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b="0" i="0" u="none" dirty="0">
              <a:solidFill>
                <a:schemeClr val="tx1"/>
              </a:solidFill>
              <a:effectLst/>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u="none" dirty="0">
                <a:solidFill>
                  <a:schemeClr val="tx1"/>
                </a:solidFill>
                <a:effectLst/>
                <a:latin typeface="Verdana" panose="020B0604030504040204" pitchFamily="34" charset="0"/>
              </a:rPr>
              <a:t>Période de transition :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u="none" dirty="0">
                <a:solidFill>
                  <a:schemeClr val="tx1"/>
                </a:solidFill>
                <a:effectLst/>
                <a:latin typeface="Verdana" panose="020B0604030504040204" pitchFamily="34" charset="0"/>
              </a:rPr>
              <a:t>Le CTR a introduit des changements substantiels dans la manière dont les essais cliniques sont autorisés dans l'UE, permettant aux promoteurs de soumettre une seule demande pour réaliser un essai clinique dans plusieurs pays de l'UE, ce qui rend plus efficace la réalisation de ces essais multinationaux. Les promoteurs peuvent continuer à choisir de demander la réalisation d'un essai clinique en vertu de la directive CTD pendant une période de transition.</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u="none" dirty="0">
                <a:solidFill>
                  <a:schemeClr val="tx1"/>
                </a:solidFill>
                <a:effectLst/>
                <a:latin typeface="Verdana" panose="020B0604030504040204" pitchFamily="34" charset="0"/>
              </a:rPr>
              <a:t>Année 1 : les essais cliniques peuvent être soumis selon les anciennes ou les nouvelles règle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u="none" dirty="0">
                <a:solidFill>
                  <a:schemeClr val="tx1"/>
                </a:solidFill>
                <a:effectLst/>
                <a:latin typeface="Verdana" panose="020B0604030504040204" pitchFamily="34" charset="0"/>
              </a:rPr>
              <a:t>Années 2 et 3 : les essais cliniques ne peuvent être soumis qu'en vertu de la directive sur les essais cliniques, mais les essais autorisés en vertu de la directive continuent d'être régis par la directive (*à moins d'être "commuté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u="none" dirty="0">
                <a:solidFill>
                  <a:schemeClr val="tx1"/>
                </a:solidFill>
                <a:effectLst/>
                <a:latin typeface="Verdana" panose="020B0604030504040204" pitchFamily="34" charset="0"/>
              </a:rPr>
              <a:t>Année 4 : tous les essais cliniques en cours et nouveaux sont soumis au CTR.</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b="0" i="0" u="none" dirty="0">
              <a:solidFill>
                <a:schemeClr val="tx1"/>
              </a:solidFill>
              <a:effectLst/>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u="none" dirty="0">
                <a:solidFill>
                  <a:schemeClr val="tx1"/>
                </a:solidFill>
                <a:effectLst/>
                <a:latin typeface="Verdana" panose="020B0604030504040204" pitchFamily="34" charset="0"/>
              </a:rPr>
              <a:t>*Guide sur le passage d'un essai de la directive CT au règlement CT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u="none" dirty="0">
                <a:solidFill>
                  <a:schemeClr val="tx1"/>
                </a:solidFill>
                <a:effectLst/>
                <a:latin typeface="Verdana" panose="020B0604030504040204" pitchFamily="34" charset="0"/>
              </a:rPr>
              <a:t>Possibilité ouverte dès le premier jour d'application du RCT.</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u="none" dirty="0">
                <a:solidFill>
                  <a:schemeClr val="tx1"/>
                </a:solidFill>
                <a:effectLst/>
                <a:latin typeface="Verdana" panose="020B0604030504040204" pitchFamily="34" charset="0"/>
              </a:rPr>
              <a:t>Seuls les essais conformes au RCT en ce qui concerne leurs "exigences substantielles" peuvent passer - la responsabilité de l'évaluation incombe au promoteur.</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u="none" dirty="0">
                <a:solidFill>
                  <a:schemeClr val="tx1"/>
                </a:solidFill>
                <a:effectLst/>
                <a:latin typeface="Verdana" panose="020B0604030504040204" pitchFamily="34" charset="0"/>
              </a:rPr>
              <a:t>Non éligibles :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u="none" dirty="0">
                <a:solidFill>
                  <a:schemeClr val="tx1"/>
                </a:solidFill>
                <a:effectLst/>
                <a:latin typeface="Verdana" panose="020B0604030504040204" pitchFamily="34" charset="0"/>
              </a:rPr>
              <a:t>les essais interrompus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u="none" dirty="0">
                <a:solidFill>
                  <a:schemeClr val="tx1"/>
                </a:solidFill>
                <a:effectLst/>
                <a:latin typeface="Verdana" panose="020B0604030504040204" pitchFamily="34" charset="0"/>
              </a:rPr>
              <a:t>essais pour lesquels une modification substantielle est en attent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u="none" dirty="0">
                <a:solidFill>
                  <a:schemeClr val="tx1"/>
                </a:solidFill>
                <a:effectLst/>
                <a:latin typeface="Verdana" panose="020B0604030504040204" pitchFamily="34" charset="0"/>
              </a:rPr>
              <a:t>Les essais qui ne sont pas conformes ne peuvent pas être transférés, sauf si une demande de modification substantielle au titre du CTR est déposée et accepté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u="none" dirty="0">
                <a:solidFill>
                  <a:schemeClr val="tx1"/>
                </a:solidFill>
                <a:effectLst/>
                <a:latin typeface="Verdana" panose="020B0604030504040204" pitchFamily="34" charset="0"/>
              </a:rPr>
              <a:t>Demande au portail et à la base de données de l'UE, s'appuyant en principe sur le dossier existant + un protocole consolidé pour les essais multinationaux reflétant les dispositions fondamentales communes et les spécificités nationales telles qu'approuvées dans chaque État membre - si l'harmonisation n'est pas suffisante : demande de modification substantielle.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u="none" dirty="0">
                <a:solidFill>
                  <a:schemeClr val="tx1"/>
                </a:solidFill>
                <a:effectLst/>
                <a:latin typeface="Verdana" panose="020B0604030504040204" pitchFamily="34" charset="0"/>
              </a:rPr>
              <a:t>Les essais de substitution sont soumis à toutes les exigences du CTR (par exemple, la transparen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b="0" i="0" u="none" dirty="0">
              <a:solidFill>
                <a:schemeClr val="tx1"/>
              </a:solidFill>
              <a:effectLst/>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u="none" dirty="0">
                <a:solidFill>
                  <a:schemeClr val="tx1"/>
                </a:solidFill>
                <a:effectLst/>
                <a:latin typeface="Verdana" panose="020B0604030504040204" pitchFamily="34" charset="0"/>
              </a:rPr>
              <a:t>Progrès dans la mise en œuvre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u="none" dirty="0">
                <a:solidFill>
                  <a:schemeClr val="tx1"/>
                </a:solidFill>
                <a:effectLst/>
                <a:latin typeface="Verdana" panose="020B0604030504040204" pitchFamily="34" charset="0"/>
              </a:rPr>
              <a:t>Dans le cadre de l'initiative ACT EU (</a:t>
            </a:r>
            <a:r>
              <a:rPr lang="fr-FR" sz="900" b="0" i="0" u="none" dirty="0" err="1">
                <a:solidFill>
                  <a:schemeClr val="tx1"/>
                </a:solidFill>
                <a:effectLst/>
                <a:latin typeface="Verdana" panose="020B0604030504040204" pitchFamily="34" charset="0"/>
              </a:rPr>
              <a:t>Accelerating</a:t>
            </a:r>
            <a:r>
              <a:rPr lang="fr-FR" sz="900" b="0" i="0" u="none" dirty="0">
                <a:solidFill>
                  <a:schemeClr val="tx1"/>
                </a:solidFill>
                <a:effectLst/>
                <a:latin typeface="Verdana" panose="020B0604030504040204" pitchFamily="34" charset="0"/>
              </a:rPr>
              <a:t> Clinical Trials EU), le réseau européen de réglementation des médicaments publie chaque mois des statistiques sur l'autorisation des essais cliniques dans l'UE/EEE. Ces informations donnent un aperçu de la façon dont le règlement sur les essais cliniques transforme l'environnement des essais cliniques dans l'UE/EE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b="0" i="0" u="none" dirty="0">
              <a:solidFill>
                <a:schemeClr val="tx1"/>
              </a:solidFill>
              <a:effectLst/>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u="none" dirty="0">
                <a:solidFill>
                  <a:schemeClr val="tx1"/>
                </a:solidFill>
                <a:effectLst/>
                <a:latin typeface="Verdana" panose="020B0604030504040204" pitchFamily="34" charset="0"/>
              </a:rPr>
              <a:t>Il compare ces chiffres pour le CTR et le CTD. Le rapport comprend une ventilation de ces statistiqu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b="0" i="0" u="none" dirty="0">
              <a:solidFill>
                <a:schemeClr val="tx1"/>
              </a:solidFill>
              <a:effectLst/>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900" b="0" i="0" u="none" dirty="0">
              <a:solidFill>
                <a:schemeClr val="tx1"/>
              </a:solidFill>
              <a:effectLst/>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u="none" dirty="0">
                <a:solidFill>
                  <a:schemeClr val="tx1"/>
                </a:solidFill>
                <a:effectLst/>
                <a:latin typeface="Verdana" panose="020B0604030504040204" pitchFamily="34" charset="0"/>
              </a:rPr>
              <a:t>https://www.ema.europa.eu/en/human-regulatory/research-development/clinical-trials/clinical-trials-regul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u="none" dirty="0">
                <a:solidFill>
                  <a:schemeClr val="tx1"/>
                </a:solidFill>
                <a:effectLst/>
                <a:latin typeface="Verdana" panose="020B0604030504040204" pitchFamily="34" charset="0"/>
              </a:rPr>
              <a:t>https://www.ema.europa.eu/en/human-regulatory/research-development/clinical-trials/clinical-trials-regulation/clinical-trials-regulation-progress-implement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b="0" i="0" u="none" dirty="0">
                <a:solidFill>
                  <a:schemeClr val="tx1"/>
                </a:solidFill>
                <a:effectLst/>
                <a:latin typeface="Verdana" panose="020B0604030504040204" pitchFamily="34" charset="0"/>
              </a:rPr>
              <a:t>https://www.ema.europa.eu/en/documents/other/key-performance-indicators-kpis-monitor-european-clinical-trials-environment-1-31-august-202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dirty="0">
                <a:solidFill>
                  <a:schemeClr val="tx1"/>
                </a:solidFill>
                <a:effectLst/>
                <a:latin typeface="Verdana" panose="020B0604030504040204" pitchFamily="34" charset="0"/>
              </a:rPr>
              <a:t>_en.pdf </a:t>
            </a:r>
            <a:endParaRPr lang="fr-FR" sz="900" dirty="0"/>
          </a:p>
        </p:txBody>
      </p:sp>
      <p:sp>
        <p:nvSpPr>
          <p:cNvPr id="4" name="Slide Number Placeholder 3"/>
          <p:cNvSpPr>
            <a:spLocks noGrp="1"/>
          </p:cNvSpPr>
          <p:nvPr>
            <p:ph type="sldNum" sz="quarter" idx="5"/>
          </p:nvPr>
        </p:nvSpPr>
        <p:spPr/>
        <p:txBody>
          <a:bodyPr/>
          <a:lstStyle/>
          <a:p>
            <a:fld id="{57AA0218-8EA7-46C1-B12C-665269A91A87}" type="slidenum">
              <a:rPr lang="en-GB" smtClean="0"/>
              <a:t>11</a:t>
            </a:fld>
            <a:endParaRPr lang="en-GB"/>
          </a:p>
        </p:txBody>
      </p:sp>
    </p:spTree>
    <p:extLst>
      <p:ext uri="{BB962C8B-B14F-4D97-AF65-F5344CB8AC3E}">
        <p14:creationId xmlns:p14="http://schemas.microsoft.com/office/powerpoint/2010/main" val="36612769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Intro : Le CTIS soutient le flux d'informations/interactions entre les promoteurs, les EM (et les pays de l'EEE) et la CE.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Tout le monde peut consulter les informations contenues dans le CTIS en utilisant le site web public consultabl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0" i="0" u="none" dirty="0">
              <a:solidFill>
                <a:schemeClr val="tx1"/>
              </a:solidFill>
              <a:effectLst/>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Notification et soumission des essais clinique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Au cours d'un essai clinique, les promoteurs sont tenus de soumettre diverses notifications via le portail et la base de données CT, comme les principales étapes de l'essai et les informations importantes en matière de sécurité. À la fin de l'essai, les promoteurs sont tenus de soumettre les rapports nécessaires à des fins d'approb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0" i="0" u="none" dirty="0">
              <a:solidFill>
                <a:schemeClr val="tx1"/>
              </a:solidFill>
              <a:effectLst/>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Système de notification harmonisé</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Articles 36-37 CTR-Le promoteur doit notifier à chaque CSM via le portail de l'UE dans les 15 jours les événements clés de l'essai, notamment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Début de l'essai = défini dans le protocole, mais généralement la date à laquelle le recrutement est ouvert (par exemple, la première annonce publié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Première visite du patient = date à laquelle le sujet signe l'ICF.</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Fin du recrutement</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Fin de l'essai = dernière visite du dernier sujet, sauf si le protocole en dispose autrement.</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Fin de l'essai dans tous les États membres de l'UE/tout pays tier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Arrêt temporaire de l'essai et reprise de l'essai par la suite = arrêt imprévu (par exemple, pour des raisons de sécurité)</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Fin anticipée de l'essa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0" i="0" u="none" dirty="0">
              <a:solidFill>
                <a:schemeClr val="tx1"/>
              </a:solidFill>
              <a:effectLst/>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Espace de travail sécurisé :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les promoteurs peuvent utiliser le CTIS pour demander une autorisation d'essai clinique dans un maximum de 30 pays de l'EA au moyen d'une seule demande en lign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Les promoteurs peuvent effectuer des tâches telles que la liaison avec les régulateurs nationaux pendant qu'un essai est en cours et l'enregistrement des résultats des essais cliniques.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Les régulateurs nationaux peuvent utiliser le CTIS pour collaborer à l'évaluation et à l'autorisation d'un EC dans plusieurs pays (UE/EEE).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Les régulateurs nationaux peuvent utiliser le CTIS en parallèle avec d'autres systèmes pour collaborer à la surveillance des essais cliniques, y compris la surveillance et l'évaluation des données relatives à la sécurité du TC.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0" i="0" u="none" dirty="0">
              <a:solidFill>
                <a:schemeClr val="tx1"/>
              </a:solidFill>
              <a:effectLst/>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Espace de travail pour les promoteurs :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Compilez les demandes pour des essais cliniques nouveaux et mis à jour ;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Renvoi aux documents relatifs aux produits dans d'autres </a:t>
            </a:r>
            <a:r>
              <a:rPr lang="fr-FR" b="0" i="0" u="none" dirty="0" err="1">
                <a:solidFill>
                  <a:schemeClr val="tx1"/>
                </a:solidFill>
                <a:effectLst/>
                <a:latin typeface="Verdana" panose="020B0604030504040204" pitchFamily="34" charset="0"/>
              </a:rPr>
              <a:t>CTs</a:t>
            </a:r>
            <a:r>
              <a:rPr lang="fr-FR" b="0" i="0" u="none" dirty="0">
                <a:solidFill>
                  <a:schemeClr val="tx1"/>
                </a:solidFill>
                <a:effectLst/>
                <a:latin typeface="Verdana" panose="020B0604030504040204" pitchFamily="34" charset="0"/>
              </a:rPr>
              <a:t> ;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Soumettre les demandes à l'évaluation de l'EM ;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Recevoir des alertes/notifications pour les essais en cours dans le CTIS ;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Répondre aux demandes d'information et afficher les échéances ;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Émettre des notifications relatives aux étapes clés du cycle de vie de l'essai (par exemple, le début du recrutement) ;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Enregistrer les résultats de l'EC ;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Soumettre les rapports annuels de sécurité ;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0" i="0" u="none" dirty="0">
              <a:solidFill>
                <a:schemeClr val="tx1"/>
              </a:solidFill>
              <a:effectLst/>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Espace de travail de l'autorité :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Visualiser les dossiers de demande ;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Gérer les tâches liées à l'évaluation des ECs ;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Collaborer avec d'autres EM ;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Recevoir des alertes/notifications concernant les EC ;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Télécharger les documents soumis par les promoteurs ;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Enregistrer les inspections des sites et des EC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Effectuer des contrôles de l'Union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Évaluer les rapports annuels de sécurité ;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0" i="0" u="none" dirty="0">
              <a:solidFill>
                <a:schemeClr val="tx1"/>
              </a:solidFill>
              <a:effectLst/>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Rechercher un essai clinique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Trouver des informations telles que le numéro CT de l'UE, des détails sur le promoteur de l'essai, le début et la fin du recrutement des participants et l'essai lui-même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D'autres informations, notamment l'identité du médicament expérimental et les détails de la conception de l'essai, sont également disponibles sur ce site web, mais leur publication peut être différée pour protéger des intérêts économiques légitim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0" i="0" u="none" dirty="0">
              <a:solidFill>
                <a:schemeClr val="tx1"/>
              </a:solidFill>
              <a:effectLst/>
              <a:latin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u="none" dirty="0">
                <a:solidFill>
                  <a:schemeClr val="tx1"/>
                </a:solidFill>
                <a:effectLst/>
                <a:latin typeface="Verdana" panose="020B0604030504040204" pitchFamily="34" charset="0"/>
              </a:rPr>
              <a:t>https://www.ema.europa.eu/en/human-regulatory/research-development/clinical-trials/clinical-trials-information-system </a:t>
            </a:r>
            <a:endParaRPr lang="en-GB" b="0" i="0" u="none" dirty="0">
              <a:solidFill>
                <a:schemeClr val="tx1"/>
              </a:solidFill>
              <a:effectLst/>
              <a:latin typeface="Verdana" panose="020B0604030504040204" pitchFamily="34" charset="0"/>
            </a:endParaRPr>
          </a:p>
        </p:txBody>
      </p:sp>
      <p:sp>
        <p:nvSpPr>
          <p:cNvPr id="4" name="Slide Number Placeholder 3"/>
          <p:cNvSpPr>
            <a:spLocks noGrp="1"/>
          </p:cNvSpPr>
          <p:nvPr>
            <p:ph type="sldNum" sz="quarter" idx="5"/>
          </p:nvPr>
        </p:nvSpPr>
        <p:spPr/>
        <p:txBody>
          <a:bodyPr/>
          <a:lstStyle/>
          <a:p>
            <a:fld id="{57AA0218-8EA7-46C1-B12C-665269A91A87}" type="slidenum">
              <a:rPr lang="en-GB" smtClean="0"/>
              <a:t>12</a:t>
            </a:fld>
            <a:endParaRPr lang="en-GB"/>
          </a:p>
        </p:txBody>
      </p:sp>
    </p:spTree>
    <p:extLst>
      <p:ext uri="{BB962C8B-B14F-4D97-AF65-F5344CB8AC3E}">
        <p14:creationId xmlns:p14="http://schemas.microsoft.com/office/powerpoint/2010/main" val="3552506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sz="1800" b="0" i="0" u="none" strike="noStrike" baseline="0" dirty="0">
                <a:latin typeface="OpenSans-Light"/>
              </a:rPr>
              <a:t>Le règlement encourage fortement la transparence des données d'essai, celles-ci étant accessibles au public par défaut (voir diapositive suivante).</a:t>
            </a:r>
          </a:p>
          <a:p>
            <a:pPr algn="l"/>
            <a:endParaRPr lang="fr-FR" sz="1800" b="0" i="0" u="none" strike="noStrike" baseline="0" dirty="0">
              <a:latin typeface="OpenSans-Light"/>
            </a:endParaRPr>
          </a:p>
          <a:p>
            <a:pPr algn="l"/>
            <a:r>
              <a:rPr lang="fr-FR" sz="1800" b="0" i="0" u="none" strike="noStrike" baseline="0" dirty="0">
                <a:latin typeface="OpenSans-Light"/>
              </a:rPr>
              <a:t>Le nouveau CTR espère non seulement attirer les promoteurs à mener des activités de recherche et de développement dans la région, mais aussi favoriser un environnement innovant et centré sur le patient. Il encouragera une transparence accrue tout au long du processus de bout en bout, de la soumission de la demande à l'autorisation de mise sur le marché.</a:t>
            </a:r>
          </a:p>
          <a:p>
            <a:pPr algn="l"/>
            <a:endParaRPr lang="fr-FR" sz="1800" b="0" i="0" u="none" strike="noStrike" baseline="0" dirty="0">
              <a:latin typeface="OpenSans-Light"/>
            </a:endParaRPr>
          </a:p>
          <a:p>
            <a:pPr algn="l"/>
            <a:r>
              <a:rPr lang="fr-FR" sz="1800" b="0" i="0" u="none" strike="noStrike" baseline="0" dirty="0">
                <a:latin typeface="OpenSans-Light"/>
              </a:rPr>
              <a:t>Les documents soumis par le promoteur dans le dossier de demande pour la transition d'un essai clinique vers le règlement sur les essais cliniques seront soumis aux exigences de transparence, comme tout autre dossier de demande, et seront mis à la disposition du public. </a:t>
            </a:r>
          </a:p>
          <a:p>
            <a:pPr algn="l"/>
            <a:endParaRPr lang="fr-FR" sz="1800" b="0" i="0" u="none" strike="noStrike" baseline="0" dirty="0">
              <a:latin typeface="OpenSans-Light"/>
            </a:endParaRPr>
          </a:p>
          <a:p>
            <a:pPr algn="l"/>
            <a:r>
              <a:rPr lang="fr-FR" sz="1800" b="0" i="0" u="none" strike="noStrike" baseline="0" dirty="0">
                <a:latin typeface="OpenSans-Light"/>
              </a:rPr>
              <a:t>Les notifications et rapports émis en vertu du CTD pour un essai en cours ne sont pas soumis rétroactivement aux exigences de transparence (par exemple, les rapports d'inspection, les notifications) et ne doivent pas être introduits dans le CTIS. </a:t>
            </a:r>
          </a:p>
          <a:p>
            <a:pPr algn="l"/>
            <a:endParaRPr lang="fr-FR" sz="1800" b="0" i="0" u="none" strike="noStrike" baseline="0" dirty="0">
              <a:latin typeface="OpenSans-Light"/>
            </a:endParaRPr>
          </a:p>
          <a:p>
            <a:pPr algn="l"/>
            <a:r>
              <a:rPr lang="fr-FR" sz="1800" b="0" i="0" u="none" strike="noStrike" baseline="0" dirty="0">
                <a:latin typeface="OpenSans-Light"/>
              </a:rPr>
              <a:t>Toute nouvelle notification à partir du moment de la transition d'un essai relèvera pleinement des règles de transparence du règlement sur les essais cliniques (les règles de transparence applicables au portail leur seront appliquées, y compris les reports pour la mise à disposition du public de certains documents). </a:t>
            </a:r>
            <a:endParaRPr lang="nl-NL" b="0" dirty="0"/>
          </a:p>
        </p:txBody>
      </p:sp>
      <p:sp>
        <p:nvSpPr>
          <p:cNvPr id="4" name="Slide Number Placeholder 3"/>
          <p:cNvSpPr>
            <a:spLocks noGrp="1"/>
          </p:cNvSpPr>
          <p:nvPr>
            <p:ph type="sldNum" sz="quarter" idx="5"/>
          </p:nvPr>
        </p:nvSpPr>
        <p:spPr/>
        <p:txBody>
          <a:bodyPr/>
          <a:lstStyle/>
          <a:p>
            <a:fld id="{57AA0218-8EA7-46C1-B12C-665269A91A87}" type="slidenum">
              <a:rPr lang="en-GB" smtClean="0"/>
              <a:t>13</a:t>
            </a:fld>
            <a:endParaRPr lang="en-GB"/>
          </a:p>
        </p:txBody>
      </p:sp>
    </p:spTree>
    <p:extLst>
      <p:ext uri="{BB962C8B-B14F-4D97-AF65-F5344CB8AC3E}">
        <p14:creationId xmlns:p14="http://schemas.microsoft.com/office/powerpoint/2010/main" val="9116526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sz="1800" b="0" i="0" u="none" strike="noStrike" baseline="0" dirty="0">
                <a:latin typeface="OpenSans-Light"/>
              </a:rPr>
              <a:t>Le règlement encourage fortement la transparence des données des essais, celles-ci étant accessibles au public par défaut. Il existe quelques exceptions, comme l'explique l'article 81, paragraphe 4, du règlement :</a:t>
            </a:r>
          </a:p>
          <a:p>
            <a:pPr algn="l"/>
            <a:endParaRPr lang="fr-FR" sz="1800" b="0" i="0" u="none" strike="noStrike" baseline="0" dirty="0">
              <a:latin typeface="OpenSans-Light"/>
            </a:endParaRPr>
          </a:p>
          <a:p>
            <a:pPr algn="l"/>
            <a:r>
              <a:rPr lang="fr-FR" sz="1800" b="0" i="0" u="none" strike="noStrike" baseline="0" dirty="0">
                <a:latin typeface="OpenSans-Light"/>
              </a:rPr>
              <a:t>La base de données de l'UE est accessible au public, sauf si, pour tout ou partie des données et informations qu'elle contient, la confidentialité est justifiée par l'un des motifs suivants :</a:t>
            </a:r>
          </a:p>
          <a:p>
            <a:pPr algn="l"/>
            <a:r>
              <a:rPr lang="fr-FR" sz="1800" b="0" i="0" u="none" strike="noStrike" baseline="0" dirty="0">
                <a:latin typeface="OpenSans-Light"/>
              </a:rPr>
              <a:t>a. la protection des données à caractère personnel, conformément au règlement (CE) n° 45/2001 ;</a:t>
            </a:r>
          </a:p>
          <a:p>
            <a:pPr algn="l"/>
            <a:r>
              <a:rPr lang="fr-FR" sz="1800" b="0" i="0" u="none" strike="noStrike" baseline="0" dirty="0">
                <a:latin typeface="OpenSans-Light"/>
              </a:rPr>
              <a:t>b. la protection des informations commercialement confidentielles, notamment en tenant compte du statut de l'autorisation de mise sur le marché du médicament, à moins qu'un intérêt public supérieur ne justifie la divulgation de ces informations ;</a:t>
            </a:r>
          </a:p>
          <a:p>
            <a:pPr algn="l"/>
            <a:r>
              <a:rPr lang="fr-FR" sz="1800" b="0" i="0" u="none" strike="noStrike" baseline="0" dirty="0">
                <a:latin typeface="OpenSans-Light"/>
              </a:rPr>
              <a:t>c. protéger les communications confidentielles entre les États membres dans le cadre de l'élaboration du rapport d'évaluation ;</a:t>
            </a:r>
          </a:p>
          <a:p>
            <a:pPr algn="l"/>
            <a:r>
              <a:rPr lang="fr-FR" sz="1800" b="0" i="0" u="none" strike="noStrike" baseline="0" dirty="0">
                <a:latin typeface="OpenSans-Light"/>
              </a:rPr>
              <a:t>d. la garantie d'une supervision efficace de la conduite d'un essai clinique par les États membres.</a:t>
            </a:r>
          </a:p>
          <a:p>
            <a:pPr algn="l"/>
            <a:endParaRPr lang="fr-FR" sz="1800" b="0" i="0" u="none" strike="noStrike" baseline="0" dirty="0">
              <a:latin typeface="OpenSans-Light"/>
            </a:endParaRPr>
          </a:p>
          <a:p>
            <a:pPr algn="l"/>
            <a:r>
              <a:rPr lang="fr-FR" sz="1800" b="0" i="0" u="none" strike="noStrike" baseline="0" dirty="0">
                <a:latin typeface="OpenSans-Light"/>
              </a:rPr>
              <a:t>En février 2018, le Tribunal européen s'est prononcé en faveur de l'approche de l'EMA en matière de transparence dans trois affaires distinctes, en particulier la politique 0043 - politique d'accès aux documents :</a:t>
            </a:r>
          </a:p>
          <a:p>
            <a:pPr algn="l"/>
            <a:r>
              <a:rPr lang="fr-FR" sz="1800" b="0" i="0" u="none" strike="noStrike" baseline="0" dirty="0">
                <a:latin typeface="OpenSans-Light"/>
              </a:rPr>
              <a:t>-- Affaire T-235/15 - Pari Pharma v EMA </a:t>
            </a:r>
          </a:p>
          <a:p>
            <a:pPr algn="l"/>
            <a:r>
              <a:rPr lang="fr-FR" sz="1800" b="0" i="0" u="none" strike="noStrike" baseline="0" dirty="0">
                <a:latin typeface="OpenSans-Light"/>
              </a:rPr>
              <a:t>-- Affaire T-718/15 - PTC </a:t>
            </a:r>
            <a:r>
              <a:rPr lang="fr-FR" sz="1800" b="0" i="0" u="none" strike="noStrike" baseline="0" dirty="0" err="1">
                <a:latin typeface="OpenSans-Light"/>
              </a:rPr>
              <a:t>Therapeutics</a:t>
            </a:r>
            <a:r>
              <a:rPr lang="fr-FR" sz="1800" b="0" i="0" u="none" strike="noStrike" baseline="0" dirty="0">
                <a:latin typeface="OpenSans-Light"/>
              </a:rPr>
              <a:t> International contre EMA </a:t>
            </a:r>
          </a:p>
          <a:p>
            <a:pPr algn="l"/>
            <a:r>
              <a:rPr lang="fr-FR" sz="1800" b="0" i="0" u="none" strike="noStrike" baseline="0" dirty="0">
                <a:latin typeface="OpenSans-Light"/>
              </a:rPr>
              <a:t>-- Affaire T-729/15 - MSD Animal </a:t>
            </a:r>
            <a:r>
              <a:rPr lang="fr-FR" sz="1800" b="0" i="0" u="none" strike="noStrike" baseline="0" dirty="0" err="1">
                <a:latin typeface="OpenSans-Light"/>
              </a:rPr>
              <a:t>Health</a:t>
            </a:r>
            <a:r>
              <a:rPr lang="fr-FR" sz="1800" b="0" i="0" u="none" strike="noStrike" baseline="0" dirty="0">
                <a:latin typeface="OpenSans-Light"/>
              </a:rPr>
              <a:t> Innovation et </a:t>
            </a:r>
            <a:r>
              <a:rPr lang="fr-FR" sz="1800" b="0" i="0" u="none" strike="noStrike" baseline="0" dirty="0" err="1">
                <a:latin typeface="OpenSans-Light"/>
              </a:rPr>
              <a:t>Intervet</a:t>
            </a:r>
            <a:r>
              <a:rPr lang="fr-FR" sz="1800" b="0" i="0" u="none" strike="noStrike" baseline="0" dirty="0">
                <a:latin typeface="OpenSans-Light"/>
              </a:rPr>
              <a:t> International.</a:t>
            </a:r>
          </a:p>
          <a:p>
            <a:pPr algn="l"/>
            <a:endParaRPr lang="fr-FR" sz="1800" b="0" i="0" u="none" strike="noStrike" baseline="0" dirty="0">
              <a:latin typeface="OpenSans-Light"/>
            </a:endParaRPr>
          </a:p>
          <a:p>
            <a:pPr algn="l"/>
            <a:r>
              <a:rPr lang="fr-FR" sz="1800" b="0" i="0" u="none" strike="noStrike" baseline="0" dirty="0">
                <a:latin typeface="OpenSans-Light"/>
              </a:rPr>
              <a:t>Par conséquent, plutôt que de lutter contre la tendance à une transparence accrue, les organisations feraient mieux d'investir leurs ressources dans leurs processus internes pour reconnaître, minimiser et permettre la rédaction appropriée des informations commercialement confidentielles (ICC) et des données personnelles protégées (DPP) avant une demande de CT.</a:t>
            </a:r>
          </a:p>
          <a:p>
            <a:pPr algn="l"/>
            <a:endParaRPr lang="fr-FR" sz="1800" b="0" i="0" u="none" strike="noStrike" baseline="0" dirty="0">
              <a:latin typeface="OpenSans-Light"/>
            </a:endParaRPr>
          </a:p>
          <a:p>
            <a:pPr algn="l"/>
            <a:endParaRPr lang="fr-FR" sz="1800" b="0" i="0" u="none" strike="noStrike" baseline="0" dirty="0">
              <a:latin typeface="OpenSans-Light"/>
            </a:endParaRPr>
          </a:p>
          <a:p>
            <a:pPr algn="l"/>
            <a:endParaRPr lang="nl-NL" dirty="0"/>
          </a:p>
        </p:txBody>
      </p:sp>
      <p:sp>
        <p:nvSpPr>
          <p:cNvPr id="4" name="Slide Number Placeholder 3"/>
          <p:cNvSpPr>
            <a:spLocks noGrp="1"/>
          </p:cNvSpPr>
          <p:nvPr>
            <p:ph type="sldNum" sz="quarter" idx="5"/>
          </p:nvPr>
        </p:nvSpPr>
        <p:spPr/>
        <p:txBody>
          <a:bodyPr/>
          <a:lstStyle/>
          <a:p>
            <a:fld id="{57AA0218-8EA7-46C1-B12C-665269A91A87}" type="slidenum">
              <a:rPr lang="en-GB" smtClean="0"/>
              <a:t>14</a:t>
            </a:fld>
            <a:endParaRPr lang="en-GB"/>
          </a:p>
        </p:txBody>
      </p:sp>
    </p:spTree>
    <p:extLst>
      <p:ext uri="{BB962C8B-B14F-4D97-AF65-F5344CB8AC3E}">
        <p14:creationId xmlns:p14="http://schemas.microsoft.com/office/powerpoint/2010/main" val="22172202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b="0" i="0" dirty="0">
                <a:solidFill>
                  <a:srgbClr val="212529"/>
                </a:solidFill>
                <a:effectLst/>
                <a:latin typeface="Georgia" panose="02040502050405020303" pitchFamily="18" charset="0"/>
              </a:rPr>
              <a:t>Ce nouveau règlement offre explicitement la possibilité d'un </a:t>
            </a:r>
            <a:r>
              <a:rPr lang="fr-FR" b="0" i="0" dirty="0" err="1">
                <a:solidFill>
                  <a:srgbClr val="212529"/>
                </a:solidFill>
                <a:effectLst/>
                <a:latin typeface="Georgia" panose="02040502050405020303" pitchFamily="18" charset="0"/>
              </a:rPr>
              <a:t>co</a:t>
            </a:r>
            <a:r>
              <a:rPr lang="fr-FR" b="0" i="0" dirty="0">
                <a:solidFill>
                  <a:srgbClr val="212529"/>
                </a:solidFill>
                <a:effectLst/>
                <a:latin typeface="Georgia" panose="02040502050405020303" pitchFamily="18" charset="0"/>
              </a:rPr>
              <a:t>-sponsoring pour un essai clinique. Le règlement précise que "tous les promoteurs ont les responsabilités d'un promoteur énoncées dans le présent règlement, sauf si les promoteurs en décident autrement dans un contrat écrit définissant leurs responsabilités respectives".</a:t>
            </a:r>
          </a:p>
          <a:p>
            <a:pPr algn="l"/>
            <a:r>
              <a:rPr lang="fr-FR" b="0" i="0" dirty="0">
                <a:solidFill>
                  <a:srgbClr val="212529"/>
                </a:solidFill>
                <a:effectLst/>
                <a:latin typeface="Georgia" panose="02040502050405020303" pitchFamily="18" charset="0"/>
              </a:rPr>
              <a:t>= Les co-sponsors peuvent se répartir toutes les responsabilités restantes par accord contractuel. S'ils ne le font pas, le principe de la responsabilité conjointe s'applique.</a:t>
            </a:r>
          </a:p>
          <a:p>
            <a:pPr algn="l"/>
            <a:endParaRPr lang="fr-FR" b="0" i="0" dirty="0">
              <a:solidFill>
                <a:srgbClr val="212529"/>
              </a:solidFill>
              <a:effectLst/>
              <a:latin typeface="Georgia" panose="02040502050405020303" pitchFamily="18" charset="0"/>
            </a:endParaRPr>
          </a:p>
          <a:p>
            <a:pPr algn="l"/>
            <a:r>
              <a:rPr lang="fr-FR" b="0" i="0" dirty="0">
                <a:solidFill>
                  <a:srgbClr val="212529"/>
                </a:solidFill>
                <a:effectLst/>
                <a:latin typeface="Georgia" panose="02040502050405020303" pitchFamily="18" charset="0"/>
              </a:rPr>
              <a:t>Les entreprises qui envisagent de le faire devraient examiner la section du règlement expliquant les détails, la manière dont les responsabilités peuvent être réparties entre les différentes parties, et la manière dont cela doit être documenté. Par exemple, un promoteur pourrait être responsable des obligations relatives aux procédures d'autorisation, tandis que l'autre promoteur pourrait être un point de contact pour les questions des sujets, des investigateurs, ou de toute CMS, etc.</a:t>
            </a:r>
          </a:p>
          <a:p>
            <a:pPr algn="l"/>
            <a:endParaRPr lang="fr-FR" b="0" i="0" dirty="0">
              <a:solidFill>
                <a:srgbClr val="212529"/>
              </a:solidFill>
              <a:effectLst/>
              <a:latin typeface="Georgia" panose="02040502050405020303" pitchFamily="18" charset="0"/>
            </a:endParaRPr>
          </a:p>
          <a:p>
            <a:pPr algn="l"/>
            <a:r>
              <a:rPr lang="fr-FR" b="0" i="0" dirty="0">
                <a:solidFill>
                  <a:srgbClr val="212529"/>
                </a:solidFill>
                <a:effectLst/>
                <a:latin typeface="Georgia" panose="02040502050405020303" pitchFamily="18" charset="0"/>
              </a:rPr>
              <a:t>Responsabilité des co-sponsors </a:t>
            </a:r>
          </a:p>
          <a:p>
            <a:pPr algn="l"/>
            <a:r>
              <a:rPr lang="fr-FR" b="0" i="0" dirty="0">
                <a:solidFill>
                  <a:srgbClr val="212529"/>
                </a:solidFill>
                <a:effectLst/>
                <a:latin typeface="Georgia" panose="02040502050405020303" pitchFamily="18" charset="0"/>
              </a:rPr>
              <a:t>Responsabilité du représentant légal et du </a:t>
            </a:r>
            <a:r>
              <a:rPr lang="fr-FR" b="0" i="0" dirty="0" err="1">
                <a:solidFill>
                  <a:srgbClr val="212529"/>
                </a:solidFill>
                <a:effectLst/>
                <a:latin typeface="Georgia" panose="02040502050405020303" pitchFamily="18" charset="0"/>
              </a:rPr>
              <a:t>co</a:t>
            </a:r>
            <a:r>
              <a:rPr lang="fr-FR" b="0" i="0" dirty="0">
                <a:solidFill>
                  <a:srgbClr val="212529"/>
                </a:solidFill>
                <a:effectLst/>
                <a:latin typeface="Georgia" panose="02040502050405020303" pitchFamily="18" charset="0"/>
              </a:rPr>
              <a:t>-sponsorat Les promoteurs de l'Espace économique européen doivent établir au moins une personne de contact</a:t>
            </a:r>
          </a:p>
          <a:p>
            <a:pPr algn="l"/>
            <a:r>
              <a:rPr lang="fr-FR" b="0" i="0" dirty="0">
                <a:solidFill>
                  <a:srgbClr val="212529"/>
                </a:solidFill>
                <a:effectLst/>
                <a:latin typeface="Georgia" panose="02040502050405020303" pitchFamily="18" charset="0"/>
              </a:rPr>
              <a:t>dans l'UE (ou dans l'État membre concerné, si une étude a lieu dans un seul pays). </a:t>
            </a:r>
          </a:p>
          <a:p>
            <a:pPr algn="l"/>
            <a:endParaRPr lang="fr-FR" b="0" i="0" dirty="0">
              <a:solidFill>
                <a:srgbClr val="212529"/>
              </a:solidFill>
              <a:effectLst/>
              <a:latin typeface="Georgia" panose="02040502050405020303" pitchFamily="18" charset="0"/>
            </a:endParaRPr>
          </a:p>
          <a:p>
            <a:pPr algn="l"/>
            <a:r>
              <a:rPr lang="fr-FR" b="0" i="0" dirty="0">
                <a:solidFill>
                  <a:srgbClr val="212529"/>
                </a:solidFill>
                <a:effectLst/>
                <a:latin typeface="Georgia" panose="02040502050405020303" pitchFamily="18" charset="0"/>
              </a:rPr>
              <a:t>En outre, le règlement prévoit expressément le coparrainage d'essais cliniques. </a:t>
            </a:r>
          </a:p>
          <a:p>
            <a:pPr algn="l"/>
            <a:endParaRPr lang="fr-FR" b="0" i="0" dirty="0">
              <a:solidFill>
                <a:srgbClr val="212529"/>
              </a:solidFill>
              <a:effectLst/>
              <a:latin typeface="Georgia" panose="02040502050405020303" pitchFamily="18" charset="0"/>
            </a:endParaRPr>
          </a:p>
          <a:p>
            <a:pPr algn="l"/>
            <a:r>
              <a:rPr lang="fr-FR" b="0" i="0" dirty="0">
                <a:solidFill>
                  <a:srgbClr val="212529"/>
                </a:solidFill>
                <a:effectLst/>
                <a:latin typeface="Georgia" panose="02040502050405020303" pitchFamily="18" charset="0"/>
              </a:rPr>
              <a:t>Les co-sponsors peuvent se répartir la responsabilité juridique par le biais d'un contrat écrit, mais doivent désigner un seul sponsor responsable du respect des exigences procédurales, de la coordination des questions et des réponses des États membres, des investigateurs ou des sujets, et de la mise en œuvre de toute mesure corrective à la suite d'une inspection par un État membre. </a:t>
            </a:r>
          </a:p>
          <a:p>
            <a:pPr algn="l"/>
            <a:endParaRPr lang="fr-FR" b="0" i="0" dirty="0">
              <a:solidFill>
                <a:srgbClr val="212529"/>
              </a:solidFill>
              <a:effectLst/>
              <a:latin typeface="Georgia" panose="02040502050405020303" pitchFamily="18" charset="0"/>
            </a:endParaRPr>
          </a:p>
          <a:p>
            <a:pPr algn="l"/>
            <a:r>
              <a:rPr lang="fr-FR" b="0" i="0" dirty="0">
                <a:solidFill>
                  <a:srgbClr val="212529"/>
                </a:solidFill>
                <a:effectLst/>
                <a:latin typeface="Georgia" panose="02040502050405020303" pitchFamily="18" charset="0"/>
              </a:rPr>
              <a:t>Si la responsabilité d'un aspect particulier de l'essai n'est pas spécifiquement attribuée à un </a:t>
            </a:r>
            <a:r>
              <a:rPr lang="fr-FR" b="0" i="0" dirty="0" err="1">
                <a:solidFill>
                  <a:srgbClr val="212529"/>
                </a:solidFill>
                <a:effectLst/>
                <a:latin typeface="Georgia" panose="02040502050405020303" pitchFamily="18" charset="0"/>
              </a:rPr>
              <a:t>co-sponsor</a:t>
            </a:r>
            <a:r>
              <a:rPr lang="fr-FR" b="0" i="0" dirty="0">
                <a:solidFill>
                  <a:srgbClr val="212529"/>
                </a:solidFill>
                <a:effectLst/>
                <a:latin typeface="Georgia" panose="02040502050405020303" pitchFamily="18" charset="0"/>
              </a:rPr>
              <a:t>, tous les co-sponsors seront considérés comme ayant une responsabilité conjointe. Il sera donc vital que les accords de </a:t>
            </a:r>
            <a:r>
              <a:rPr lang="fr-FR" b="0" i="0" dirty="0" err="1">
                <a:solidFill>
                  <a:srgbClr val="212529"/>
                </a:solidFill>
                <a:effectLst/>
                <a:latin typeface="Georgia" panose="02040502050405020303" pitchFamily="18" charset="0"/>
              </a:rPr>
              <a:t>co</a:t>
            </a:r>
            <a:r>
              <a:rPr lang="fr-FR" b="0" i="0" dirty="0">
                <a:solidFill>
                  <a:srgbClr val="212529"/>
                </a:solidFill>
                <a:effectLst/>
                <a:latin typeface="Georgia" panose="02040502050405020303" pitchFamily="18" charset="0"/>
              </a:rPr>
              <a:t>-sponsoring traitent de manière adéquate l'attribution des responsabilités, et que ces attributions soient ensuite reflétées dans les accords d'externalisation - avec les sites, par exemple. </a:t>
            </a:r>
          </a:p>
          <a:p>
            <a:pPr algn="l"/>
            <a:endParaRPr lang="fr-FR" b="0" i="0" dirty="0">
              <a:solidFill>
                <a:srgbClr val="212529"/>
              </a:solidFill>
              <a:effectLst/>
              <a:latin typeface="Georgia" panose="02040502050405020303" pitchFamily="18" charset="0"/>
            </a:endParaRPr>
          </a:p>
          <a:p>
            <a:pPr algn="l"/>
            <a:r>
              <a:rPr lang="fr-FR" b="0" i="0" dirty="0">
                <a:solidFill>
                  <a:srgbClr val="212529"/>
                </a:solidFill>
                <a:effectLst/>
                <a:latin typeface="Georgia" panose="02040502050405020303" pitchFamily="18" charset="0"/>
              </a:rPr>
              <a:t>Des processus efficaces de gestion et de révision des contrats seront donc essentiels. </a:t>
            </a:r>
          </a:p>
          <a:p>
            <a:pPr algn="l"/>
            <a:endParaRPr lang="fr-FR" b="0" i="0" dirty="0">
              <a:solidFill>
                <a:srgbClr val="212529"/>
              </a:solidFill>
              <a:effectLst/>
              <a:latin typeface="Georgia" panose="02040502050405020303" pitchFamily="18" charset="0"/>
            </a:endParaRPr>
          </a:p>
          <a:p>
            <a:pPr algn="l"/>
            <a:r>
              <a:rPr lang="fr-FR" b="0" i="0" dirty="0">
                <a:solidFill>
                  <a:srgbClr val="212529"/>
                </a:solidFill>
                <a:effectLst/>
                <a:latin typeface="Georgia" panose="02040502050405020303" pitchFamily="18" charset="0"/>
              </a:rPr>
              <a:t>Par conséquent, les co-sponsors peuvent choisir d'atténuer le risque d'une performance inférieure à la norme ou d'une non-exécution en appliquant une diligence raisonnable sur les capacités d'un </a:t>
            </a:r>
            <a:r>
              <a:rPr lang="fr-FR" b="0" i="0" dirty="0" err="1">
                <a:solidFill>
                  <a:srgbClr val="212529"/>
                </a:solidFill>
                <a:effectLst/>
                <a:latin typeface="Georgia" panose="02040502050405020303" pitchFamily="18" charset="0"/>
              </a:rPr>
              <a:t>co-sponsor</a:t>
            </a:r>
            <a:r>
              <a:rPr lang="fr-FR" b="0" i="0" dirty="0">
                <a:solidFill>
                  <a:srgbClr val="212529"/>
                </a:solidFill>
                <a:effectLst/>
                <a:latin typeface="Georgia" panose="02040502050405020303" pitchFamily="18" charset="0"/>
              </a:rPr>
              <a:t> potentiel et en souscrivant une assurance appropriée.</a:t>
            </a:r>
          </a:p>
          <a:p>
            <a:pPr algn="l"/>
            <a:endParaRPr lang="fr-FR" b="0" i="0" dirty="0">
              <a:solidFill>
                <a:srgbClr val="212529"/>
              </a:solidFill>
              <a:effectLst/>
              <a:latin typeface="Georgia" panose="02040502050405020303" pitchFamily="18" charset="0"/>
            </a:endParaRPr>
          </a:p>
          <a:p>
            <a:pPr algn="l"/>
            <a:r>
              <a:rPr lang="fr-FR" b="0" i="0" dirty="0">
                <a:solidFill>
                  <a:srgbClr val="212529"/>
                </a:solidFill>
                <a:effectLst/>
                <a:latin typeface="Georgia" panose="02040502050405020303" pitchFamily="18" charset="0"/>
              </a:rPr>
              <a:t>https://cms.law/en/media/local/cms-cmno/files/publications/publications/eu-clinical-trials-regulation-new-and-approved </a:t>
            </a:r>
          </a:p>
          <a:p>
            <a:pPr algn="l"/>
            <a:r>
              <a:rPr lang="fr-FR" b="0" i="0" dirty="0">
                <a:solidFill>
                  <a:srgbClr val="212529"/>
                </a:solidFill>
                <a:effectLst/>
                <a:latin typeface="Georgia" panose="02040502050405020303" pitchFamily="18" charset="0"/>
              </a:rPr>
              <a:t>https://www.vbb.com/media/Insights_Newsletters/Updated_Q_A.pdf </a:t>
            </a:r>
            <a:endParaRPr lang="nl-NL" dirty="0"/>
          </a:p>
        </p:txBody>
      </p:sp>
      <p:sp>
        <p:nvSpPr>
          <p:cNvPr id="4" name="Slide Number Placeholder 3"/>
          <p:cNvSpPr>
            <a:spLocks noGrp="1"/>
          </p:cNvSpPr>
          <p:nvPr>
            <p:ph type="sldNum" sz="quarter" idx="5"/>
          </p:nvPr>
        </p:nvSpPr>
        <p:spPr/>
        <p:txBody>
          <a:bodyPr/>
          <a:lstStyle/>
          <a:p>
            <a:fld id="{57AA0218-8EA7-46C1-B12C-665269A91A87}" type="slidenum">
              <a:rPr lang="en-GB" smtClean="0"/>
              <a:t>16</a:t>
            </a:fld>
            <a:endParaRPr lang="en-GB"/>
          </a:p>
        </p:txBody>
      </p:sp>
    </p:spTree>
    <p:extLst>
      <p:ext uri="{BB962C8B-B14F-4D97-AF65-F5344CB8AC3E}">
        <p14:creationId xmlns:p14="http://schemas.microsoft.com/office/powerpoint/2010/main" val="25872102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sz="1800" b="0" i="0" u="none" strike="noStrike" baseline="0" dirty="0">
                <a:latin typeface="OpenSans-Light"/>
              </a:rPr>
              <a:t>Entre 2005 et 2015, le secteur a connu une forte tendance à l'acquisition et à l'externalisation. Cette tendance s'est traduite par un modèle commercial et un paysage opérationnel plus diversifiés au sein de la plupart des entreprises pharmaceutiques, ce qui signifie que toute transition peut être soit directe, soit difficile.</a:t>
            </a:r>
          </a:p>
          <a:p>
            <a:pPr algn="l"/>
            <a:r>
              <a:rPr lang="fr-FR" sz="1800" b="0" i="0" u="none" strike="noStrike" baseline="0" dirty="0">
                <a:latin typeface="OpenSans-Light"/>
              </a:rPr>
              <a:t>Par conséquent, il n'existe pas d'approche unique pour répondre au nouveau CTR et une évaluation de l'architecture d'entreprise est fondamentale pour toute transformation au sein d'une organisation pharmaceutique.</a:t>
            </a:r>
          </a:p>
          <a:p>
            <a:pPr algn="l"/>
            <a:endParaRPr lang="fr-FR" sz="1800" b="0" i="0" u="none" strike="noStrike" baseline="0" dirty="0">
              <a:latin typeface="OpenSans-Light"/>
            </a:endParaRPr>
          </a:p>
          <a:p>
            <a:pPr algn="l"/>
            <a:r>
              <a:rPr lang="fr-FR" sz="1800" b="0" i="0" u="none" strike="noStrike" baseline="0" dirty="0">
                <a:latin typeface="OpenSans-Light"/>
              </a:rPr>
              <a:t>Un "essai clinique à faible niveau d'intervention" est défini à l'article 2 (2)(3) du règlement sur les essais cliniques comme un essai clinique qui remplit toutes les conditions suivantes : </a:t>
            </a:r>
          </a:p>
          <a:p>
            <a:pPr algn="l"/>
            <a:r>
              <a:rPr lang="fr-FR" sz="1800" b="0" i="0" u="none" strike="noStrike" baseline="0" dirty="0">
                <a:latin typeface="OpenSans-Light"/>
              </a:rPr>
              <a:t>(a) les médicaments expérimentaux, à l'exclusion des placebos, sont autorisés ; </a:t>
            </a:r>
          </a:p>
          <a:p>
            <a:pPr algn="l"/>
            <a:r>
              <a:rPr lang="fr-FR" sz="1800" b="0" i="0" u="none" strike="noStrike" baseline="0" dirty="0">
                <a:latin typeface="OpenSans-Light"/>
              </a:rPr>
              <a:t>(b) selon le protocole de l'essai clinique, i) les médicaments expérimentaux sont utilisés conformément aux termes de l'autorisation de mise sur le marché ; ou ii) l'utilisation des médicaments expérimentaux est fondée sur des preuves et étayée par des données scientifiques publiées sur la sécurité et l'efficacité de ces médicaments expérimentaux dans l'un quelconque des États membres concernés ; et </a:t>
            </a:r>
          </a:p>
          <a:p>
            <a:pPr algn="l"/>
            <a:r>
              <a:rPr lang="fr-FR" sz="1800" b="0" i="0" u="none" strike="noStrike" baseline="0" dirty="0">
                <a:latin typeface="OpenSans-Light"/>
              </a:rPr>
              <a:t>(c) les procédures supplémentaires de diagnostic ou de surveillance ne représentent pas un risque ou une charge supplémentaire plus que minimal pour la sécurité des sujets par rapport à la pratique clinique normale dans tout État membre concerné ; </a:t>
            </a:r>
          </a:p>
          <a:p>
            <a:pPr algn="l"/>
            <a:endParaRPr lang="fr-FR" sz="1800" b="0" i="0" u="none" strike="noStrike" baseline="0" dirty="0">
              <a:latin typeface="OpenSans-Light"/>
            </a:endParaRPr>
          </a:p>
          <a:p>
            <a:pPr algn="l"/>
            <a:r>
              <a:rPr lang="fr-FR" sz="1800" b="0" i="0" u="none" strike="noStrike" baseline="0" dirty="0">
                <a:latin typeface="OpenSans-Light"/>
              </a:rPr>
              <a:t>L'arbre de décision de l'annexe I peut être utilisé pour déterminer si un essai est un essai clinique à faible intervention au sens du règlement sur les essais cliniques. </a:t>
            </a:r>
          </a:p>
          <a:p>
            <a:pPr algn="l"/>
            <a:endParaRPr lang="fr-FR" sz="1800" b="0" i="0" u="none" strike="noStrike" baseline="0" dirty="0">
              <a:latin typeface="OpenSans-Light"/>
            </a:endParaRPr>
          </a:p>
          <a:p>
            <a:pPr algn="l"/>
            <a:r>
              <a:rPr lang="fr-FR" sz="1800" b="0" i="0" u="none" strike="noStrike" baseline="0" dirty="0">
                <a:latin typeface="OpenSans-Light"/>
              </a:rPr>
              <a:t>Étude non interventionnelle au sens de l'article 1 du RCE</a:t>
            </a:r>
          </a:p>
          <a:p>
            <a:pPr algn="l"/>
            <a:r>
              <a:rPr lang="fr-FR" sz="1800" b="0" i="0" u="none" strike="noStrike" baseline="0" dirty="0">
                <a:latin typeface="OpenSans-Light"/>
              </a:rPr>
              <a:t>Le but de l'exclusion de ces essais du champ d'application du règlement (UE) n° 536/2014 est que ces essais sont généralement considérés comme présentant le risque le plus faible. En outre, cette restriction permet de garantir que les activités médicales qui relèvent de la pratique clinique normale (voir également les questions-réponses 1.18) et qui, en tant que telles, font partie de la surveillance médicale générale d'un patient, sont exclues du champ d'application du règlement (UE) n° 536/2014. </a:t>
            </a:r>
          </a:p>
          <a:p>
            <a:pPr algn="l"/>
            <a:endParaRPr lang="fr-FR" sz="1800" b="0" i="0" u="none" strike="noStrike" baseline="0" dirty="0">
              <a:latin typeface="OpenSans-Light"/>
            </a:endParaRPr>
          </a:p>
          <a:p>
            <a:pPr algn="l"/>
            <a:r>
              <a:rPr lang="fr-FR" sz="1800" b="0" i="0" u="none" strike="noStrike" baseline="0" dirty="0">
                <a:latin typeface="OpenSans-Light"/>
              </a:rPr>
              <a:t>Selon l'article 1 du règlement sur les essais cliniques, les études non interventionnelles sont exclues du champ d'application de ce règlement. </a:t>
            </a:r>
          </a:p>
          <a:p>
            <a:pPr algn="l"/>
            <a:r>
              <a:rPr lang="fr-FR" sz="1800" b="0" i="0" u="none" strike="noStrike" baseline="0" dirty="0">
                <a:latin typeface="OpenSans-Light"/>
              </a:rPr>
              <a:t>Une "étude non interventionnelle" est définie à l'article 2, paragraphe 2, point 4, du règlement sur les essais cliniques comme "une étude clinique autre qu'un essai clinique". </a:t>
            </a:r>
          </a:p>
          <a:p>
            <a:pPr algn="l"/>
            <a:r>
              <a:rPr lang="fr-FR" sz="1800" b="0" i="0" u="none" strike="noStrike" baseline="0" dirty="0">
                <a:latin typeface="OpenSans-Light"/>
              </a:rPr>
              <a:t>Ainsi, une étude est non interventionnelle si elle ne remplit pas l'une des conditions suivantes qui définissent un essai clinique (selon l'article 2, paragraphe 2, point 2) du règlement sur les essais cliniques : </a:t>
            </a:r>
          </a:p>
          <a:p>
            <a:pPr algn="l"/>
            <a:r>
              <a:rPr lang="fr-FR" sz="1800" b="0" i="0" u="none" strike="noStrike" baseline="0" dirty="0">
                <a:latin typeface="OpenSans-Light"/>
              </a:rPr>
              <a:t>a) l'affectation du sujet à une stratégie thérapeutique particulière est décidée à l'avance et ne relève pas de la pratique clinique normale de l'État membre concerné ; </a:t>
            </a:r>
          </a:p>
          <a:p>
            <a:pPr algn="l"/>
            <a:r>
              <a:rPr lang="fr-FR" sz="1800" b="0" i="0" u="none" strike="noStrike" baseline="0" dirty="0">
                <a:latin typeface="OpenSans-Light"/>
              </a:rPr>
              <a:t>b) la décision de prescrire les médicaments expérimentaux est prise en même temps que la décision d'inclure le sujet dans l'étude clinique ; ou </a:t>
            </a:r>
          </a:p>
          <a:p>
            <a:pPr algn="l"/>
            <a:r>
              <a:rPr lang="fr-FR" sz="1800" b="0" i="0" u="none" strike="noStrike" baseline="0" dirty="0">
                <a:latin typeface="OpenSans-Light"/>
              </a:rPr>
              <a:t>c) des procédures de diagnostic ou de surveillance en plus de la pratique clinique normale sont appliquées aux sujets. </a:t>
            </a:r>
          </a:p>
          <a:p>
            <a:pPr algn="l"/>
            <a:r>
              <a:rPr lang="fr-FR" sz="1800" b="0" i="0" u="none" strike="noStrike" baseline="0" dirty="0">
                <a:latin typeface="OpenSans-Light"/>
              </a:rPr>
              <a:t>L'arbre de décision de l'annexe I peut être utilisé pour déterminer si un essai est un essai clinique à faible intervention au sens du règlement sur les essais cliniques. </a:t>
            </a:r>
          </a:p>
          <a:p>
            <a:pPr algn="l"/>
            <a:endParaRPr lang="fr-FR" sz="1800" b="0" i="0" u="none" strike="noStrike" baseline="0" dirty="0">
              <a:latin typeface="OpenSans-Light"/>
            </a:endParaRPr>
          </a:p>
          <a:p>
            <a:pPr algn="l"/>
            <a:endParaRPr lang="fr-FR" sz="1800" b="0" i="0" u="none" strike="noStrike" baseline="0" dirty="0">
              <a:latin typeface="OpenSans-Light"/>
            </a:endParaRPr>
          </a:p>
          <a:p>
            <a:endParaRPr lang="en-GB" sz="1600" b="0" i="0" u="none" strike="noStrike" baseline="0" dirty="0">
              <a:latin typeface="Arial" panose="020B0604020202020204" pitchFamily="34" charset="0"/>
            </a:endParaRPr>
          </a:p>
        </p:txBody>
      </p:sp>
      <p:sp>
        <p:nvSpPr>
          <p:cNvPr id="4" name="Slide Number Placeholder 3"/>
          <p:cNvSpPr>
            <a:spLocks noGrp="1"/>
          </p:cNvSpPr>
          <p:nvPr>
            <p:ph type="sldNum" sz="quarter" idx="5"/>
          </p:nvPr>
        </p:nvSpPr>
        <p:spPr/>
        <p:txBody>
          <a:bodyPr/>
          <a:lstStyle/>
          <a:p>
            <a:fld id="{57AA0218-8EA7-46C1-B12C-665269A91A87}" type="slidenum">
              <a:rPr lang="en-GB" smtClean="0"/>
              <a:t>17</a:t>
            </a:fld>
            <a:endParaRPr lang="en-GB"/>
          </a:p>
        </p:txBody>
      </p:sp>
    </p:spTree>
    <p:extLst>
      <p:ext uri="{BB962C8B-B14F-4D97-AF65-F5344CB8AC3E}">
        <p14:creationId xmlns:p14="http://schemas.microsoft.com/office/powerpoint/2010/main" val="5647353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fr-FR" b="0" i="1" dirty="0">
                <a:solidFill>
                  <a:srgbClr val="000000"/>
                </a:solidFill>
                <a:effectLst/>
                <a:latin typeface="35 Light"/>
              </a:rPr>
              <a:t>Le règlement européen de 2014 sur les essais cliniques de médicaments est entré en vigueur le 31 janvier 2022.Tous les essais cliniques de médicaments seront désormais régis par cette réglementation. </a:t>
            </a:r>
          </a:p>
          <a:p>
            <a:pPr algn="l" fontAlgn="base"/>
            <a:endParaRPr lang="fr-FR" b="0" i="1" dirty="0">
              <a:solidFill>
                <a:srgbClr val="000000"/>
              </a:solidFill>
              <a:effectLst/>
              <a:latin typeface="35 Light"/>
            </a:endParaRPr>
          </a:p>
          <a:p>
            <a:pPr algn="l" fontAlgn="base"/>
            <a:r>
              <a:rPr lang="fr-FR" b="0" i="1" dirty="0">
                <a:solidFill>
                  <a:srgbClr val="000000"/>
                </a:solidFill>
                <a:effectLst/>
                <a:latin typeface="35 Light"/>
              </a:rPr>
              <a:t>L'un des objectifs est d'harmoniser l'évaluation des essais cliniques dans les différents pays européens tout en maintenant un haut niveau de protection des participants.</a:t>
            </a:r>
          </a:p>
          <a:p>
            <a:pPr algn="l" fontAlgn="base"/>
            <a:endParaRPr lang="fr-FR" b="0" i="1" dirty="0">
              <a:solidFill>
                <a:srgbClr val="000000"/>
              </a:solidFill>
              <a:effectLst/>
              <a:latin typeface="35 Light"/>
            </a:endParaRPr>
          </a:p>
          <a:p>
            <a:pPr algn="l" fontAlgn="base"/>
            <a:r>
              <a:rPr lang="fr-FR" b="0" i="1" dirty="0">
                <a:solidFill>
                  <a:srgbClr val="000000"/>
                </a:solidFill>
                <a:effectLst/>
                <a:latin typeface="35 Light"/>
              </a:rPr>
              <a:t>Les essais cliniques doivent faire l'objet de deux évaluations qui doivent être favorables :</a:t>
            </a:r>
          </a:p>
          <a:p>
            <a:pPr algn="l" fontAlgn="base"/>
            <a:r>
              <a:rPr lang="fr-FR" b="0" i="1" dirty="0">
                <a:solidFill>
                  <a:srgbClr val="000000"/>
                </a:solidFill>
                <a:effectLst/>
                <a:latin typeface="35 Light"/>
              </a:rPr>
              <a:t>- une évaluation coordonnée au niveau européen (protocole de recherche, documents scientifiques sur le médicament testé, etc.) par les autorités sanitaires, l'Agence nationale de sécurité du médicament et des produits de santé (ANSM) en France,</a:t>
            </a:r>
          </a:p>
          <a:p>
            <a:pPr algn="l" fontAlgn="base"/>
            <a:r>
              <a:rPr lang="fr-FR" b="0" i="1" dirty="0">
                <a:solidFill>
                  <a:srgbClr val="000000"/>
                </a:solidFill>
                <a:effectLst/>
                <a:latin typeface="35 Light"/>
              </a:rPr>
              <a:t>- une évaluation systématique française réalisée par les comités de protection des personnes ( CPP ), portant sur la protection des participants à l'essai, les méthodes de recrutement des patients, la lisibilité des informations fournies, l'adéquation du site de recherche ou la formation des investigateurs.</a:t>
            </a:r>
          </a:p>
          <a:p>
            <a:pPr algn="l" fontAlgn="base"/>
            <a:endParaRPr lang="fr-FR" b="0" i="1" dirty="0">
              <a:solidFill>
                <a:srgbClr val="000000"/>
              </a:solidFill>
              <a:effectLst/>
              <a:latin typeface="35 Light"/>
            </a:endParaRPr>
          </a:p>
          <a:p>
            <a:pPr algn="l" fontAlgn="base"/>
            <a:r>
              <a:rPr lang="fr-FR" b="0" i="1" dirty="0">
                <a:solidFill>
                  <a:srgbClr val="000000"/>
                </a:solidFill>
                <a:effectLst/>
                <a:latin typeface="35 Light"/>
              </a:rPr>
              <a:t>Si l'essai est réalisé uniquement en France, l'évaluation de la demande d'autorisation d'essai clinique sera réalisée uniquement en France pour les deux décisions.</a:t>
            </a:r>
          </a:p>
          <a:p>
            <a:pPr algn="l" fontAlgn="base"/>
            <a:endParaRPr lang="fr-FR" b="0" i="1" dirty="0">
              <a:solidFill>
                <a:srgbClr val="000000"/>
              </a:solidFill>
              <a:effectLst/>
              <a:latin typeface="35 Light"/>
            </a:endParaRPr>
          </a:p>
          <a:p>
            <a:pPr algn="l" fontAlgn="base"/>
            <a:r>
              <a:rPr lang="fr-FR" b="0" i="1" dirty="0">
                <a:solidFill>
                  <a:srgbClr val="000000"/>
                </a:solidFill>
                <a:effectLst/>
                <a:latin typeface="35 Light"/>
              </a:rPr>
              <a:t>Si un essai est réalisé dans plusieurs pays européens, la décision sur les documents scientifiques et le protocole de recherche sera une décision conjointe des autorités sanitaires des pays impliqués dans cette recherche (donc avec l'implication de l'ANSM en France), et la décision relative à la protection des personnes sera une décision prise uniquement par la France, par les CPP.</a:t>
            </a:r>
          </a:p>
          <a:p>
            <a:pPr algn="l" fontAlgn="base"/>
            <a:r>
              <a:rPr lang="fr-FR" b="0" i="1" dirty="0">
                <a:solidFill>
                  <a:srgbClr val="000000"/>
                </a:solidFill>
                <a:effectLst/>
                <a:latin typeface="35 Light"/>
              </a:rPr>
              <a:t>Au final, en France, c'est </a:t>
            </a:r>
            <a:r>
              <a:rPr lang="fr-FR" b="1" i="1" dirty="0">
                <a:solidFill>
                  <a:srgbClr val="000000"/>
                </a:solidFill>
                <a:effectLst/>
                <a:latin typeface="35 Light"/>
              </a:rPr>
              <a:t>l'ANSM qui délivrera l'autorisation de réaliser l'essai</a:t>
            </a:r>
            <a:r>
              <a:rPr lang="fr-FR" b="0" i="1" dirty="0">
                <a:solidFill>
                  <a:srgbClr val="000000"/>
                </a:solidFill>
                <a:effectLst/>
                <a:latin typeface="35 Light"/>
              </a:rPr>
              <a:t>.</a:t>
            </a:r>
          </a:p>
          <a:p>
            <a:pPr algn="l" fontAlgn="base"/>
            <a:endParaRPr lang="fr-FR" b="0" i="1" dirty="0">
              <a:solidFill>
                <a:srgbClr val="000000"/>
              </a:solidFill>
              <a:effectLst/>
              <a:latin typeface="35 Light"/>
            </a:endParaRPr>
          </a:p>
          <a:p>
            <a:pPr algn="l" fontAlgn="base"/>
            <a:r>
              <a:rPr lang="fr-FR" b="0" i="1" dirty="0">
                <a:solidFill>
                  <a:srgbClr val="000000"/>
                </a:solidFill>
                <a:effectLst/>
                <a:latin typeface="35 Light"/>
              </a:rPr>
              <a:t>Une période d'application progressive est prévue pour laisser le temps à tous les acteurs de la recherche clinique de s'organiser.</a:t>
            </a:r>
          </a:p>
          <a:p>
            <a:pPr algn="l" fontAlgn="base"/>
            <a:endParaRPr lang="fr-FR" b="0" i="1" dirty="0">
              <a:solidFill>
                <a:srgbClr val="000000"/>
              </a:solidFill>
              <a:effectLst/>
              <a:latin typeface="35 Light"/>
            </a:endParaRPr>
          </a:p>
          <a:p>
            <a:pPr algn="l" fontAlgn="base"/>
            <a:r>
              <a:rPr lang="fr-FR" b="0" i="1" dirty="0">
                <a:solidFill>
                  <a:srgbClr val="000000"/>
                </a:solidFill>
                <a:effectLst/>
                <a:latin typeface="35 Light"/>
              </a:rPr>
              <a:t>En pratique, la France, qui a été l'un des premiers pays à adopter une loi sur la protection des personnes en 1988, avait déjà anticipé cette réglementation et le processus est déjà bien rodé.</a:t>
            </a:r>
          </a:p>
          <a:p>
            <a:pPr algn="l" fontAlgn="base"/>
            <a:endParaRPr lang="fr-FR" b="0" i="1" dirty="0">
              <a:solidFill>
                <a:srgbClr val="000000"/>
              </a:solidFill>
              <a:effectLst/>
              <a:latin typeface="35 Light"/>
            </a:endParaRPr>
          </a:p>
          <a:p>
            <a:pPr algn="l" fontAlgn="base"/>
            <a:r>
              <a:rPr lang="fr-FR" b="0" i="1" dirty="0">
                <a:solidFill>
                  <a:srgbClr val="000000"/>
                </a:solidFill>
                <a:effectLst/>
                <a:latin typeface="35 Light"/>
              </a:rPr>
              <a:t>Cette réglementation apporte également d'autres éléments en faveur d'une plus grande implication des patients et d'une meilleure transparence dans tous les pays européens, tels que :- l'implication des associations de patients dans la conception de l'essai clinique est encouragée (partie intégrante du dossier de demande d'autorisation),- la mise en place d'une base de données accessible au grand public, contenant les informations utiles sur les essais : essais en cours avec informations sur le recrutement des patients, résumé de l'essai, protocole, données d'autres recherches sur le même médicament, rapports finaux, évaluations des autorités sanitaires, etc.</a:t>
            </a:r>
          </a:p>
          <a:p>
            <a:pPr algn="l" fontAlgn="base"/>
            <a:endParaRPr lang="fr-FR" b="0" i="1" dirty="0">
              <a:solidFill>
                <a:srgbClr val="000000"/>
              </a:solidFill>
              <a:effectLst/>
              <a:latin typeface="35 Light"/>
            </a:endParaRPr>
          </a:p>
          <a:p>
            <a:pPr algn="l" fontAlgn="base"/>
            <a:r>
              <a:rPr lang="fr-FR" b="0" i="1" dirty="0">
                <a:solidFill>
                  <a:srgbClr val="000000"/>
                </a:solidFill>
                <a:effectLst/>
                <a:latin typeface="35 Light"/>
              </a:rPr>
              <a:t>https://notre-recherche-clinique.fr/france-europe-la-reglementation-des-essais-cliniques-sur-les-medicaments-evolue/ </a:t>
            </a:r>
          </a:p>
          <a:p>
            <a:pPr algn="l" fontAlgn="base"/>
            <a:endParaRPr lang="fr-FR" b="0" i="1" dirty="0">
              <a:solidFill>
                <a:srgbClr val="000000"/>
              </a:solidFill>
              <a:effectLst/>
              <a:latin typeface="35 Light"/>
            </a:endParaRPr>
          </a:p>
          <a:p>
            <a:pPr algn="l" fontAlgn="base"/>
            <a:endParaRPr lang="fr-FR" b="0" i="1" dirty="0">
              <a:solidFill>
                <a:srgbClr val="000000"/>
              </a:solidFill>
              <a:effectLst/>
              <a:latin typeface="35 Light"/>
            </a:endParaRPr>
          </a:p>
          <a:p>
            <a:pPr algn="l" fontAlgn="base"/>
            <a:r>
              <a:rPr lang="fr-FR" b="0" i="1" dirty="0">
                <a:solidFill>
                  <a:srgbClr val="000000"/>
                </a:solidFill>
                <a:effectLst/>
                <a:latin typeface="35 Light"/>
              </a:rPr>
              <a:t> </a:t>
            </a:r>
          </a:p>
          <a:p>
            <a:pPr algn="l" fontAlgn="base"/>
            <a:endParaRPr lang="fr-FR" b="0" i="1" dirty="0">
              <a:solidFill>
                <a:srgbClr val="000000"/>
              </a:solidFill>
              <a:effectLst/>
              <a:latin typeface="35 Light"/>
            </a:endParaRPr>
          </a:p>
          <a:p>
            <a:pPr algn="l" fontAlgn="base"/>
            <a:endParaRPr lang="fr-FR" b="0" i="1" dirty="0">
              <a:solidFill>
                <a:srgbClr val="000000"/>
              </a:solidFill>
              <a:effectLst/>
              <a:latin typeface="35 Light"/>
            </a:endParaRPr>
          </a:p>
          <a:p>
            <a:pPr algn="l" fontAlgn="base"/>
            <a:endParaRPr lang="fr-FR" b="0" i="1" dirty="0">
              <a:solidFill>
                <a:srgbClr val="000000"/>
              </a:solidFill>
              <a:effectLst/>
              <a:latin typeface="35 Light"/>
            </a:endParaRPr>
          </a:p>
          <a:p>
            <a:pPr algn="l" fontAlgn="base"/>
            <a:endParaRPr lang="fr-FR" b="0" i="1" dirty="0">
              <a:solidFill>
                <a:srgbClr val="000000"/>
              </a:solidFill>
              <a:effectLst/>
              <a:latin typeface="35 Light"/>
            </a:endParaRPr>
          </a:p>
          <a:p>
            <a:pPr algn="l" fontAlgn="base"/>
            <a:endParaRPr lang="fr-FR" b="0" i="1" dirty="0">
              <a:solidFill>
                <a:srgbClr val="000000"/>
              </a:solidFill>
              <a:effectLst/>
              <a:latin typeface="35 Light"/>
            </a:endParaRPr>
          </a:p>
          <a:p>
            <a:pPr algn="l"/>
            <a:endParaRPr lang="nl-NL" dirty="0"/>
          </a:p>
        </p:txBody>
      </p:sp>
      <p:sp>
        <p:nvSpPr>
          <p:cNvPr id="4" name="Slide Number Placeholder 3"/>
          <p:cNvSpPr>
            <a:spLocks noGrp="1"/>
          </p:cNvSpPr>
          <p:nvPr>
            <p:ph type="sldNum" sz="quarter" idx="5"/>
          </p:nvPr>
        </p:nvSpPr>
        <p:spPr/>
        <p:txBody>
          <a:bodyPr/>
          <a:lstStyle/>
          <a:p>
            <a:fld id="{57AA0218-8EA7-46C1-B12C-665269A91A87}" type="slidenum">
              <a:rPr lang="en-GB" smtClean="0"/>
              <a:t>18</a:t>
            </a:fld>
            <a:endParaRPr lang="en-GB"/>
          </a:p>
        </p:txBody>
      </p:sp>
    </p:spTree>
    <p:extLst>
      <p:ext uri="{BB962C8B-B14F-4D97-AF65-F5344CB8AC3E}">
        <p14:creationId xmlns:p14="http://schemas.microsoft.com/office/powerpoint/2010/main" val="24405390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57AA0218-8EA7-46C1-B12C-665269A91A87}" type="slidenum">
              <a:rPr lang="en-GB" smtClean="0"/>
              <a:t>19</a:t>
            </a:fld>
            <a:endParaRPr lang="en-GB"/>
          </a:p>
        </p:txBody>
      </p:sp>
    </p:spTree>
    <p:extLst>
      <p:ext uri="{BB962C8B-B14F-4D97-AF65-F5344CB8AC3E}">
        <p14:creationId xmlns:p14="http://schemas.microsoft.com/office/powerpoint/2010/main" val="4298415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b="0" i="1" u="none" dirty="0">
                <a:solidFill>
                  <a:schemeClr val="tx1"/>
                </a:solidFill>
                <a:effectLst/>
                <a:latin typeface="+mn-lt"/>
              </a:rPr>
              <a:t>Le règlement apportera de nouvelles exigences concernant les demandes, les délais et les communications avec les autorités compétentes et les comités d'éthique, et s'appuie sur les mêmes principes centraux de bonnes pratiques cliniques que l'actuelle directive européenne 2001/20/EF. Le règlement sur les essais cliniques peut être consulté sur la page web de la Commission européenne, ainsi que le document complet de questions et réponses.</a:t>
            </a:r>
          </a:p>
          <a:p>
            <a:pPr algn="l"/>
            <a:endParaRPr lang="fr-FR" b="0" i="1" u="none" dirty="0">
              <a:solidFill>
                <a:schemeClr val="tx1"/>
              </a:solidFill>
              <a:effectLst/>
              <a:latin typeface="+mn-lt"/>
            </a:endParaRPr>
          </a:p>
          <a:p>
            <a:pPr algn="l"/>
            <a:r>
              <a:rPr lang="fr-FR" b="0" i="1" u="none" dirty="0">
                <a:solidFill>
                  <a:schemeClr val="tx1"/>
                </a:solidFill>
                <a:effectLst/>
                <a:latin typeface="+mn-lt"/>
              </a:rPr>
              <a:t>Les nouvelles exigences concernant le dossier de demande sont décrites à l'annexe I du règlement.</a:t>
            </a:r>
          </a:p>
          <a:p>
            <a:pPr algn="l"/>
            <a:endParaRPr lang="fr-FR" b="0" i="1" u="none" dirty="0">
              <a:solidFill>
                <a:schemeClr val="tx1"/>
              </a:solidFill>
              <a:effectLst/>
              <a:latin typeface="+mn-lt"/>
            </a:endParaRPr>
          </a:p>
          <a:p>
            <a:pPr algn="l"/>
            <a:r>
              <a:rPr lang="fr-FR" b="0" i="1" u="none" dirty="0">
                <a:solidFill>
                  <a:schemeClr val="tx1"/>
                </a:solidFill>
                <a:effectLst/>
                <a:latin typeface="+mn-lt"/>
              </a:rPr>
              <a:t>L'Agence européenne des médicaments (EMA) offre un soutien et une formation au nouveau portail CTIS. Le matériel de formation et de soutien est disponible sur sa page Web.</a:t>
            </a:r>
          </a:p>
          <a:p>
            <a:endParaRPr lang="nl-NL" dirty="0"/>
          </a:p>
        </p:txBody>
      </p:sp>
      <p:sp>
        <p:nvSpPr>
          <p:cNvPr id="4" name="Slide Number Placeholder 3"/>
          <p:cNvSpPr>
            <a:spLocks noGrp="1"/>
          </p:cNvSpPr>
          <p:nvPr>
            <p:ph type="sldNum" sz="quarter" idx="5"/>
          </p:nvPr>
        </p:nvSpPr>
        <p:spPr/>
        <p:txBody>
          <a:bodyPr/>
          <a:lstStyle/>
          <a:p>
            <a:fld id="{57AA0218-8EA7-46C1-B12C-665269A91A87}" type="slidenum">
              <a:rPr lang="en-GB" smtClean="0"/>
              <a:t>20</a:t>
            </a:fld>
            <a:endParaRPr lang="en-GB"/>
          </a:p>
        </p:txBody>
      </p:sp>
    </p:spTree>
    <p:extLst>
      <p:ext uri="{BB962C8B-B14F-4D97-AF65-F5344CB8AC3E}">
        <p14:creationId xmlns:p14="http://schemas.microsoft.com/office/powerpoint/2010/main" val="8573792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algn="just">
              <a:spcAft>
                <a:spcPts val="120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1. Premièrement, l'article 28 (2) du CTR mentionne que les données doivent être </a:t>
            </a:r>
            <a:r>
              <a:rPr lang="fr-FR" sz="1800" b="1" dirty="0">
                <a:effectLst/>
                <a:latin typeface="Calibri" panose="020F0502020204030204" pitchFamily="34" charset="0"/>
                <a:ea typeface="Calibri" panose="020F0502020204030204" pitchFamily="34" charset="0"/>
                <a:cs typeface="Times New Roman" panose="02020603050405020304" pitchFamily="18" charset="0"/>
              </a:rPr>
              <a:t>utilisées en dehors du protocole de l'essai clinique, exclusivement à des fins scientifiques. </a:t>
            </a:r>
          </a:p>
          <a:p>
            <a:pPr marL="742950" indent="-285750" algn="just">
              <a:spcAft>
                <a:spcPts val="1200"/>
              </a:spcAft>
              <a:buFontTx/>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Ce qu'il faut entendre par "fins scientifiques" n'est pas précisé dans le CTR. </a:t>
            </a:r>
          </a:p>
          <a:p>
            <a:pPr marL="742950" indent="-285750" algn="just">
              <a:spcAft>
                <a:spcPts val="1200"/>
              </a:spcAft>
              <a:buFontTx/>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En l'absence de toute explication, la recherche scientifique pourrait être interprétée au sens large, ce qui signifie que les institutions privées pourraient également bénéficier du consentement donné pour utiliser les données en dehors du protocole si c'est à des fins de recherche. Toutefois, l'incertitude ne peut être totalement exclue, </a:t>
            </a:r>
            <a:r>
              <a:rPr lang="fr-FR" sz="1800" u="sng" dirty="0">
                <a:effectLst/>
                <a:latin typeface="Calibri" panose="020F0502020204030204" pitchFamily="34" charset="0"/>
                <a:ea typeface="Calibri" panose="020F0502020204030204" pitchFamily="34" charset="0"/>
                <a:cs typeface="Times New Roman" panose="02020603050405020304" pitchFamily="18" charset="0"/>
              </a:rPr>
              <a:t>car le considérant 29 prévoit qu'"il convient que les universités et autres institutions de recherche, dans certaines circonstances conformes à la législation applicable en matière de protection des données, puissent collecter des données provenant d'essais cliniques afin de les utiliser pour des recherches scientifiques futures, par exemple à des fins de recherche en médecine, en sciences naturelles ou en sciences sociales [...]". </a:t>
            </a:r>
          </a:p>
          <a:p>
            <a:pPr marL="457200" algn="just">
              <a:spcAft>
                <a:spcPts val="120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742950" indent="-285750" algn="just">
              <a:spcAft>
                <a:spcPts val="1200"/>
              </a:spcAft>
              <a:buFontTx/>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La référence exclusive aux "universités et autres institutions de recherche" pourrait être interprétée comme excluant les institutions privées de la possibilité d'utiliser les données des essais cliniques à des fins de recherche ultérieure. </a:t>
            </a:r>
          </a:p>
          <a:p>
            <a:pPr marL="1200150" lvl="1" indent="-285750" algn="just">
              <a:spcAft>
                <a:spcPts val="1200"/>
              </a:spcAft>
              <a:buFontTx/>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Il n'y a </a:t>
            </a:r>
            <a:r>
              <a:rPr lang="fr-FR" sz="1800" b="1" dirty="0">
                <a:effectLst/>
                <a:latin typeface="Calibri" panose="020F0502020204030204" pitchFamily="34" charset="0"/>
                <a:ea typeface="Calibri" panose="020F0502020204030204" pitchFamily="34" charset="0"/>
                <a:cs typeface="Times New Roman" panose="02020603050405020304" pitchFamily="18" charset="0"/>
              </a:rPr>
              <a:t>pas de clarification dans les travaux préparatoires car le considérant initial ne faisait même pas référence à ces universités et autres institutions de recherche et la raison de la modification du texte est inconnue. </a:t>
            </a:r>
          </a:p>
          <a:p>
            <a:pPr marL="457200" algn="just">
              <a:spcAft>
                <a:spcPts val="120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457200" algn="just">
              <a:spcAft>
                <a:spcPts val="120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2. Deuxièmement, l'article 28(2) du CTR précise que ce </a:t>
            </a:r>
            <a:r>
              <a:rPr lang="fr-FR" sz="1800" b="1" dirty="0">
                <a:effectLst/>
                <a:latin typeface="Calibri" panose="020F0502020204030204" pitchFamily="34" charset="0"/>
                <a:ea typeface="Calibri" panose="020F0502020204030204" pitchFamily="34" charset="0"/>
                <a:cs typeface="Times New Roman" panose="02020603050405020304" pitchFamily="18" charset="0"/>
              </a:rPr>
              <a:t>consentement peut être retiré </a:t>
            </a:r>
            <a:r>
              <a:rPr lang="fr-FR" sz="1800" dirty="0">
                <a:effectLst/>
                <a:latin typeface="Calibri" panose="020F0502020204030204" pitchFamily="34" charset="0"/>
                <a:ea typeface="Calibri" panose="020F0502020204030204" pitchFamily="34" charset="0"/>
                <a:cs typeface="Times New Roman" panose="02020603050405020304" pitchFamily="18" charset="0"/>
              </a:rPr>
              <a:t>à tout moment par le sujet ou son représentant légal désigné. </a:t>
            </a:r>
          </a:p>
          <a:p>
            <a:pPr marL="742950" indent="-285750" algn="just">
              <a:spcAft>
                <a:spcPts val="1200"/>
              </a:spcAft>
              <a:buFontTx/>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Une première observation importante est que cet article 28(2) CTR semble un peu </a:t>
            </a:r>
            <a:r>
              <a:rPr lang="fr-FR" sz="1800" u="sng" dirty="0">
                <a:effectLst/>
                <a:latin typeface="Calibri" panose="020F0502020204030204" pitchFamily="34" charset="0"/>
                <a:ea typeface="Calibri" panose="020F0502020204030204" pitchFamily="34" charset="0"/>
                <a:cs typeface="Times New Roman" panose="02020603050405020304" pitchFamily="18" charset="0"/>
              </a:rPr>
              <a:t>hors contexte dans le cadre d'un essai clinique</a:t>
            </a:r>
            <a:r>
              <a:rPr lang="fr-FR" sz="1800" dirty="0">
                <a:effectLst/>
                <a:latin typeface="Calibri" panose="020F0502020204030204" pitchFamily="34" charset="0"/>
                <a:ea typeface="Calibri" panose="020F0502020204030204" pitchFamily="34" charset="0"/>
                <a:cs typeface="Times New Roman" panose="02020603050405020304" pitchFamily="18" charset="0"/>
              </a:rPr>
              <a:t>. Il ne s'agit pas d'une exigence pour la conduite d'un essai clinique. Il concerne uniquement l'utilisation des données à d'autres fins de recherche scientifique, un sujet qui est déjà largement réglementé dans un autre cadre. Cela nous amène à nous demander sur quelle base juridique est fondée cette exigence supplémentaire.</a:t>
            </a:r>
          </a:p>
          <a:p>
            <a:pPr marL="742950" indent="-285750" algn="just">
              <a:spcAft>
                <a:spcPts val="1200"/>
              </a:spcAft>
              <a:buFontTx/>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Il existe de </a:t>
            </a:r>
            <a:r>
              <a:rPr lang="fr-FR" sz="1800" u="sng" dirty="0">
                <a:effectLst/>
                <a:latin typeface="Calibri" panose="020F0502020204030204" pitchFamily="34" charset="0"/>
                <a:ea typeface="Calibri" panose="020F0502020204030204" pitchFamily="34" charset="0"/>
                <a:cs typeface="Times New Roman" panose="02020603050405020304" pitchFamily="18" charset="0"/>
              </a:rPr>
              <a:t>sérieux doutes quant à la validité de la base juridique </a:t>
            </a:r>
            <a:r>
              <a:rPr lang="fr-FR" sz="1800" dirty="0">
                <a:effectLst/>
                <a:latin typeface="Calibri" panose="020F0502020204030204" pitchFamily="34" charset="0"/>
                <a:ea typeface="Calibri" panose="020F0502020204030204" pitchFamily="34" charset="0"/>
                <a:cs typeface="Times New Roman" panose="02020603050405020304" pitchFamily="18" charset="0"/>
              </a:rPr>
              <a:t>sur laquelle le législateur européen s'est appuyé pour fixer l'obligation légale supplémentaire inscrite à l'article 28(2) du RTC. </a:t>
            </a:r>
          </a:p>
          <a:p>
            <a:pPr marL="1200150" lvl="1" indent="-285750" algn="just">
              <a:spcAft>
                <a:spcPts val="1200"/>
              </a:spcAft>
              <a:buFontTx/>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Tout d'abord, le consentement supplémentaire n'est clairement pas </a:t>
            </a:r>
            <a:r>
              <a:rPr lang="fr-FR" sz="1800" u="sng" dirty="0">
                <a:effectLst/>
                <a:latin typeface="Calibri" panose="020F0502020204030204" pitchFamily="34" charset="0"/>
                <a:ea typeface="Calibri" panose="020F0502020204030204" pitchFamily="34" charset="0"/>
                <a:cs typeface="Times New Roman" panose="02020603050405020304" pitchFamily="18" charset="0"/>
              </a:rPr>
              <a:t>une question relative au marché intérieur</a:t>
            </a:r>
            <a:r>
              <a:rPr lang="fr-FR" sz="1800" dirty="0">
                <a:effectLst/>
                <a:latin typeface="Calibri" panose="020F0502020204030204" pitchFamily="34" charset="0"/>
                <a:ea typeface="Calibri" panose="020F0502020204030204" pitchFamily="34" charset="0"/>
                <a:cs typeface="Times New Roman" panose="02020603050405020304" pitchFamily="18" charset="0"/>
              </a:rPr>
              <a:t>. Ensuite, cette exigence ne semble pas non plus s'inscrire dans le contexte de la fixation de normes élevées de qualité et de sécurité pour les médicaments et les dispositifs à usage médical.  En effet, l'utilisation de ces données pour la recherche scientifique peut ou va régulièrement sortir du contexte spécifique de cette base juridique. Le sujet de recherche ultérieur peut être totalement différent et ne peut en aucun cas évaluer l'utilisation de médicaments ou de dispositifs chez l'homme.  </a:t>
            </a:r>
          </a:p>
          <a:p>
            <a:pPr marL="1200150" lvl="1" indent="-285750" algn="just">
              <a:spcAft>
                <a:spcPts val="1200"/>
              </a:spcAft>
              <a:buFontTx/>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Le CTR, en réglementant également l'utilisation ultérieure des données en dehors du contexte des essais cliniques, avec éventuellement aucun rapport avec les médicaments ou les dispositifs, peut clairement avoir dépassé les règles législatives applicables et sa base juridique. Pour cette raison, étant donné l'absence apparente de base juridique de cette disposition, la question de la légalité de l'article 28(2) du RTC mérite d'être approfondie.</a:t>
            </a:r>
          </a:p>
          <a:p>
            <a:pPr marL="1200150" lvl="1" indent="-285750" algn="just">
              <a:spcAft>
                <a:spcPts val="1200"/>
              </a:spcAft>
              <a:buFontTx/>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En plus de ce point, il est également utile d'examiner si </a:t>
            </a:r>
            <a:r>
              <a:rPr lang="fr-FR" sz="1800" b="1" dirty="0">
                <a:effectLst/>
                <a:latin typeface="Calibri" panose="020F0502020204030204" pitchFamily="34" charset="0"/>
                <a:ea typeface="Calibri" panose="020F0502020204030204" pitchFamily="34" charset="0"/>
                <a:cs typeface="Times New Roman" panose="02020603050405020304" pitchFamily="18" charset="0"/>
              </a:rPr>
              <a:t>l'imposition d'une restriction supplémentaire </a:t>
            </a:r>
            <a:r>
              <a:rPr lang="fr-FR" sz="1800" dirty="0">
                <a:effectLst/>
                <a:latin typeface="Calibri" panose="020F0502020204030204" pitchFamily="34" charset="0"/>
                <a:ea typeface="Calibri" panose="020F0502020204030204" pitchFamily="34" charset="0"/>
                <a:cs typeface="Times New Roman" panose="02020603050405020304" pitchFamily="18" charset="0"/>
              </a:rPr>
              <a:t>à l'utilisation des données des essais cliniques pour la recherche scientifique a jamais été l'intention du législateur européen. </a:t>
            </a:r>
          </a:p>
          <a:p>
            <a:pPr marL="1657350" lvl="2" indent="-285750" algn="just">
              <a:spcAft>
                <a:spcPts val="1200"/>
              </a:spcAft>
              <a:buFontTx/>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Une </a:t>
            </a:r>
            <a:r>
              <a:rPr lang="fr-FR" sz="1800" b="1" dirty="0">
                <a:effectLst/>
                <a:latin typeface="Calibri" panose="020F0502020204030204" pitchFamily="34" charset="0"/>
                <a:ea typeface="Calibri" panose="020F0502020204030204" pitchFamily="34" charset="0"/>
                <a:cs typeface="Times New Roman" panose="02020603050405020304" pitchFamily="18" charset="0"/>
              </a:rPr>
              <a:t>première indication </a:t>
            </a:r>
            <a:r>
              <a:rPr lang="fr-FR" sz="1800" dirty="0">
                <a:effectLst/>
                <a:latin typeface="Calibri" panose="020F0502020204030204" pitchFamily="34" charset="0"/>
                <a:ea typeface="Calibri" panose="020F0502020204030204" pitchFamily="34" charset="0"/>
                <a:cs typeface="Times New Roman" panose="02020603050405020304" pitchFamily="18" charset="0"/>
              </a:rPr>
              <a:t>de l'intention du législateur européen peut être trouvée dans le </a:t>
            </a:r>
            <a:r>
              <a:rPr lang="fr-FR" sz="1800" b="1" dirty="0">
                <a:effectLst/>
                <a:latin typeface="Calibri" panose="020F0502020204030204" pitchFamily="34" charset="0"/>
                <a:ea typeface="Calibri" panose="020F0502020204030204" pitchFamily="34" charset="0"/>
                <a:cs typeface="Times New Roman" panose="02020603050405020304" pitchFamily="18" charset="0"/>
              </a:rPr>
              <a:t>considérant 29 du RTC </a:t>
            </a:r>
            <a:r>
              <a:rPr lang="fr-FR" sz="1800" dirty="0">
                <a:effectLst/>
                <a:latin typeface="Calibri" panose="020F0502020204030204" pitchFamily="34" charset="0"/>
                <a:ea typeface="Calibri" panose="020F0502020204030204" pitchFamily="34" charset="0"/>
                <a:cs typeface="Times New Roman" panose="02020603050405020304" pitchFamily="18" charset="0"/>
              </a:rPr>
              <a:t>:</a:t>
            </a:r>
          </a:p>
          <a:p>
            <a:pPr marL="2114550" lvl="3" indent="-285750" algn="just">
              <a:spcAft>
                <a:spcPts val="1200"/>
              </a:spcAft>
              <a:buFontTx/>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Il convient que les universités et autres institutions de recherche, dans certaines circonstances conformes à la législation applicable en matière de protection des données, puissent collecter des données provenant d'essais cliniques afin de les utiliser </a:t>
            </a:r>
            <a:r>
              <a:rPr lang="fr-FR" sz="1800" u="sng" dirty="0">
                <a:effectLst/>
                <a:latin typeface="Calibri" panose="020F0502020204030204" pitchFamily="34" charset="0"/>
                <a:ea typeface="Calibri" panose="020F0502020204030204" pitchFamily="34" charset="0"/>
                <a:cs typeface="Times New Roman" panose="02020603050405020304" pitchFamily="18" charset="0"/>
              </a:rPr>
              <a:t>pour de futures recherches scientifiques, </a:t>
            </a:r>
            <a:r>
              <a:rPr lang="fr-FR" sz="1800" dirty="0">
                <a:effectLst/>
                <a:latin typeface="Calibri" panose="020F0502020204030204" pitchFamily="34" charset="0"/>
                <a:ea typeface="Calibri" panose="020F0502020204030204" pitchFamily="34" charset="0"/>
                <a:cs typeface="Times New Roman" panose="02020603050405020304" pitchFamily="18" charset="0"/>
              </a:rPr>
              <a:t>par exemple à des fins de recherche en médecine, en sciences naturelles ou en sciences sociales. </a:t>
            </a:r>
          </a:p>
          <a:p>
            <a:pPr marL="2114550" lvl="3" indent="-285750" algn="just">
              <a:spcAft>
                <a:spcPts val="1200"/>
              </a:spcAft>
              <a:buFontTx/>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Afin de collecter des données à de telles fins, il est nécessaire que le sujet donne son </a:t>
            </a:r>
            <a:r>
              <a:rPr lang="fr-FR" sz="1800" u="sng" dirty="0">
                <a:effectLst/>
                <a:latin typeface="Calibri" panose="020F0502020204030204" pitchFamily="34" charset="0"/>
                <a:ea typeface="Calibri" panose="020F0502020204030204" pitchFamily="34" charset="0"/>
                <a:cs typeface="Times New Roman" panose="02020603050405020304" pitchFamily="18" charset="0"/>
              </a:rPr>
              <a:t>consentement</a:t>
            </a:r>
            <a:r>
              <a:rPr lang="fr-FR" sz="1800" dirty="0">
                <a:effectLst/>
                <a:latin typeface="Calibri" panose="020F0502020204030204" pitchFamily="34" charset="0"/>
                <a:ea typeface="Calibri" panose="020F0502020204030204" pitchFamily="34" charset="0"/>
                <a:cs typeface="Times New Roman" panose="02020603050405020304" pitchFamily="18" charset="0"/>
              </a:rPr>
              <a:t> pour utiliser ses données en dehors du protocole de l'essai clinique et qu'il ait le droit de retirer ce consentement à tout moment. Il est également nécessaire que les projets de recherche basés sur de telles données fassent l'objet d'examens appropriés pour la recherche sur les données humaines, par exemple sur les aspects éthiques, avant d'être menés.</a:t>
            </a:r>
          </a:p>
          <a:p>
            <a:pPr marL="1657350" lvl="2" indent="-285750" algn="just">
              <a:spcAft>
                <a:spcPts val="1200"/>
              </a:spcAft>
              <a:buFontTx/>
              <a:buChar char="-"/>
            </a:pPr>
            <a:r>
              <a:rPr lang="fr-FR" sz="1800" dirty="0">
                <a:effectLst/>
                <a:latin typeface="Georgia" panose="02040502050405020303" pitchFamily="18" charset="0"/>
                <a:ea typeface="Calibri" panose="020F0502020204030204" pitchFamily="34" charset="0"/>
                <a:cs typeface="Times New Roman" panose="02020603050405020304" pitchFamily="18" charset="0"/>
              </a:rPr>
              <a:t>Une </a:t>
            </a:r>
            <a:r>
              <a:rPr lang="fr-FR" sz="1800" b="1" dirty="0">
                <a:effectLst/>
                <a:latin typeface="Georgia" panose="02040502050405020303" pitchFamily="18" charset="0"/>
                <a:ea typeface="Calibri" panose="020F0502020204030204" pitchFamily="34" charset="0"/>
                <a:cs typeface="Times New Roman" panose="02020603050405020304" pitchFamily="18" charset="0"/>
              </a:rPr>
              <a:t>deuxième indication </a:t>
            </a:r>
            <a:r>
              <a:rPr lang="fr-FR" sz="1800" dirty="0">
                <a:effectLst/>
                <a:latin typeface="Georgia" panose="02040502050405020303" pitchFamily="18" charset="0"/>
                <a:ea typeface="Calibri" panose="020F0502020204030204" pitchFamily="34" charset="0"/>
                <a:cs typeface="Times New Roman" panose="02020603050405020304" pitchFamily="18" charset="0"/>
              </a:rPr>
              <a:t>de l'intention du législateur européen peut être trouvée dans les travaux préparatoires du CTR.  </a:t>
            </a:r>
          </a:p>
          <a:p>
            <a:pPr marL="2114550" lvl="3" indent="-285750" algn="just">
              <a:spcAft>
                <a:spcPts val="1200"/>
              </a:spcAft>
              <a:buFontTx/>
              <a:buChar char="-"/>
            </a:pPr>
            <a:r>
              <a:rPr lang="fr-FR" sz="1800" dirty="0">
                <a:effectLst/>
                <a:latin typeface="Georgia" panose="02040502050405020303" pitchFamily="18" charset="0"/>
                <a:ea typeface="Calibri" panose="020F0502020204030204" pitchFamily="34" charset="0"/>
                <a:cs typeface="Times New Roman" panose="02020603050405020304" pitchFamily="18" charset="0"/>
              </a:rPr>
              <a:t>L'article </a:t>
            </a:r>
            <a:r>
              <a:rPr lang="fr-FR" sz="1800" u="sng" dirty="0">
                <a:effectLst/>
                <a:latin typeface="Georgia" panose="02040502050405020303" pitchFamily="18" charset="0"/>
                <a:ea typeface="Calibri" panose="020F0502020204030204" pitchFamily="34" charset="0"/>
                <a:cs typeface="Times New Roman" panose="02020603050405020304" pitchFamily="18" charset="0"/>
              </a:rPr>
              <a:t>28(2) du CTR n'a pas été inclus dans la proposition de la Commission</a:t>
            </a:r>
            <a:r>
              <a:rPr lang="fr-FR" sz="1800" dirty="0">
                <a:effectLst/>
                <a:latin typeface="Georgia" panose="02040502050405020303" pitchFamily="18" charset="0"/>
                <a:ea typeface="Calibri" panose="020F0502020204030204" pitchFamily="34" charset="0"/>
                <a:cs typeface="Times New Roman" panose="02020603050405020304" pitchFamily="18" charset="0"/>
              </a:rPr>
              <a:t>. Il a été présenté ultérieurement par la commission de l'industrie, de la recherche et de l'énergie comme suit : </a:t>
            </a:r>
          </a:p>
          <a:p>
            <a:pPr marL="2114550" lvl="3" indent="-285750" algn="just">
              <a:spcAft>
                <a:spcPts val="1200"/>
              </a:spcAft>
              <a:buFontTx/>
              <a:buChar char="-"/>
            </a:pPr>
            <a:r>
              <a:rPr lang="fr-FR" sz="1800" dirty="0">
                <a:effectLst/>
                <a:latin typeface="Georgia" panose="02040502050405020303" pitchFamily="18" charset="0"/>
                <a:ea typeface="Calibri" panose="020F0502020204030204" pitchFamily="34" charset="0"/>
                <a:cs typeface="Times New Roman" panose="02020603050405020304" pitchFamily="18" charset="0"/>
              </a:rPr>
              <a:t>Lorsque le sujet est tenu de donner son consentement pour un essai clinique, il doit avoir la possibilité de donner un consentement large, à l'institution traitante, pour que ses données soient utilisées après la fin de l'essai clinique à des fins historiques, statistiques ou de recherche scientifique, et de retirer son consentement à tout moment.  Cette première version de ce paragraphe 2 était justifiée comme suit : </a:t>
            </a:r>
          </a:p>
          <a:p>
            <a:pPr marL="2114550" lvl="3" indent="-285750" algn="just">
              <a:spcAft>
                <a:spcPts val="1200"/>
              </a:spcAft>
              <a:buFontTx/>
              <a:buChar char="-"/>
            </a:pPr>
            <a:r>
              <a:rPr lang="fr-FR" sz="1800" i="1" dirty="0">
                <a:effectLst/>
                <a:latin typeface="Georgia" panose="02040502050405020303" pitchFamily="18" charset="0"/>
                <a:ea typeface="Calibri" panose="020F0502020204030204" pitchFamily="34" charset="0"/>
                <a:cs typeface="Times New Roman" panose="02020603050405020304" pitchFamily="18" charset="0"/>
              </a:rPr>
              <a:t>"Lorsqu'un patient est enrôlé dans un essai clinique, il lui est demandé de signer un formulaire où il donne son consentement éclairé exclusivement pour la durée et dans le cadre de l'essai. Une fois l'essai terminé, les données de suivi ne peuvent plus être utilisées, même à des fins de recherche, à moins que le chercheur n'obtienne des consentements supplémentaires. Dans le cadre du consentement initial, une option de consentement élargi doit être proposée au patient, selon laquelle ses données peuvent être utilisées à la demande de l'institution traitante pour des recherches futures</a:t>
            </a:r>
            <a:r>
              <a:rPr lang="fr-FR" sz="1800" dirty="0">
                <a:effectLst/>
                <a:latin typeface="Georgia" panose="02040502050405020303" pitchFamily="18" charset="0"/>
                <a:ea typeface="Calibri" panose="020F0502020204030204" pitchFamily="34" charset="0"/>
                <a:cs typeface="Times New Roman" panose="02020603050405020304" pitchFamily="18" charset="0"/>
              </a:rPr>
              <a:t>". </a:t>
            </a:r>
          </a:p>
          <a:p>
            <a:pPr marL="457200" algn="just">
              <a:spcAft>
                <a:spcPts val="1200"/>
              </a:spcAft>
            </a:pPr>
            <a:endParaRPr lang="fr-FR" sz="1800" dirty="0">
              <a:effectLst/>
              <a:latin typeface="Georgia" panose="02040502050405020303" pitchFamily="18" charset="0"/>
              <a:ea typeface="Calibri" panose="020F0502020204030204" pitchFamily="34" charset="0"/>
              <a:cs typeface="Times New Roman" panose="02020603050405020304" pitchFamily="18" charset="0"/>
            </a:endParaRPr>
          </a:p>
          <a:p>
            <a:pPr marL="457200" algn="just">
              <a:spcAft>
                <a:spcPts val="1200"/>
              </a:spcAft>
            </a:pPr>
            <a:r>
              <a:rPr lang="fr-FR" sz="1800" dirty="0">
                <a:effectLst/>
                <a:latin typeface="Georgia" panose="02040502050405020303" pitchFamily="18" charset="0"/>
                <a:ea typeface="Calibri" panose="020F0502020204030204" pitchFamily="34" charset="0"/>
                <a:cs typeface="Times New Roman" panose="02020603050405020304" pitchFamily="18" charset="0"/>
              </a:rPr>
              <a:t>Le considérant cité, les amendements déposés et leurs justifications impliquent, selon nous, l'intention d'élargir la possibilité d'utiliser les données des essais. Même l'exigence du consentement est destinée à permettre plus d'utilisations des données d'essai. Bien que cela ne soit pas explicitement mentionné, nous déduisons également de ces textes une intention d'encourager la recherche scientifique. </a:t>
            </a:r>
          </a:p>
          <a:p>
            <a:pPr marL="457200" algn="just">
              <a:spcAft>
                <a:spcPts val="1200"/>
              </a:spcAft>
            </a:pPr>
            <a:endParaRPr lang="fr-FR" sz="1800" dirty="0">
              <a:effectLst/>
              <a:latin typeface="Georgia" panose="02040502050405020303" pitchFamily="18" charset="0"/>
              <a:ea typeface="Calibri" panose="020F0502020204030204" pitchFamily="34" charset="0"/>
              <a:cs typeface="Times New Roman" panose="02020603050405020304" pitchFamily="18" charset="0"/>
            </a:endParaRPr>
          </a:p>
          <a:p>
            <a:pPr marL="457200" algn="just">
              <a:spcAft>
                <a:spcPts val="1200"/>
              </a:spcAft>
            </a:pPr>
            <a:r>
              <a:rPr lang="fr-FR" sz="1800" dirty="0">
                <a:effectLst/>
                <a:latin typeface="Georgia" panose="02040502050405020303" pitchFamily="18" charset="0"/>
                <a:ea typeface="Calibri" panose="020F0502020204030204" pitchFamily="34" charset="0"/>
                <a:cs typeface="Times New Roman" panose="02020603050405020304" pitchFamily="18" charset="0"/>
              </a:rPr>
              <a:t>D'autre part, la possibilité d'utiliser les données d'essai est limitée par l'exigence d'un consentement supplémentaire pour l'utilisation de ces données, en plus de la nécessité de se conformer aux critères du GDPR pour utiliser ces données. </a:t>
            </a:r>
          </a:p>
          <a:p>
            <a:pPr marL="457200" algn="just">
              <a:spcAft>
                <a:spcPts val="1200"/>
              </a:spcAft>
            </a:pPr>
            <a:endParaRPr lang="fr-FR" sz="1800" dirty="0">
              <a:effectLst/>
              <a:latin typeface="Georgia" panose="02040502050405020303" pitchFamily="18" charset="0"/>
              <a:ea typeface="Calibri" panose="020F0502020204030204" pitchFamily="34" charset="0"/>
              <a:cs typeface="Times New Roman" panose="02020603050405020304" pitchFamily="18" charset="0"/>
            </a:endParaRPr>
          </a:p>
          <a:p>
            <a:pPr marL="457200" algn="just">
              <a:spcAft>
                <a:spcPts val="1200"/>
              </a:spcAft>
            </a:pPr>
            <a:r>
              <a:rPr lang="fr-FR" sz="1800" dirty="0">
                <a:effectLst/>
                <a:latin typeface="Georgia" panose="02040502050405020303" pitchFamily="18" charset="0"/>
                <a:ea typeface="Calibri" panose="020F0502020204030204" pitchFamily="34" charset="0"/>
                <a:cs typeface="Times New Roman" panose="02020603050405020304" pitchFamily="18" charset="0"/>
              </a:rPr>
              <a:t>Il convient de noter qu'il </a:t>
            </a:r>
            <a:r>
              <a:rPr lang="fr-FR" sz="1800" b="1" dirty="0">
                <a:effectLst/>
                <a:latin typeface="Georgia" panose="02040502050405020303" pitchFamily="18" charset="0"/>
                <a:ea typeface="Calibri" panose="020F0502020204030204" pitchFamily="34" charset="0"/>
                <a:cs typeface="Times New Roman" panose="02020603050405020304" pitchFamily="18" charset="0"/>
              </a:rPr>
              <a:t>n'est pas clair quel est l'objectif exact de ce consentement supplémentaire</a:t>
            </a:r>
            <a:r>
              <a:rPr lang="fr-FR" sz="1800" dirty="0">
                <a:effectLst/>
                <a:latin typeface="Georgia" panose="02040502050405020303" pitchFamily="18" charset="0"/>
                <a:ea typeface="Calibri" panose="020F0502020204030204" pitchFamily="34" charset="0"/>
                <a:cs typeface="Times New Roman" panose="02020603050405020304" pitchFamily="18" charset="0"/>
              </a:rPr>
              <a:t>. En effet, la protection des données personnelles est également un élément important de la protection de la dignité humaine et, nous supposons que le législateur européen avait cet objectif légitime à l'esprit. Mais en ce qui concerne l'utilisation des données à caractère personnel, les travaux préparatoires et les considérants font toujours référence aux dispositions de la directive 95/46/CE et, à l'heure actuelle, cet objectif légitime est largement réglementé par le GDPR.</a:t>
            </a:r>
          </a:p>
          <a:p>
            <a:pPr marL="457200" algn="just">
              <a:spcAft>
                <a:spcPts val="1200"/>
              </a:spcAft>
            </a:pPr>
            <a:endParaRPr lang="fr-FR" sz="1800" dirty="0">
              <a:effectLst/>
              <a:latin typeface="Georgia" panose="02040502050405020303" pitchFamily="18" charset="0"/>
              <a:ea typeface="Calibri" panose="020F0502020204030204" pitchFamily="34" charset="0"/>
              <a:cs typeface="Times New Roman" panose="02020603050405020304" pitchFamily="18" charset="0"/>
            </a:endParaRPr>
          </a:p>
          <a:p>
            <a:pPr marL="457200" algn="just">
              <a:spcAft>
                <a:spcPts val="1200"/>
              </a:spcAft>
            </a:pPr>
            <a:r>
              <a:rPr lang="fr-FR" sz="1800" dirty="0">
                <a:effectLst/>
                <a:latin typeface="Georgia" panose="02040502050405020303" pitchFamily="18" charset="0"/>
                <a:ea typeface="Calibri" panose="020F0502020204030204" pitchFamily="34" charset="0"/>
                <a:cs typeface="Times New Roman" panose="02020603050405020304" pitchFamily="18" charset="0"/>
              </a:rPr>
              <a:t>Pour cette raison, on peut affirmer </a:t>
            </a:r>
            <a:r>
              <a:rPr lang="fr-FR" sz="1800" b="1" dirty="0">
                <a:effectLst/>
                <a:latin typeface="Georgia" panose="02040502050405020303" pitchFamily="18" charset="0"/>
                <a:ea typeface="Calibri" panose="020F0502020204030204" pitchFamily="34" charset="0"/>
                <a:cs typeface="Times New Roman" panose="02020603050405020304" pitchFamily="18" charset="0"/>
              </a:rPr>
              <a:t>que l'article 28(2) n'est pas conforme au principe de proportionnalité.  </a:t>
            </a:r>
          </a:p>
          <a:p>
            <a:pPr marL="457200" algn="just">
              <a:spcAft>
                <a:spcPts val="1200"/>
              </a:spcAft>
            </a:pPr>
            <a:endParaRPr lang="fr-FR" sz="1800" b="1" dirty="0">
              <a:effectLst/>
              <a:latin typeface="Georgia" panose="02040502050405020303" pitchFamily="18" charset="0"/>
              <a:ea typeface="Calibri" panose="020F0502020204030204" pitchFamily="34" charset="0"/>
              <a:cs typeface="Times New Roman" panose="02020603050405020304" pitchFamily="18" charset="0"/>
            </a:endParaRPr>
          </a:p>
          <a:p>
            <a:pPr marL="457200" algn="just">
              <a:spcAft>
                <a:spcPts val="1200"/>
              </a:spcAft>
            </a:pPr>
            <a:r>
              <a:rPr lang="fr-FR" sz="1800" dirty="0">
                <a:effectLst/>
                <a:latin typeface="Georgia" panose="02040502050405020303" pitchFamily="18" charset="0"/>
                <a:ea typeface="Calibri" panose="020F0502020204030204" pitchFamily="34" charset="0"/>
                <a:cs typeface="Times New Roman" panose="02020603050405020304" pitchFamily="18" charset="0"/>
              </a:rPr>
              <a:t>Il découle du protocole n°2 du traité sur le fonctionnement de l'Union européenne que chaque institution veille au respect constant du principe de proportionnalité et que les actes législatifs sont justifiés au regard de ce principe. Ce principe exige que les mesures adoptées par les institutions de l'UE ne dépassent pas les limites de ce qui est approprié et nécessaire pour atteindre les objectifs légitimement poursuivis par la législation en question ; lorsqu'il y a un choix entre plusieurs mesures appropriées, il faut recourir à la moins onéreuse et les inconvénients causés ne doivent pas être disproportionnés par rapport aux buts poursuivis (voir, en ce sens, arrêts du 16 décembre 1999, UDL, C-101/98, EU : C:1999:615, point 30, et du 17 mars 2011, AJD </a:t>
            </a:r>
            <a:r>
              <a:rPr lang="fr-FR" sz="1800" dirty="0" err="1">
                <a:effectLst/>
                <a:latin typeface="Georgia" panose="02040502050405020303" pitchFamily="18" charset="0"/>
                <a:ea typeface="Calibri" panose="020F0502020204030204" pitchFamily="34" charset="0"/>
                <a:cs typeface="Times New Roman" panose="02020603050405020304" pitchFamily="18" charset="0"/>
              </a:rPr>
              <a:t>Tuna</a:t>
            </a:r>
            <a:r>
              <a:rPr lang="fr-FR" sz="1800" dirty="0">
                <a:effectLst/>
                <a:latin typeface="Georgia" panose="02040502050405020303" pitchFamily="18" charset="0"/>
                <a:ea typeface="Calibri" panose="020F0502020204030204" pitchFamily="34" charset="0"/>
                <a:cs typeface="Times New Roman" panose="02020603050405020304" pitchFamily="18" charset="0"/>
              </a:rPr>
              <a:t>, C-221/09, EU:C:2011:153, point 79 et la jurisprudence citée). En ce qui concerne l'article 28, paragraphe 2, du RTC, on peut faire valoir que les mesures utilisées pour poursuivre l'objectif légitime, à savoir la protection des données à caractère personnel du sujet du procès, ne sont pas proportionnées, car cet objectif est déjà largement couvert par le GDPR. En outre, cela entrave l'intention d'élargir la possibilité d'utiliser les données d'essai pour la recherche scientifique. En conséquence, la question de la légalité de l'article 28(2) du RTC peut à nouveau être soulevée.</a:t>
            </a:r>
          </a:p>
          <a:p>
            <a:pPr marL="457200" algn="just">
              <a:spcAft>
                <a:spcPts val="1200"/>
              </a:spcAft>
            </a:pPr>
            <a:endParaRPr lang="fr-FR" sz="1800" dirty="0">
              <a:effectLst/>
              <a:latin typeface="Georgia" panose="02040502050405020303" pitchFamily="18" charset="0"/>
              <a:ea typeface="Calibri" panose="020F0502020204030204" pitchFamily="34" charset="0"/>
              <a:cs typeface="Times New Roman" panose="02020603050405020304" pitchFamily="18" charset="0"/>
            </a:endParaRPr>
          </a:p>
          <a:p>
            <a:pPr marL="457200" algn="just">
              <a:spcAft>
                <a:spcPts val="1200"/>
              </a:spcAft>
            </a:pPr>
            <a:endParaRPr lang="en-GB" sz="1800" dirty="0">
              <a:effectLst/>
              <a:latin typeface="Georgia" panose="02040502050405020303" pitchFamily="18" charset="0"/>
              <a:ea typeface="Calibri" panose="020F0502020204030204" pitchFamily="34" charset="0"/>
              <a:cs typeface="Times New Roman" panose="02020603050405020304" pitchFamily="18" charset="0"/>
            </a:endParaRPr>
          </a:p>
          <a:p>
            <a:pPr marL="457200" algn="just">
              <a:spcAft>
                <a:spcPts val="1200"/>
              </a:spcAft>
            </a:pPr>
            <a:endParaRPr lang="en-GB" sz="1800" dirty="0">
              <a:effectLst/>
              <a:latin typeface="Georgia" panose="02040502050405020303" pitchFamily="18" charset="0"/>
              <a:ea typeface="Calibri" panose="020F0502020204030204" pitchFamily="34" charset="0"/>
              <a:cs typeface="Times New Roman" panose="02020603050405020304" pitchFamily="18" charset="0"/>
            </a:endParaRPr>
          </a:p>
          <a:p>
            <a:endParaRPr lang="en-GB" sz="1800" dirty="0">
              <a:effectLst/>
              <a:latin typeface="Calibri Light" panose="020F0302020204030204" pitchFamily="34" charset="0"/>
              <a:ea typeface="Calibri" panose="020F0502020204030204" pitchFamily="34" charset="0"/>
              <a:cs typeface="Arial" panose="020B0604020202020204" pitchFamily="34" charset="0"/>
            </a:endParaRPr>
          </a:p>
          <a:p>
            <a:pPr algn="l"/>
            <a:endParaRPr lang="nl-NL" dirty="0"/>
          </a:p>
        </p:txBody>
      </p:sp>
      <p:sp>
        <p:nvSpPr>
          <p:cNvPr id="4" name="Slide Number Placeholder 3"/>
          <p:cNvSpPr>
            <a:spLocks noGrp="1"/>
          </p:cNvSpPr>
          <p:nvPr>
            <p:ph type="sldNum" sz="quarter" idx="5"/>
          </p:nvPr>
        </p:nvSpPr>
        <p:spPr/>
        <p:txBody>
          <a:bodyPr/>
          <a:lstStyle/>
          <a:p>
            <a:fld id="{57AA0218-8EA7-46C1-B12C-665269A91A87}" type="slidenum">
              <a:rPr lang="en-GB" smtClean="0"/>
              <a:t>22</a:t>
            </a:fld>
            <a:endParaRPr lang="en-GB"/>
          </a:p>
        </p:txBody>
      </p:sp>
    </p:spTree>
    <p:extLst>
      <p:ext uri="{BB962C8B-B14F-4D97-AF65-F5344CB8AC3E}">
        <p14:creationId xmlns:p14="http://schemas.microsoft.com/office/powerpoint/2010/main" val="1207097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57AA0218-8EA7-46C1-B12C-665269A91A87}" type="slidenum">
              <a:rPr lang="en-GB" smtClean="0"/>
              <a:t>3</a:t>
            </a:fld>
            <a:endParaRPr lang="en-GB"/>
          </a:p>
        </p:txBody>
      </p:sp>
    </p:spTree>
    <p:extLst>
      <p:ext uri="{BB962C8B-B14F-4D97-AF65-F5344CB8AC3E}">
        <p14:creationId xmlns:p14="http://schemas.microsoft.com/office/powerpoint/2010/main" val="4027475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b="0" i="0" dirty="0">
                <a:solidFill>
                  <a:srgbClr val="212529"/>
                </a:solidFill>
                <a:effectLst/>
                <a:latin typeface="Georgia" panose="02040502050405020303" pitchFamily="18" charset="0"/>
              </a:rPr>
              <a:t>Le règlement fournit également une définition et davantage d'informations pour les médicaments auxiliaires, qui sont des produits utilisés pour les moyens d'un essai clinique tels que décrits dans le protocole, mais pas en tant que médicament expérimental, "tels que les médicaments utilisés pour le traitement de fond, les agents de provocation, les médicaments de secours, ou utilisés pour évaluer les paramètres d'un essai clinique". </a:t>
            </a:r>
          </a:p>
          <a:p>
            <a:pPr algn="l"/>
            <a:endParaRPr lang="fr-FR" b="0" i="0" dirty="0">
              <a:solidFill>
                <a:srgbClr val="212529"/>
              </a:solidFill>
              <a:effectLst/>
              <a:latin typeface="Georgia" panose="02040502050405020303" pitchFamily="18" charset="0"/>
            </a:endParaRPr>
          </a:p>
          <a:p>
            <a:pPr algn="l"/>
            <a:r>
              <a:rPr lang="fr-FR" b="0" i="0" dirty="0">
                <a:solidFill>
                  <a:srgbClr val="212529"/>
                </a:solidFill>
                <a:effectLst/>
                <a:latin typeface="Georgia" panose="02040502050405020303" pitchFamily="18" charset="0"/>
              </a:rPr>
              <a:t>Auparavant, ces produits étaient désignés par le terme "non-IMP" dans le guide sur les médicaments expérimentaux (IMP) et autres médicaments utilisés dans les essais cliniques. Grâce au RTC 536/2014 de l'UE, les AMP sont couverts par la loi au lieu d'être simplement réglementés par une ligne directrice.</a:t>
            </a:r>
          </a:p>
          <a:p>
            <a:pPr algn="l"/>
            <a:endParaRPr lang="fr-FR" b="0" i="0" dirty="0">
              <a:solidFill>
                <a:srgbClr val="212529"/>
              </a:solidFill>
              <a:effectLst/>
              <a:latin typeface="Georgia" panose="02040502050405020303" pitchFamily="18" charset="0"/>
            </a:endParaRPr>
          </a:p>
          <a:p>
            <a:pPr algn="l"/>
            <a:r>
              <a:rPr lang="fr-FR" b="0" i="0" dirty="0">
                <a:solidFill>
                  <a:srgbClr val="212529"/>
                </a:solidFill>
                <a:effectLst/>
                <a:latin typeface="Georgia" panose="02040502050405020303" pitchFamily="18" charset="0"/>
              </a:rPr>
              <a:t>Si les promoteurs et les CRO prévoient d'utiliser un PGA dans leurs essais cliniques, ils doivent lire attentivement le règlement pour s'assurer que le PGA prévu remplit toutes les exigences. Par exemple, le règlement détaille les types de médicaments qui peuvent être des CHA, comment ils doivent être étiquetés, d'où ils doivent provenir, etc.</a:t>
            </a:r>
            <a:endParaRPr lang="nl-NL" dirty="0"/>
          </a:p>
        </p:txBody>
      </p:sp>
      <p:sp>
        <p:nvSpPr>
          <p:cNvPr id="4" name="Slide Number Placeholder 3"/>
          <p:cNvSpPr>
            <a:spLocks noGrp="1"/>
          </p:cNvSpPr>
          <p:nvPr>
            <p:ph type="sldNum" sz="quarter" idx="5"/>
          </p:nvPr>
        </p:nvSpPr>
        <p:spPr/>
        <p:txBody>
          <a:bodyPr/>
          <a:lstStyle/>
          <a:p>
            <a:fld id="{57AA0218-8EA7-46C1-B12C-665269A91A87}" type="slidenum">
              <a:rPr lang="en-GB" smtClean="0"/>
              <a:t>23</a:t>
            </a:fld>
            <a:endParaRPr lang="en-GB"/>
          </a:p>
        </p:txBody>
      </p:sp>
    </p:spTree>
    <p:extLst>
      <p:ext uri="{BB962C8B-B14F-4D97-AF65-F5344CB8AC3E}">
        <p14:creationId xmlns:p14="http://schemas.microsoft.com/office/powerpoint/2010/main" val="2490648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sz="1000" b="0" i="0" u="none" strike="noStrike" baseline="0" dirty="0">
                <a:latin typeface="OpenSans-Light"/>
              </a:rPr>
              <a:t>Le nouveau règlement est applicable aux médicaments expérimentaux (IMP) à usage humain et ne s'applique pas aux essais non interventionnels ou aux essais sans médicaments tels que les dispositifs ou la chirurgie, etc. Le règlement vise à fournir un portail et une base de données uniques et unifiés pour les promoteurs d'essais et les organismes de réglementation dans chaque État membre. Le règlement vise à fournir un portail et une base de données uniques et unifiés aux promoteurs d'essais et aux organismes de réglementation de chaque État membre. </a:t>
            </a:r>
          </a:p>
          <a:p>
            <a:pPr algn="l"/>
            <a:endParaRPr lang="fr-FR" sz="1000" b="0" i="0" u="none" strike="noStrike" baseline="0" dirty="0">
              <a:latin typeface="OpenSans-Light"/>
            </a:endParaRPr>
          </a:p>
          <a:p>
            <a:pPr algn="l"/>
            <a:r>
              <a:rPr lang="fr-FR" sz="1000" b="0" i="0" u="none" strike="noStrike" baseline="0" dirty="0">
                <a:latin typeface="OpenSans-Light"/>
              </a:rPr>
              <a:t>Les principaux changements apportés par le nouveau règlement sont les suivants :</a:t>
            </a:r>
          </a:p>
          <a:p>
            <a:pPr marL="285750" indent="-285750" algn="l">
              <a:buFont typeface="Arial" panose="020B0604020202020204" pitchFamily="34" charset="0"/>
              <a:buChar char="•"/>
            </a:pPr>
            <a:r>
              <a:rPr lang="fr-FR" sz="1000" b="0" i="0" u="none" strike="noStrike" baseline="0" dirty="0">
                <a:latin typeface="OpenSans-Light"/>
              </a:rPr>
              <a:t>la rationalisation du processus de demande d'essai clinique dans toute l'UE</a:t>
            </a:r>
          </a:p>
          <a:p>
            <a:pPr marL="285750" indent="-285750" algn="l">
              <a:buFont typeface="Arial" panose="020B0604020202020204" pitchFamily="34" charset="0"/>
              <a:buChar char="•"/>
            </a:pPr>
            <a:r>
              <a:rPr lang="fr-FR" sz="1000" b="0" i="0" u="none" strike="noStrike" baseline="0" dirty="0">
                <a:latin typeface="OpenSans-Light"/>
              </a:rPr>
              <a:t>les procédures d'évaluation et d'autorisation des essais cliniques, en supprimant les doublons et en réduisant les retards dans le processus</a:t>
            </a:r>
          </a:p>
          <a:p>
            <a:pPr marL="285750" indent="-285750" algn="l">
              <a:buFont typeface="Arial" panose="020B0604020202020204" pitchFamily="34" charset="0"/>
              <a:buChar char="•"/>
            </a:pPr>
            <a:r>
              <a:rPr lang="fr-FR" sz="1000" b="0" i="0" u="none" strike="noStrike" baseline="0" dirty="0">
                <a:latin typeface="OpenSans-Light"/>
              </a:rPr>
              <a:t>l'introduction d'un régime réglementaire allégé pour les essais réalisés avec des médicaments déjà autorisés et présentant un risque minimal par rapport à la pratique clinique normale</a:t>
            </a:r>
          </a:p>
          <a:p>
            <a:pPr marL="285750" indent="-285750" algn="l">
              <a:buFont typeface="Arial" panose="020B0604020202020204" pitchFamily="34" charset="0"/>
              <a:buChar char="•"/>
            </a:pPr>
            <a:r>
              <a:rPr lang="fr-FR" sz="1000" b="0" i="0" u="none" strike="noStrike" baseline="0" dirty="0">
                <a:latin typeface="OpenSans-Light"/>
              </a:rPr>
              <a:t>simplifier les exigences en matière de rapports, en évitant aux chercheurs de soumettre des informations largement identiques sur le déroulement de l'étude à divers organismes</a:t>
            </a:r>
          </a:p>
          <a:p>
            <a:pPr marL="285750" indent="-285750" algn="l">
              <a:buFont typeface="Arial" panose="020B0604020202020204" pitchFamily="34" charset="0"/>
              <a:buChar char="•"/>
            </a:pPr>
            <a:r>
              <a:rPr lang="fr-FR" sz="1000" b="0" i="0" u="none" strike="noStrike" baseline="0" dirty="0">
                <a:latin typeface="OpenSans-Light"/>
              </a:rPr>
              <a:t>la reconnaissance formelle du </a:t>
            </a:r>
            <a:r>
              <a:rPr lang="fr-FR" sz="1000" b="0" i="0" u="none" strike="noStrike" baseline="0" dirty="0" err="1">
                <a:latin typeface="OpenSans-Light"/>
              </a:rPr>
              <a:t>co</a:t>
            </a:r>
            <a:r>
              <a:rPr lang="fr-FR" sz="1000" b="0" i="0" u="none" strike="noStrike" baseline="0" dirty="0">
                <a:latin typeface="OpenSans-Light"/>
              </a:rPr>
              <a:t>-sponsoring, qui permet de reconnaître qu'un essai peut être mené par plus d'une organisation</a:t>
            </a:r>
          </a:p>
          <a:p>
            <a:pPr marL="285750" indent="-285750" algn="l">
              <a:buFont typeface="Arial" panose="020B0604020202020204" pitchFamily="34" charset="0"/>
              <a:buChar char="•"/>
            </a:pPr>
            <a:r>
              <a:rPr lang="fr-FR" sz="1000" b="0" i="0" u="none" strike="noStrike" baseline="0" dirty="0">
                <a:latin typeface="OpenSans-Light"/>
              </a:rPr>
              <a:t>l'introduction du concept de décision unique sur un essai clinique, qui remplacera les précédentes approbations distinctes données par les autorités compétentes nationales et les comités d'éthique (NCAE). Cela réduit également la charge administrative des États membres concernés (MSC), en particulier l'État membre de référence élu (RMS).</a:t>
            </a:r>
            <a:endParaRPr lang="en-GB" sz="1000" b="0" i="0" u="none" dirty="0">
              <a:solidFill>
                <a:schemeClr val="tx1"/>
              </a:solidFill>
              <a:effectLst/>
              <a:latin typeface="Verdana" panose="020B0604030504040204" pitchFamily="34" charset="0"/>
            </a:endParaRPr>
          </a:p>
        </p:txBody>
      </p:sp>
      <p:sp>
        <p:nvSpPr>
          <p:cNvPr id="4" name="Slide Number Placeholder 3"/>
          <p:cNvSpPr>
            <a:spLocks noGrp="1"/>
          </p:cNvSpPr>
          <p:nvPr>
            <p:ph type="sldNum" sz="quarter" idx="5"/>
          </p:nvPr>
        </p:nvSpPr>
        <p:spPr/>
        <p:txBody>
          <a:bodyPr/>
          <a:lstStyle/>
          <a:p>
            <a:fld id="{57AA0218-8EA7-46C1-B12C-665269A91A87}" type="slidenum">
              <a:rPr lang="en-GB" smtClean="0"/>
              <a:t>4</a:t>
            </a:fld>
            <a:endParaRPr lang="en-GB"/>
          </a:p>
        </p:txBody>
      </p:sp>
    </p:spTree>
    <p:extLst>
      <p:ext uri="{BB962C8B-B14F-4D97-AF65-F5344CB8AC3E}">
        <p14:creationId xmlns:p14="http://schemas.microsoft.com/office/powerpoint/2010/main" val="2552977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57AA0218-8EA7-46C1-B12C-665269A91A87}" type="slidenum">
              <a:rPr lang="en-GB" smtClean="0"/>
              <a:t>5</a:t>
            </a:fld>
            <a:endParaRPr lang="en-GB"/>
          </a:p>
        </p:txBody>
      </p:sp>
    </p:spTree>
    <p:extLst>
      <p:ext uri="{BB962C8B-B14F-4D97-AF65-F5344CB8AC3E}">
        <p14:creationId xmlns:p14="http://schemas.microsoft.com/office/powerpoint/2010/main" val="9058031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sz="1800" b="0" i="0" u="none" strike="noStrike" baseline="0" dirty="0">
                <a:latin typeface="OpenSans-Light"/>
              </a:rPr>
              <a:t>Le règlement exige un ensemble plus complet d'informations sur la demande. </a:t>
            </a:r>
          </a:p>
          <a:p>
            <a:pPr algn="l"/>
            <a:r>
              <a:rPr lang="fr-FR" sz="1800" b="0" i="0" u="none" strike="noStrike" baseline="0" dirty="0">
                <a:latin typeface="OpenSans-Light"/>
              </a:rPr>
              <a:t>Une demande comprenant la partie I et/ou la partie II sera créée de manière centralisée via le nouveau portail CT ;</a:t>
            </a:r>
          </a:p>
          <a:p>
            <a:pPr algn="l"/>
            <a:endParaRPr lang="fr-FR" sz="1800" b="0" i="0" u="none" strike="noStrike" baseline="0" dirty="0">
              <a:latin typeface="OpenSans-Light"/>
            </a:endParaRPr>
          </a:p>
          <a:p>
            <a:pPr algn="l"/>
            <a:r>
              <a:rPr lang="fr-FR" sz="1800" b="0" i="0" u="none" strike="noStrike" baseline="0" dirty="0">
                <a:latin typeface="OpenSans-Light"/>
              </a:rPr>
              <a:t>Le contenu et l'évaluation de la demande sont divisés en deux parties : La partie I contient la documentation scientifique et relative au produit médicinal (essai, produit et protocole) ; La partie II contient la documentation nationale et relative au patient (données spécifiques aux États membres où l'essai sera mené), voir la diapositive suivante.</a:t>
            </a:r>
            <a:endParaRPr lang="en-GB" sz="1800" b="0" i="0" u="none" strike="noStrike" baseline="0" dirty="0">
              <a:latin typeface="OpenSans-Light"/>
            </a:endParaRPr>
          </a:p>
        </p:txBody>
      </p:sp>
      <p:sp>
        <p:nvSpPr>
          <p:cNvPr id="4" name="Slide Number Placeholder 3"/>
          <p:cNvSpPr>
            <a:spLocks noGrp="1"/>
          </p:cNvSpPr>
          <p:nvPr>
            <p:ph type="sldNum" sz="quarter" idx="5"/>
          </p:nvPr>
        </p:nvSpPr>
        <p:spPr/>
        <p:txBody>
          <a:bodyPr/>
          <a:lstStyle/>
          <a:p>
            <a:fld id="{57AA0218-8EA7-46C1-B12C-665269A91A87}" type="slidenum">
              <a:rPr lang="en-GB" smtClean="0"/>
              <a:t>6</a:t>
            </a:fld>
            <a:endParaRPr lang="en-GB"/>
          </a:p>
        </p:txBody>
      </p:sp>
    </p:spTree>
    <p:extLst>
      <p:ext uri="{BB962C8B-B14F-4D97-AF65-F5344CB8AC3E}">
        <p14:creationId xmlns:p14="http://schemas.microsoft.com/office/powerpoint/2010/main" val="36504412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0" dirty="0"/>
              <a:t>https://www.youtube.com/watch?v=DWINoPVo-I8</a:t>
            </a:r>
          </a:p>
          <a:p>
            <a:endParaRPr lang="fr-FR" b="0" dirty="0"/>
          </a:p>
          <a:p>
            <a:r>
              <a:rPr lang="fr-FR" sz="1800" b="0" i="0" u="none" strike="noStrike" baseline="0" dirty="0">
                <a:solidFill>
                  <a:srgbClr val="000000"/>
                </a:solidFill>
                <a:latin typeface="Times New Roman" panose="02020603050405020304" pitchFamily="18" charset="0"/>
              </a:rPr>
              <a:t>Après réception d'une décision, le promoteur a la possibilité de faire appel de cette décision.</a:t>
            </a:r>
          </a:p>
          <a:p>
            <a:r>
              <a:rPr lang="fr-FR" sz="1800" b="0" i="0" u="none" strike="noStrike" baseline="0" dirty="0">
                <a:solidFill>
                  <a:srgbClr val="000000"/>
                </a:solidFill>
                <a:latin typeface="Times New Roman" panose="02020603050405020304" pitchFamily="18" charset="0"/>
              </a:rPr>
              <a:t>Le règlement sur les essais cliniques stipule que les États membres doivent prévoir une procédure d'appel en ce qui concerne le refus des demandes initiales, l'ajout d'un État membre et les demandes de modification substantielle liées aux articles 8, 14, 19, 20 et 23. </a:t>
            </a:r>
          </a:p>
          <a:p>
            <a:endParaRPr lang="fr-FR" sz="1800" b="0" i="0" u="none" strike="noStrike" baseline="0" dirty="0">
              <a:solidFill>
                <a:srgbClr val="000000"/>
              </a:solidFill>
              <a:latin typeface="Times New Roman" panose="02020603050405020304" pitchFamily="18" charset="0"/>
            </a:endParaRPr>
          </a:p>
          <a:p>
            <a:r>
              <a:rPr lang="fr-FR" sz="1800" b="0" i="0" u="none" strike="noStrike" baseline="0" dirty="0">
                <a:solidFill>
                  <a:srgbClr val="000000"/>
                </a:solidFill>
                <a:latin typeface="Times New Roman" panose="02020603050405020304" pitchFamily="18" charset="0"/>
              </a:rPr>
              <a:t>Si le SMC n'est pas d'accord avec la conclusion positive du SMR, les critères de refus (et la possibilité de faire appel) sont décrits dans les articles 8.4, 14.10, 19.2, 20.7 et 23.4. Les lois nationales respectives s'appliquent. </a:t>
            </a:r>
          </a:p>
          <a:p>
            <a:endParaRPr lang="fr-FR" sz="1800" b="0" i="0" u="none" strike="noStrike" baseline="0" dirty="0">
              <a:solidFill>
                <a:srgbClr val="000000"/>
              </a:solidFill>
              <a:latin typeface="Times New Roman" panose="02020603050405020304" pitchFamily="18" charset="0"/>
            </a:endParaRPr>
          </a:p>
          <a:p>
            <a:r>
              <a:rPr lang="fr-FR" sz="1800" b="0" i="0" u="none" strike="noStrike" baseline="0" dirty="0">
                <a:solidFill>
                  <a:srgbClr val="000000"/>
                </a:solidFill>
                <a:latin typeface="Times New Roman" panose="02020603050405020304" pitchFamily="18" charset="0"/>
              </a:rPr>
              <a:t>Lorsque la conclusion du RMS concernant la partie I est que l'essai n'est pas acceptable, cette conclusion ne peut faire l'objet d'un appel et sera la conclusion de tous les SMC. </a:t>
            </a:r>
          </a:p>
          <a:p>
            <a:endParaRPr lang="fr-FR" sz="1800" b="0" i="0" u="none" strike="noStrike" baseline="0" dirty="0">
              <a:solidFill>
                <a:srgbClr val="000000"/>
              </a:solidFill>
              <a:latin typeface="Times New Roman" panose="02020603050405020304" pitchFamily="18" charset="0"/>
            </a:endParaRPr>
          </a:p>
          <a:p>
            <a:r>
              <a:rPr lang="fr-FR" sz="1800" b="0" i="0" u="none" strike="noStrike" baseline="0" dirty="0">
                <a:solidFill>
                  <a:srgbClr val="000000"/>
                </a:solidFill>
                <a:latin typeface="Times New Roman" panose="02020603050405020304" pitchFamily="18" charset="0"/>
              </a:rPr>
              <a:t>Lorsqu'une demande d'essai clinique est soumise dans plus d'un État membre, le promoteur n'est pas tenu d'attendre les décisions positives de tous les États </a:t>
            </a:r>
            <a:r>
              <a:rPr lang="fr-FR" sz="1800" b="0" i="0" u="none" strike="noStrike" baseline="0" dirty="0">
                <a:solidFill>
                  <a:srgbClr val="FF0000"/>
                </a:solidFill>
                <a:latin typeface="Times New Roman" panose="02020603050405020304" pitchFamily="18" charset="0"/>
              </a:rPr>
              <a:t>membres concernés avant de commencer l'essai dans l'un des États membres concernés.</a:t>
            </a:r>
          </a:p>
          <a:p>
            <a:r>
              <a:rPr lang="fr-FR" sz="1800" b="0" i="0" u="none" strike="noStrike" baseline="0" dirty="0">
                <a:solidFill>
                  <a:srgbClr val="FF0000"/>
                </a:solidFill>
                <a:latin typeface="Times New Roman" panose="02020603050405020304" pitchFamily="18" charset="0"/>
              </a:rPr>
              <a:t>Le promoteur/chercheur peut commencer un essai clinique dans l'État membre concerné si une décision positive sur les parties I et II du rapport d'évaluation a été rendue par l'État membre concerné. </a:t>
            </a:r>
          </a:p>
          <a:p>
            <a:endParaRPr lang="fr-FR" sz="1800" b="0" i="0" u="none" strike="noStrike" baseline="0" dirty="0">
              <a:solidFill>
                <a:srgbClr val="000000"/>
              </a:solidFill>
              <a:latin typeface="Times New Roman" panose="02020603050405020304" pitchFamily="18" charset="0"/>
            </a:endParaRPr>
          </a:p>
          <a:p>
            <a:r>
              <a:rPr lang="fr-FR" sz="1800" b="0" i="0" u="none" strike="noStrike" baseline="0" dirty="0">
                <a:solidFill>
                  <a:srgbClr val="000000"/>
                </a:solidFill>
                <a:latin typeface="Times New Roman" panose="02020603050405020304" pitchFamily="18" charset="0"/>
              </a:rPr>
              <a:t>Recours et mise en œuvre de la modification de la décision suite à un recours </a:t>
            </a:r>
          </a:p>
          <a:p>
            <a:r>
              <a:rPr lang="fr-FR" sz="1800" b="0" i="0" u="none" strike="noStrike" baseline="0" dirty="0">
                <a:solidFill>
                  <a:srgbClr val="000000"/>
                </a:solidFill>
                <a:latin typeface="Times New Roman" panose="02020603050405020304" pitchFamily="18" charset="0"/>
              </a:rPr>
              <a:t>La modification d'une décision de refus d'autorisation dans le cadre d'une procédure d'appel en vertu du RTC (article 8, paragraphe 4) devrait être exceptionnelle et limitée aux cas où un CSM refuse une demande dont la partie I a fait l'objet d'une conclusion positive de la part du SMR. </a:t>
            </a:r>
          </a:p>
          <a:p>
            <a:endParaRPr lang="fr-FR" sz="1800" b="0" i="0" u="none" strike="noStrike" baseline="0" dirty="0">
              <a:solidFill>
                <a:srgbClr val="000000"/>
              </a:solidFill>
              <a:latin typeface="Times New Roman" panose="02020603050405020304" pitchFamily="18" charset="0"/>
            </a:endParaRPr>
          </a:p>
          <a:p>
            <a:r>
              <a:rPr lang="fr-FR" sz="1800" b="0" i="0" u="none" strike="noStrike" baseline="0" dirty="0">
                <a:solidFill>
                  <a:srgbClr val="000000"/>
                </a:solidFill>
                <a:latin typeface="Times New Roman" panose="02020603050405020304" pitchFamily="18" charset="0"/>
              </a:rPr>
              <a:t>Les motifs justifiés pour cela, en plus du motif de désaccord prévu à l'article 8.2.a) à c), sont les suivants : les aspects de la partie II ne sont pas respectés ou les comités d'éthique ont émis un avis négatif conformément à la législation nationale. </a:t>
            </a:r>
          </a:p>
          <a:p>
            <a:endParaRPr lang="fr-FR" sz="1800" b="0" i="0" u="none" strike="noStrike" baseline="0" dirty="0">
              <a:solidFill>
                <a:srgbClr val="000000"/>
              </a:solidFill>
              <a:latin typeface="Times New Roman" panose="02020603050405020304" pitchFamily="18" charset="0"/>
            </a:endParaRPr>
          </a:p>
          <a:p>
            <a:r>
              <a:rPr lang="fr-FR" sz="1800" b="0" i="0" u="none" strike="noStrike" baseline="0" dirty="0">
                <a:solidFill>
                  <a:srgbClr val="000000"/>
                </a:solidFill>
                <a:latin typeface="Times New Roman" panose="02020603050405020304" pitchFamily="18" charset="0"/>
              </a:rPr>
              <a:t>Les États membres prévoient une procédure pour ces cas. En ce qui concerne le téléchargement de documents pour soumettre un appel, les États membres pourraient avoir une approche divergente, certains baseront l'appel exclusivement sur la documentation à l'appui de la décision initiale, c'est-à-dire sur la décision prise et donc la soumission de nouveaux documents serait hors de portée. </a:t>
            </a:r>
          </a:p>
          <a:p>
            <a:endParaRPr lang="fr-FR" sz="1800" b="0" i="0" u="none" strike="noStrike" baseline="0" dirty="0">
              <a:solidFill>
                <a:srgbClr val="000000"/>
              </a:solidFill>
              <a:latin typeface="Times New Roman" panose="02020603050405020304" pitchFamily="18" charset="0"/>
            </a:endParaRPr>
          </a:p>
          <a:p>
            <a:r>
              <a:rPr lang="fr-FR" sz="1800" b="0" i="0" u="none" strike="noStrike" baseline="0" dirty="0">
                <a:solidFill>
                  <a:srgbClr val="000000"/>
                </a:solidFill>
                <a:latin typeface="Times New Roman" panose="02020603050405020304" pitchFamily="18" charset="0"/>
              </a:rPr>
              <a:t>D'autres États membres révoqueront la décision sur la base de nouveaux documents. Dans ce cas, ils peuvent autoriser l'essai et ensuite appliquer une mesure corrective demandant au promoteur de modifier l'essai via une modification substantielle. </a:t>
            </a:r>
          </a:p>
          <a:p>
            <a:endParaRPr lang="fr-FR" sz="1800" b="0" i="0" u="none" strike="noStrike" baseline="0" dirty="0">
              <a:solidFill>
                <a:srgbClr val="000000"/>
              </a:solidFill>
              <a:latin typeface="Times New Roman" panose="02020603050405020304" pitchFamily="18" charset="0"/>
            </a:endParaRPr>
          </a:p>
          <a:p>
            <a:r>
              <a:rPr lang="fr-FR" sz="1800" b="0" i="0" u="none" strike="noStrike" baseline="0" dirty="0">
                <a:solidFill>
                  <a:srgbClr val="000000"/>
                </a:solidFill>
                <a:latin typeface="Times New Roman" panose="02020603050405020304" pitchFamily="18" charset="0"/>
              </a:rPr>
              <a:t>Dans la fonctionnalité de la CM, il y a la possibilité de discussion entre les EM et donc les EM qui appliquent la CM peuvent en discuter avec d'autres avant d'appliquer la CM pour "soumettre la SM". </a:t>
            </a:r>
          </a:p>
          <a:p>
            <a:endParaRPr lang="fr-FR" sz="1800" b="0" i="0" u="none" strike="noStrike" baseline="0" dirty="0">
              <a:solidFill>
                <a:srgbClr val="000000"/>
              </a:solidFill>
              <a:latin typeface="Times New Roman" panose="02020603050405020304" pitchFamily="18" charset="0"/>
            </a:endParaRPr>
          </a:p>
          <a:p>
            <a:r>
              <a:rPr lang="fr-FR" sz="1800" b="0" i="0" u="none" strike="noStrike" baseline="0" dirty="0">
                <a:solidFill>
                  <a:srgbClr val="000000"/>
                </a:solidFill>
                <a:latin typeface="Times New Roman" panose="02020603050405020304" pitchFamily="18" charset="0"/>
              </a:rPr>
              <a:t>Avec le SM, le promoteur peut modifier les documents de l'essai, le cas échéant. Une possibilité supplémentaire de téléchargement de documents est offerte par l'EM dans le cas d'un appel positif par le biais d'un espace réservé dans le CTIS. </a:t>
            </a:r>
          </a:p>
          <a:p>
            <a:endParaRPr lang="fr-FR" sz="1800" b="0" i="0" u="none" strike="noStrike" baseline="0" dirty="0">
              <a:solidFill>
                <a:srgbClr val="000000"/>
              </a:solidFill>
              <a:latin typeface="Times New Roman" panose="02020603050405020304" pitchFamily="18" charset="0"/>
            </a:endParaRPr>
          </a:p>
          <a:p>
            <a:r>
              <a:rPr lang="fr-FR" sz="1800" b="0" i="0" u="none" strike="noStrike" baseline="0" dirty="0">
                <a:solidFill>
                  <a:srgbClr val="000000"/>
                </a:solidFill>
                <a:latin typeface="Times New Roman" panose="02020603050405020304" pitchFamily="18" charset="0"/>
              </a:rPr>
              <a:t>Conformément à l'article 8.5. lorsque la conclusion de la partie I est que l'essai n'est pas acceptable, cette conclusion est celle de tous les CSM. Dans ce cas, étant donné qu'aucun appel n'est possible, les promoteurs pourraient vouloir soumettre à nouveau la demande une fois que les raisons de la conclusion négative auront été traitées. </a:t>
            </a:r>
          </a:p>
          <a:p>
            <a:endParaRPr lang="fr-FR" sz="1800" b="1" i="0" u="none" strike="noStrike" baseline="0" dirty="0">
              <a:solidFill>
                <a:srgbClr val="000000"/>
              </a:solidFill>
              <a:latin typeface="Times New Roman" panose="02020603050405020304" pitchFamily="18" charset="0"/>
            </a:endParaRPr>
          </a:p>
          <a:p>
            <a:endParaRPr lang="fr-FR" sz="1800" b="1" i="0" u="none" strike="noStrike" baseline="0" dirty="0">
              <a:solidFill>
                <a:srgbClr val="000000"/>
              </a:solidFill>
              <a:latin typeface="Times New Roman" panose="02020603050405020304" pitchFamily="18" charset="0"/>
            </a:endParaRPr>
          </a:p>
          <a:p>
            <a:endParaRPr lang="fr-FR" sz="1800" b="1" i="0" u="none" strike="noStrike" baseline="0" dirty="0">
              <a:solidFill>
                <a:srgbClr val="000000"/>
              </a:solidFill>
              <a:latin typeface="Times New Roman" panose="02020603050405020304" pitchFamily="18" charset="0"/>
            </a:endParaRPr>
          </a:p>
          <a:p>
            <a:endParaRPr lang="fr-FR" sz="1800" b="1" i="0" u="none" strike="noStrike" baseline="0" dirty="0">
              <a:solidFill>
                <a:srgbClr val="000000"/>
              </a:solidFill>
              <a:latin typeface="Times New Roman" panose="02020603050405020304" pitchFamily="18" charset="0"/>
            </a:endParaRPr>
          </a:p>
          <a:p>
            <a:endParaRPr lang="fr-FR" sz="1800" b="1" i="0" u="none" strike="noStrike" baseline="0" dirty="0">
              <a:solidFill>
                <a:srgbClr val="000000"/>
              </a:solidFill>
              <a:latin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57AA0218-8EA7-46C1-B12C-665269A91A87}" type="slidenum">
              <a:rPr lang="en-GB" smtClean="0"/>
              <a:t>7</a:t>
            </a:fld>
            <a:endParaRPr lang="en-GB"/>
          </a:p>
        </p:txBody>
      </p:sp>
    </p:spTree>
    <p:extLst>
      <p:ext uri="{BB962C8B-B14F-4D97-AF65-F5344CB8AC3E}">
        <p14:creationId xmlns:p14="http://schemas.microsoft.com/office/powerpoint/2010/main" val="9854812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96150" algn="l"/>
            <a:r>
              <a:rPr lang="fr-FR" sz="1000" b="0" i="0" u="none" strike="noStrike" baseline="0" dirty="0">
                <a:latin typeface="Arial" panose="020B0604020202020204" pitchFamily="34" charset="0"/>
              </a:rPr>
              <a:t>PARTIE I (SCIENTIFIQUE)</a:t>
            </a:r>
          </a:p>
          <a:p>
            <a:pPr marR="96150" algn="l"/>
            <a:r>
              <a:rPr lang="fr-FR" sz="1000" b="0" i="0" u="none" strike="noStrike" baseline="0" dirty="0">
                <a:latin typeface="Arial" panose="020B0604020202020204" pitchFamily="34" charset="0"/>
              </a:rPr>
              <a:t>Avantages thérapeutiques et de santé publique escomptés</a:t>
            </a:r>
          </a:p>
          <a:p>
            <a:pPr marR="96150" algn="l"/>
            <a:r>
              <a:rPr lang="fr-FR" sz="1000" b="0" i="0" u="none" strike="noStrike" baseline="0" dirty="0">
                <a:latin typeface="Arial" panose="020B0604020202020204" pitchFamily="34" charset="0"/>
              </a:rPr>
              <a:t>Caractéristiques et connaissances de l'IMP</a:t>
            </a:r>
          </a:p>
          <a:p>
            <a:pPr marR="96150" algn="l"/>
            <a:r>
              <a:rPr lang="fr-FR" sz="1000" b="0" i="0" u="none" strike="noStrike" baseline="0" dirty="0">
                <a:latin typeface="Arial" panose="020B0604020202020204" pitchFamily="34" charset="0"/>
              </a:rPr>
              <a:t>Pertinence de l'essai, état des connaissances scientifiques, avis du comité pédiatrique</a:t>
            </a:r>
          </a:p>
          <a:p>
            <a:pPr marR="96150" algn="l"/>
            <a:r>
              <a:rPr lang="fr-FR" sz="1000" b="0" i="0" u="none" strike="noStrike" baseline="0" dirty="0">
                <a:latin typeface="Arial" panose="020B0604020202020204" pitchFamily="34" charset="0"/>
              </a:rPr>
              <a:t>Fiabilité et robustesse des données</a:t>
            </a:r>
          </a:p>
          <a:p>
            <a:pPr marR="96150" algn="l"/>
            <a:r>
              <a:rPr lang="fr-FR" sz="1000" b="0" i="0" u="none" strike="noStrike" baseline="0" dirty="0">
                <a:latin typeface="Arial" panose="020B0604020202020204" pitchFamily="34" charset="0"/>
              </a:rPr>
              <a:t>Risques et inconvénients pour le sujet</a:t>
            </a:r>
          </a:p>
          <a:p>
            <a:pPr marR="96150" algn="l"/>
            <a:r>
              <a:rPr lang="fr-FR" sz="1000" b="0" i="0" u="none" strike="noStrike" baseline="0" dirty="0">
                <a:latin typeface="Arial" panose="020B0604020202020204" pitchFamily="34" charset="0"/>
              </a:rPr>
              <a:t>Caractéristiques et connaissances de l'IMP</a:t>
            </a:r>
          </a:p>
          <a:p>
            <a:pPr marR="96150" algn="l"/>
            <a:r>
              <a:rPr lang="fr-FR" sz="1000" b="0" i="0" u="none" strike="noStrike" baseline="0" dirty="0">
                <a:latin typeface="Arial" panose="020B0604020202020204" pitchFamily="34" charset="0"/>
              </a:rPr>
              <a:t>Caractéristiques de l'intervention par rapport à la pratique clinique normale</a:t>
            </a:r>
          </a:p>
          <a:p>
            <a:pPr marR="96150" algn="l"/>
            <a:r>
              <a:rPr lang="fr-FR" sz="1000" b="0" i="0" u="none" strike="noStrike" baseline="0" dirty="0">
                <a:latin typeface="Arial" panose="020B0604020202020204" pitchFamily="34" charset="0"/>
              </a:rPr>
              <a:t>Mesures de sécurité</a:t>
            </a:r>
          </a:p>
          <a:p>
            <a:pPr marR="96150" algn="l"/>
            <a:r>
              <a:rPr lang="fr-FR" sz="1000" b="0" i="0" u="none" strike="noStrike" baseline="0" dirty="0">
                <a:latin typeface="Arial" panose="020B0604020202020204" pitchFamily="34" charset="0"/>
              </a:rPr>
              <a:t>Risque pour la santé du sujet</a:t>
            </a:r>
          </a:p>
          <a:p>
            <a:pPr marR="96150" algn="l"/>
            <a:r>
              <a:rPr lang="fr-FR" sz="1000" b="0" i="0" u="none" strike="noStrike" baseline="0" dirty="0">
                <a:latin typeface="Arial" panose="020B0604020202020204" pitchFamily="34" charset="0"/>
              </a:rPr>
              <a:t>Conformité de l'IMP et des MP auxiliaires avec la fabrication et l'importation, l'étiquetage</a:t>
            </a:r>
          </a:p>
          <a:p>
            <a:pPr marR="96150" algn="l"/>
            <a:r>
              <a:rPr lang="fr-FR" sz="1000" b="0" i="0" u="none" strike="noStrike" baseline="0" dirty="0">
                <a:latin typeface="Arial" panose="020B0604020202020204" pitchFamily="34" charset="0"/>
              </a:rPr>
              <a:t>IB </a:t>
            </a:r>
          </a:p>
          <a:p>
            <a:pPr marR="96150" algn="l"/>
            <a:endParaRPr lang="fr-FR" sz="1000" b="0" i="0" u="none" strike="noStrike" baseline="0" dirty="0">
              <a:latin typeface="Arial" panose="020B0604020202020204" pitchFamily="34" charset="0"/>
            </a:endParaRPr>
          </a:p>
          <a:p>
            <a:pPr marR="96150" algn="l"/>
            <a:r>
              <a:rPr lang="fr-FR" sz="1000" b="0" i="0" u="none" strike="noStrike" baseline="0" dirty="0">
                <a:latin typeface="Arial" panose="020B0604020202020204" pitchFamily="34" charset="0"/>
              </a:rPr>
              <a:t>PARTIE II (ÉTHIQUE)</a:t>
            </a:r>
          </a:p>
          <a:p>
            <a:pPr marR="96150" algn="l"/>
            <a:r>
              <a:rPr lang="fr-FR" sz="1000" b="0" i="0" u="none" strike="noStrike" baseline="0" dirty="0">
                <a:latin typeface="Arial" panose="020B0604020202020204" pitchFamily="34" charset="0"/>
              </a:rPr>
              <a:t>Doit être effectuée par le CE</a:t>
            </a:r>
          </a:p>
          <a:p>
            <a:pPr marR="96150" algn="l"/>
            <a:r>
              <a:rPr lang="fr-FR" sz="1000" b="0" i="0" u="none" strike="noStrike" baseline="0" dirty="0">
                <a:latin typeface="Arial" panose="020B0604020202020204" pitchFamily="34" charset="0"/>
              </a:rPr>
              <a:t>adéquation du site</a:t>
            </a:r>
          </a:p>
          <a:p>
            <a:pPr marR="96150" algn="l"/>
            <a:r>
              <a:rPr lang="fr-FR" sz="1000" b="0" i="0" u="none" strike="noStrike" baseline="0" dirty="0">
                <a:latin typeface="Arial" panose="020B0604020202020204" pitchFamily="34" charset="0"/>
              </a:rPr>
              <a:t>conformité avec les exigences en matière de consentement éclairé</a:t>
            </a:r>
          </a:p>
          <a:p>
            <a:pPr marR="96150" algn="l"/>
            <a:r>
              <a:rPr lang="fr-FR" sz="1000" b="0" i="0" u="none" strike="noStrike" baseline="0" dirty="0">
                <a:latin typeface="Arial" panose="020B0604020202020204" pitchFamily="34" charset="0"/>
              </a:rPr>
              <a:t>dispositions relatives aux récompenses et aux compensations accordées aux sujets et aux investigateurs principaux</a:t>
            </a:r>
          </a:p>
          <a:p>
            <a:pPr marR="96150" algn="l"/>
            <a:r>
              <a:rPr lang="fr-FR" sz="1000" b="0" i="0" u="none" strike="noStrike" baseline="0" dirty="0">
                <a:latin typeface="Arial" panose="020B0604020202020204" pitchFamily="34" charset="0"/>
              </a:rPr>
              <a:t>modalités de recrutement des sujets</a:t>
            </a:r>
          </a:p>
          <a:p>
            <a:pPr marR="96150" algn="l"/>
            <a:r>
              <a:rPr lang="fr-FR" sz="1000" b="0" i="0" u="none" strike="noStrike" baseline="0" dirty="0">
                <a:latin typeface="Arial" panose="020B0604020202020204" pitchFamily="34" charset="0"/>
              </a:rPr>
              <a:t>adéquation de l'équipe d'étude et des sites</a:t>
            </a:r>
          </a:p>
          <a:p>
            <a:pPr marR="96150" algn="l"/>
            <a:r>
              <a:rPr lang="fr-FR" sz="1000" b="0" i="0" u="none" strike="noStrike" baseline="0" dirty="0">
                <a:latin typeface="Arial" panose="020B0604020202020204" pitchFamily="34" charset="0"/>
              </a:rPr>
              <a:t>conformité avec la législation sur la protection des données</a:t>
            </a:r>
          </a:p>
          <a:p>
            <a:pPr marR="96150" algn="l"/>
            <a:r>
              <a:rPr lang="fr-FR" sz="1000" b="0" i="0" u="none" strike="noStrike" baseline="0" dirty="0">
                <a:latin typeface="Arial" panose="020B0604020202020204" pitchFamily="34" charset="0"/>
              </a:rPr>
              <a:t>adéquation du système de compensation des dommages (assurance/garantie/autre)</a:t>
            </a:r>
          </a:p>
          <a:p>
            <a:pPr marR="96150" algn="l"/>
            <a:r>
              <a:rPr lang="fr-FR" sz="1000" b="0" i="0" u="none" strike="noStrike" baseline="0" dirty="0">
                <a:latin typeface="Arial" panose="020B0604020202020204" pitchFamily="34" charset="0"/>
              </a:rPr>
              <a:t>conformité avec la collecte, le stockage et l'utilisation future des échantillons biologiques. </a:t>
            </a:r>
            <a:endParaRPr lang="en-GB" sz="1000" b="0" i="0" u="none" strike="noStrike" baseline="0" dirty="0">
              <a:latin typeface="Arial" panose="020B0604020202020204" pitchFamily="34" charset="0"/>
            </a:endParaRPr>
          </a:p>
        </p:txBody>
      </p:sp>
      <p:sp>
        <p:nvSpPr>
          <p:cNvPr id="4" name="Slide Number Placeholder 3"/>
          <p:cNvSpPr>
            <a:spLocks noGrp="1"/>
          </p:cNvSpPr>
          <p:nvPr>
            <p:ph type="sldNum" sz="quarter" idx="5"/>
          </p:nvPr>
        </p:nvSpPr>
        <p:spPr/>
        <p:txBody>
          <a:bodyPr/>
          <a:lstStyle/>
          <a:p>
            <a:fld id="{57AA0218-8EA7-46C1-B12C-665269A91A87}" type="slidenum">
              <a:rPr lang="en-GB" smtClean="0"/>
              <a:t>8</a:t>
            </a:fld>
            <a:endParaRPr lang="en-GB"/>
          </a:p>
        </p:txBody>
      </p:sp>
    </p:spTree>
    <p:extLst>
      <p:ext uri="{BB962C8B-B14F-4D97-AF65-F5344CB8AC3E}">
        <p14:creationId xmlns:p14="http://schemas.microsoft.com/office/powerpoint/2010/main" val="35928187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sz="1800" b="0" i="0" u="none" strike="noStrike" baseline="0" dirty="0">
                <a:latin typeface="OpenSans-Light"/>
              </a:rPr>
              <a:t>Les demandes sont évaluées par les régulateurs appropriés des différents États membres et selon des délais stricts définis dans le règlement. L'évaluation de la partie I est effectuée par le RMS avec le soutien d'autres MSC et l'évaluation de la partie II est effectuée par le MSC.</a:t>
            </a:r>
          </a:p>
          <a:p>
            <a:pPr algn="l"/>
            <a:endParaRPr lang="fr-FR" sz="1800" b="0" i="0" u="none" strike="noStrike" baseline="0" dirty="0">
              <a:latin typeface="OpenSans-Light"/>
            </a:endParaRPr>
          </a:p>
          <a:p>
            <a:pPr algn="l"/>
            <a:r>
              <a:rPr lang="fr-FR" sz="1800" b="0" i="0" u="none" strike="noStrike" baseline="0" dirty="0">
                <a:latin typeface="OpenSans-Light"/>
              </a:rPr>
              <a:t>Voir la diapositive suivante sur les délais spécifiques pour la partie I et la partie II. </a:t>
            </a:r>
          </a:p>
          <a:p>
            <a:pPr algn="l"/>
            <a:endParaRPr lang="en-GB" sz="1800" b="0" i="0" u="none" strike="noStrike" baseline="0" dirty="0">
              <a:latin typeface="OpenSans-Light"/>
            </a:endParaRPr>
          </a:p>
          <a:p>
            <a:pPr algn="l"/>
            <a:endParaRPr lang="nl-NL" dirty="0"/>
          </a:p>
        </p:txBody>
      </p:sp>
      <p:sp>
        <p:nvSpPr>
          <p:cNvPr id="4" name="Slide Number Placeholder 3"/>
          <p:cNvSpPr>
            <a:spLocks noGrp="1"/>
          </p:cNvSpPr>
          <p:nvPr>
            <p:ph type="sldNum" sz="quarter" idx="5"/>
          </p:nvPr>
        </p:nvSpPr>
        <p:spPr/>
        <p:txBody>
          <a:bodyPr/>
          <a:lstStyle/>
          <a:p>
            <a:fld id="{57AA0218-8EA7-46C1-B12C-665269A91A87}" type="slidenum">
              <a:rPr lang="en-GB" smtClean="0"/>
              <a:t>9</a:t>
            </a:fld>
            <a:endParaRPr lang="en-GB"/>
          </a:p>
        </p:txBody>
      </p:sp>
    </p:spTree>
    <p:extLst>
      <p:ext uri="{BB962C8B-B14F-4D97-AF65-F5344CB8AC3E}">
        <p14:creationId xmlns:p14="http://schemas.microsoft.com/office/powerpoint/2010/main" val="32359649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b="0" i="0" dirty="0">
                <a:solidFill>
                  <a:srgbClr val="0A0A0A"/>
                </a:solidFill>
                <a:effectLst/>
                <a:latin typeface="proxima-nova"/>
              </a:rPr>
              <a:t>La demande (soumission) est soumise via le portail à tous les États membres (CMS) concernés dans lesquels le promoteur a l'intention de réaliser le CT. Au moment de la demande, le promoteur propose un État membre déclarant (RMS), qui sera confirmé le sixième jour suivant la soumission. Il se peut que la proposition de RMS du sponsor ne soit pas toujours acceptée, et dans ce cas, l'Etat membre qui s'est désigné lui-même ou qui a été sélectionné sera le RMS.</a:t>
            </a:r>
          </a:p>
          <a:p>
            <a:pPr algn="l"/>
            <a:r>
              <a:rPr lang="fr-FR" b="0" i="0" dirty="0">
                <a:solidFill>
                  <a:srgbClr val="0A0A0A"/>
                </a:solidFill>
                <a:effectLst/>
                <a:latin typeface="proxima-nova"/>
              </a:rPr>
              <a:t>Après la soumission, il y a une période de validation pour évaluer si la demande est complète et si la demande est dans le champ d'application du règlement. Au cours de cette période, les États membres peuvent demander des informations supplémentaires au promoteur. Les demandes d'information des États membres pendant la validation doivent être envoyées dans les 10 jours suivant la soumission. </a:t>
            </a:r>
          </a:p>
          <a:p>
            <a:pPr algn="l"/>
            <a:r>
              <a:rPr lang="fr-FR" b="0" i="0" dirty="0">
                <a:solidFill>
                  <a:srgbClr val="0A0A0A"/>
                </a:solidFill>
                <a:effectLst/>
                <a:latin typeface="proxima-nova"/>
              </a:rPr>
              <a:t>Une prolongation de 15 jours peut être accordée si nécessaire pour résoudre les problèmes ; cela donne 10 jours supplémentaires au promoteur pour répondre/mettre à jour la demande et 5 jours pour la confirmation de l'État membre, sur la base des informations fournies. </a:t>
            </a:r>
          </a:p>
          <a:p>
            <a:pPr algn="l"/>
            <a:r>
              <a:rPr lang="fr-FR" b="0" i="0" dirty="0">
                <a:solidFill>
                  <a:srgbClr val="0A0A0A"/>
                </a:solidFill>
                <a:effectLst/>
                <a:latin typeface="proxima-nova"/>
              </a:rPr>
              <a:t>La date de validation est la date à laquelle le RMS notifie au promoteur la fin de la validation, ou la fin naturelle des 10 ou 10 + 15 jours, selon la première éventualité.</a:t>
            </a:r>
          </a:p>
          <a:p>
            <a:pPr algn="l"/>
            <a:endParaRPr lang="fr-FR" b="0" i="0" dirty="0">
              <a:solidFill>
                <a:srgbClr val="0A0A0A"/>
              </a:solidFill>
              <a:effectLst/>
              <a:latin typeface="proxima-nova"/>
            </a:endParaRPr>
          </a:p>
          <a:p>
            <a:pPr algn="l"/>
            <a:r>
              <a:rPr lang="fr-FR" b="0" i="0" dirty="0">
                <a:solidFill>
                  <a:srgbClr val="0A0A0A"/>
                </a:solidFill>
                <a:effectLst/>
                <a:latin typeface="proxima-nova"/>
              </a:rPr>
              <a:t>Le règlement exige le respect strict des délais maximums pour chaque phase de la procédure de demande et prévoit des dispositions pour garantir que les retards de toute partie ne retardent pas le processus. Si le SMR ne fournit pas de retour d'information sur la validation dans le délai imparti, par exemple, cela sera considéré comme une validation tacite de la demande. Si un promoteur ne répond pas à une demande d'information dans le délai imparti, cela entraînera le retrait automatique (tacite) de la demande dans tous les CMS. Le portail déterminera quand les jalons tels que la date de validation ont été respectés. </a:t>
            </a:r>
          </a:p>
          <a:p>
            <a:pPr algn="l"/>
            <a:endParaRPr lang="fr-FR" b="0" i="0" dirty="0">
              <a:solidFill>
                <a:srgbClr val="0A0A0A"/>
              </a:solidFill>
              <a:effectLst/>
              <a:latin typeface="proxima-nova"/>
            </a:endParaRPr>
          </a:p>
          <a:p>
            <a:pPr algn="l"/>
            <a:r>
              <a:rPr lang="fr-FR" b="0" i="0" dirty="0">
                <a:solidFill>
                  <a:srgbClr val="0A0A0A"/>
                </a:solidFill>
                <a:effectLst/>
                <a:latin typeface="proxima-nova"/>
              </a:rPr>
              <a:t>Le SGI évalue la Partie I de la demande conformément aux aspects décrits dans l'article 6 (1b)2 du règlement, et rédige un rapport d'évaluation qui inclut la détermination que la conduite du TC est soit :</a:t>
            </a:r>
          </a:p>
          <a:p>
            <a:pPr algn="l"/>
            <a:r>
              <a:rPr lang="fr-FR" b="0" i="0" dirty="0">
                <a:solidFill>
                  <a:srgbClr val="0A0A0A"/>
                </a:solidFill>
                <a:effectLst/>
                <a:latin typeface="proxima-nova"/>
              </a:rPr>
              <a:t>Acceptable</a:t>
            </a:r>
          </a:p>
          <a:p>
            <a:pPr algn="l"/>
            <a:r>
              <a:rPr lang="fr-FR" b="0" i="0" dirty="0">
                <a:solidFill>
                  <a:srgbClr val="0A0A0A"/>
                </a:solidFill>
                <a:effectLst/>
                <a:latin typeface="proxima-nova"/>
              </a:rPr>
              <a:t>Acceptable sous réserve de conditions spécifiques</a:t>
            </a:r>
          </a:p>
          <a:p>
            <a:pPr algn="l"/>
            <a:r>
              <a:rPr lang="fr-FR" b="0" i="0" dirty="0">
                <a:solidFill>
                  <a:srgbClr val="0A0A0A"/>
                </a:solidFill>
                <a:effectLst/>
                <a:latin typeface="proxima-nova"/>
              </a:rPr>
              <a:t>Non acceptable</a:t>
            </a:r>
          </a:p>
          <a:p>
            <a:pPr algn="l"/>
            <a:r>
              <a:rPr lang="fr-FR" b="0" i="0" dirty="0">
                <a:solidFill>
                  <a:srgbClr val="0A0A0A"/>
                </a:solidFill>
                <a:effectLst/>
                <a:latin typeface="proxima-nova"/>
              </a:rPr>
              <a:t>Pour une demande de CT multi-états, le processus d'évaluation de 45 jours comprend :</a:t>
            </a:r>
          </a:p>
          <a:p>
            <a:pPr algn="l"/>
            <a:r>
              <a:rPr lang="fr-FR" b="0" i="0" dirty="0">
                <a:solidFill>
                  <a:srgbClr val="0A0A0A"/>
                </a:solidFill>
                <a:effectLst/>
                <a:latin typeface="proxima-nova"/>
              </a:rPr>
              <a:t>RMS publie le projet de rapport d'évaluation aux CMS</a:t>
            </a:r>
          </a:p>
          <a:p>
            <a:pPr algn="l"/>
            <a:r>
              <a:rPr lang="fr-FR" b="0" i="0" dirty="0">
                <a:solidFill>
                  <a:srgbClr val="0A0A0A"/>
                </a:solidFill>
                <a:effectLst/>
                <a:latin typeface="proxima-nova"/>
              </a:rPr>
              <a:t>Examen coordonné du projet de rapport par les CMS</a:t>
            </a:r>
          </a:p>
          <a:p>
            <a:pPr algn="l"/>
            <a:r>
              <a:rPr lang="fr-FR" b="0" i="0" dirty="0">
                <a:solidFill>
                  <a:srgbClr val="0A0A0A"/>
                </a:solidFill>
                <a:effectLst/>
                <a:latin typeface="proxima-nova"/>
              </a:rPr>
              <a:t>Le SMR envoie le rapport d'évaluation final, y compris les considérations de la CMS et la manière dont elles ont été prises en compte.</a:t>
            </a:r>
          </a:p>
          <a:p>
            <a:pPr algn="l"/>
            <a:endParaRPr lang="fr-FR" b="0" i="0" dirty="0">
              <a:solidFill>
                <a:srgbClr val="0A0A0A"/>
              </a:solidFill>
              <a:effectLst/>
              <a:latin typeface="proxima-nova"/>
            </a:endParaRPr>
          </a:p>
          <a:p>
            <a:pPr algn="l"/>
            <a:r>
              <a:rPr lang="fr-FR" b="0" i="0" dirty="0">
                <a:solidFill>
                  <a:srgbClr val="0A0A0A"/>
                </a:solidFill>
                <a:effectLst/>
                <a:latin typeface="proxima-nova"/>
              </a:rPr>
              <a:t>Si des informations supplémentaires sont nécessaires, le RMS émettra une demande d'informations au sponsor via le portail. Dans ce cas, la période d'évaluation de 45 jours sera prolongée de 31 jours pour intégrer la réponse du promoteur (via le portail) et l'évaluation par le RMS/CMS des nouvelles informations. La période de 31 jours comprend 12 jours pour la réponse du promoteur. Si le promoteur dépasse ce délai, la demande sera considérée comme caduque (ou un retrait tacite). Cela oblige les promoteurs à respecter la date limite ou à risquer de devoir soumettre à nouveau leur demande.</a:t>
            </a:r>
          </a:p>
          <a:p>
            <a:pPr algn="l"/>
            <a:endParaRPr lang="fr-FR" b="0" i="0" dirty="0">
              <a:solidFill>
                <a:srgbClr val="0A0A0A"/>
              </a:solidFill>
              <a:effectLst/>
              <a:latin typeface="proxima-nova"/>
            </a:endParaRPr>
          </a:p>
          <a:p>
            <a:pPr algn="l"/>
            <a:r>
              <a:rPr lang="fr-FR" b="0" i="0" dirty="0">
                <a:solidFill>
                  <a:srgbClr val="0A0A0A"/>
                </a:solidFill>
                <a:effectLst/>
                <a:latin typeface="proxima-nova"/>
              </a:rPr>
              <a:t>La date de rapport est la date à laquelle le rapport d'évaluation final est envoyé via le portail au promoteur et aux CMS. Elle aura lieu dans les 45 jours suivant la date de validation, sauf s'il y a des demandes d'informations et/ou si le CT concerne un médicament thérapeutique avancé (MTA) ou un produit biologique. La période d'évaluation pour les </a:t>
            </a:r>
            <a:r>
              <a:rPr lang="fr-FR" b="0" i="0" dirty="0" err="1">
                <a:solidFill>
                  <a:srgbClr val="0A0A0A"/>
                </a:solidFill>
                <a:effectLst/>
                <a:latin typeface="proxima-nova"/>
              </a:rPr>
              <a:t>CTs</a:t>
            </a:r>
            <a:r>
              <a:rPr lang="fr-FR" b="0" i="0" dirty="0">
                <a:solidFill>
                  <a:srgbClr val="0A0A0A"/>
                </a:solidFill>
                <a:effectLst/>
                <a:latin typeface="proxima-nova"/>
              </a:rPr>
              <a:t> concernant des </a:t>
            </a:r>
            <a:r>
              <a:rPr lang="fr-FR" b="0" i="0" dirty="0" err="1">
                <a:solidFill>
                  <a:srgbClr val="0A0A0A"/>
                </a:solidFill>
                <a:effectLst/>
                <a:latin typeface="proxima-nova"/>
              </a:rPr>
              <a:t>ATMPs</a:t>
            </a:r>
            <a:r>
              <a:rPr lang="fr-FR" b="0" i="0" dirty="0">
                <a:solidFill>
                  <a:srgbClr val="0A0A0A"/>
                </a:solidFill>
                <a:effectLst/>
                <a:latin typeface="proxima-nova"/>
              </a:rPr>
              <a:t> ou des produits biologiques peut être prolongée de 50 jours au maximum pour permettre la consultation d'experts.</a:t>
            </a:r>
          </a:p>
          <a:p>
            <a:pPr algn="l"/>
            <a:endParaRPr lang="fr-FR" b="0" i="0" dirty="0">
              <a:solidFill>
                <a:srgbClr val="0A0A0A"/>
              </a:solidFill>
              <a:effectLst/>
              <a:latin typeface="proxima-nova"/>
            </a:endParaRPr>
          </a:p>
          <a:p>
            <a:pPr algn="l"/>
            <a:r>
              <a:rPr lang="fr-FR" b="0" i="0" dirty="0">
                <a:solidFill>
                  <a:srgbClr val="0A0A0A"/>
                </a:solidFill>
                <a:effectLst/>
                <a:latin typeface="proxima-nova"/>
              </a:rPr>
              <a:t>La partie II sera évaluée individuellement par chaque EM et conformément à l'article 7, paragraphe 1, point 3. L'évaluation sera effectuée par un comité d'éthique et conformément à la législation nationale de l'EM dans les délais globaux définis par le règlement. Chaque EM soumettra un rapport d'évaluation listant ses conclusions au promoteur (via le portail) dans les 45 jours suivant la date de validation. Au cours de cette période de 45 jours, les EM peuvent demander des informations supplémentaires au sponsor concernant les aspects couverts par l'article 7(1). En outre, conformément aux dispositions de la Partie I, la période de 45 jours peut être prolongée de 31 jours pour permettre au promoteur de répondre aux demandes des EM et aux EM demandeurs d'évaluer les informations.</a:t>
            </a:r>
            <a:r>
              <a:rPr lang="en-GB" b="0" i="0" dirty="0">
                <a:solidFill>
                  <a:srgbClr val="0A0A0A"/>
                </a:solidFill>
                <a:effectLst/>
                <a:latin typeface="proxima-nova"/>
              </a:rPr>
              <a:t>.</a:t>
            </a:r>
          </a:p>
          <a:p>
            <a:pPr algn="l"/>
            <a:endParaRPr lang="nl-NL" dirty="0"/>
          </a:p>
        </p:txBody>
      </p:sp>
      <p:sp>
        <p:nvSpPr>
          <p:cNvPr id="4" name="Slide Number Placeholder 3"/>
          <p:cNvSpPr>
            <a:spLocks noGrp="1"/>
          </p:cNvSpPr>
          <p:nvPr>
            <p:ph type="sldNum" sz="quarter" idx="5"/>
          </p:nvPr>
        </p:nvSpPr>
        <p:spPr/>
        <p:txBody>
          <a:bodyPr/>
          <a:lstStyle/>
          <a:p>
            <a:fld id="{57AA0218-8EA7-46C1-B12C-665269A91A87}" type="slidenum">
              <a:rPr lang="en-GB" smtClean="0"/>
              <a:t>10</a:t>
            </a:fld>
            <a:endParaRPr lang="en-GB"/>
          </a:p>
        </p:txBody>
      </p:sp>
    </p:spTree>
    <p:extLst>
      <p:ext uri="{BB962C8B-B14F-4D97-AF65-F5344CB8AC3E}">
        <p14:creationId xmlns:p14="http://schemas.microsoft.com/office/powerpoint/2010/main" val="18598359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9" name="Cover Logo">
            <a:extLst>
              <a:ext uri="{FF2B5EF4-FFF2-40B4-BE49-F238E27FC236}">
                <a16:creationId xmlns:a16="http://schemas.microsoft.com/office/drawing/2014/main" id="{4940C945-8607-4600-B2C1-89DB7F6C2C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138" y="719138"/>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userDrawn="1">
            <p:ph type="dt" sz="half" idx="10"/>
          </p:nvPr>
        </p:nvSpPr>
        <p:spPr>
          <a:xfrm>
            <a:off x="719138" y="4653512"/>
            <a:ext cx="1655715" cy="448468"/>
          </a:xfrm>
          <a:prstGeom prst="roundRect">
            <a:avLst>
              <a:gd name="adj" fmla="val 50000"/>
            </a:avLst>
          </a:prstGeom>
          <a:solidFill>
            <a:schemeClr val="tx2"/>
          </a:solidFill>
        </p:spPr>
        <p:txBody>
          <a:bodyPr wrap="none" tIns="36000" rIns="72000" bIns="36000" anchor="ctr" anchorCtr="0">
            <a:spAutoFit/>
          </a:bodyPr>
          <a:lstStyle>
            <a:lvl1pPr marL="0" algn="ctr">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userDrawn="1">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userDrawn="1">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21" name="Freeform: Shape 20">
            <a:extLst>
              <a:ext uri="{FF2B5EF4-FFF2-40B4-BE49-F238E27FC236}">
                <a16:creationId xmlns:a16="http://schemas.microsoft.com/office/drawing/2014/main" id="{08D0C1AC-DB08-43CD-AC26-CF417079F7D7}"/>
              </a:ext>
            </a:extLst>
          </p:cNvPr>
          <p:cNvSpPr/>
          <p:nvPr/>
        </p:nvSpPr>
        <p:spPr>
          <a:xfrm>
            <a:off x="0" y="8335"/>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65" name="Freeform: Shape 64">
            <a:extLst>
              <a:ext uri="{FF2B5EF4-FFF2-40B4-BE49-F238E27FC236}">
                <a16:creationId xmlns:a16="http://schemas.microsoft.com/office/drawing/2014/main" id="{BA095166-32E5-42E9-83A1-AD237E1F5588}"/>
              </a:ext>
            </a:extLst>
          </p:cNvPr>
          <p:cNvSpPr/>
          <p:nvPr/>
        </p:nvSpPr>
        <p:spPr>
          <a:xfrm>
            <a:off x="9082622" y="1746273"/>
            <a:ext cx="3109379" cy="4479053"/>
          </a:xfrm>
          <a:custGeom>
            <a:avLst/>
            <a:gdLst>
              <a:gd name="connsiteX0" fmla="*/ 133363 w 3109379"/>
              <a:gd name="connsiteY0" fmla="*/ 0 h 4479053"/>
              <a:gd name="connsiteX1" fmla="*/ 1912063 w 3109379"/>
              <a:gd name="connsiteY1" fmla="*/ 0 h 4479053"/>
              <a:gd name="connsiteX2" fmla="*/ 2044359 w 3109379"/>
              <a:gd name="connsiteY2" fmla="*/ 116544 h 4479053"/>
              <a:gd name="connsiteX3" fmla="*/ 2073638 w 3109379"/>
              <a:gd name="connsiteY3" fmla="*/ 660203 h 4479053"/>
              <a:gd name="connsiteX4" fmla="*/ 3028725 w 3109379"/>
              <a:gd name="connsiteY4" fmla="*/ 3954882 h 4479053"/>
              <a:gd name="connsiteX5" fmla="*/ 3109379 w 3109379"/>
              <a:gd name="connsiteY5" fmla="*/ 4060781 h 4479053"/>
              <a:gd name="connsiteX6" fmla="*/ 3109379 w 3109379"/>
              <a:gd name="connsiteY6" fmla="*/ 4479053 h 4479053"/>
              <a:gd name="connsiteX7" fmla="*/ 3086052 w 3109379"/>
              <a:gd name="connsiteY7" fmla="*/ 4453039 h 4479053"/>
              <a:gd name="connsiteX8" fmla="*/ 2938406 w 3109379"/>
              <a:gd name="connsiteY8" fmla="*/ 4273886 h 4479053"/>
              <a:gd name="connsiteX9" fmla="*/ 2172651 w 3109379"/>
              <a:gd name="connsiteY9" fmla="*/ 2924999 h 4479053"/>
              <a:gd name="connsiteX10" fmla="*/ 1806996 w 3109379"/>
              <a:gd name="connsiteY10" fmla="*/ 667133 h 4479053"/>
              <a:gd name="connsiteX11" fmla="*/ 1791103 w 3109379"/>
              <a:gd name="connsiteY11" fmla="*/ 266725 h 4479053"/>
              <a:gd name="connsiteX12" fmla="*/ 133363 w 3109379"/>
              <a:gd name="connsiteY12" fmla="*/ 266725 h 4479053"/>
              <a:gd name="connsiteX13" fmla="*/ 0 w 3109379"/>
              <a:gd name="connsiteY13" fmla="*/ 133363 h 4479053"/>
              <a:gd name="connsiteX14" fmla="*/ 133363 w 3109379"/>
              <a:gd name="connsiteY14" fmla="*/ 0 h 447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09379" h="4479053">
                <a:moveTo>
                  <a:pt x="133363" y="0"/>
                </a:moveTo>
                <a:lnTo>
                  <a:pt x="1912063" y="0"/>
                </a:lnTo>
                <a:cubicBezTo>
                  <a:pt x="1979214" y="0"/>
                  <a:pt x="2035891" y="49929"/>
                  <a:pt x="2044359" y="116544"/>
                </a:cubicBezTo>
                <a:cubicBezTo>
                  <a:pt x="2063397" y="266291"/>
                  <a:pt x="2068143" y="448836"/>
                  <a:pt x="2073638" y="660203"/>
                </a:cubicBezTo>
                <a:cubicBezTo>
                  <a:pt x="2095201" y="1489639"/>
                  <a:pt x="2127205" y="2720705"/>
                  <a:pt x="3028725" y="3954882"/>
                </a:cubicBezTo>
                <a:lnTo>
                  <a:pt x="3109379" y="4060781"/>
                </a:lnTo>
                <a:lnTo>
                  <a:pt x="3109379" y="4479053"/>
                </a:lnTo>
                <a:lnTo>
                  <a:pt x="3086052" y="4453039"/>
                </a:lnTo>
                <a:cubicBezTo>
                  <a:pt x="3035183" y="4393895"/>
                  <a:pt x="2985959" y="4334170"/>
                  <a:pt x="2938406" y="4273886"/>
                </a:cubicBezTo>
                <a:cubicBezTo>
                  <a:pt x="2615252" y="3866347"/>
                  <a:pt x="2356959" y="3411359"/>
                  <a:pt x="2172651" y="2924999"/>
                </a:cubicBezTo>
                <a:cubicBezTo>
                  <a:pt x="1842928" y="2049115"/>
                  <a:pt x="1822159" y="1250360"/>
                  <a:pt x="1806996" y="667133"/>
                </a:cubicBezTo>
                <a:cubicBezTo>
                  <a:pt x="1803094" y="517020"/>
                  <a:pt x="1799582" y="381953"/>
                  <a:pt x="1791103" y="266725"/>
                </a:cubicBezTo>
                <a:lnTo>
                  <a:pt x="133363" y="266725"/>
                </a:lnTo>
                <a:cubicBezTo>
                  <a:pt x="59708" y="266725"/>
                  <a:pt x="0" y="207017"/>
                  <a:pt x="0" y="133363"/>
                </a:cubicBezTo>
                <a:cubicBezTo>
                  <a:pt x="0" y="59708"/>
                  <a:pt x="59708" y="0"/>
                  <a:pt x="133363" y="0"/>
                </a:cubicBezTo>
                <a:close/>
              </a:path>
            </a:pathLst>
          </a:custGeom>
          <a:solidFill>
            <a:schemeClr val="tx2"/>
          </a:solidFill>
          <a:ln w="12700" cap="flat">
            <a:noFill/>
            <a:prstDash val="solid"/>
            <a:miter/>
          </a:ln>
        </p:spPr>
        <p:txBody>
          <a:bodyPr rtlCol="0" anchor="ctr"/>
          <a:lstStyle/>
          <a:p>
            <a:endParaRPr lang="en-GB"/>
          </a:p>
        </p:txBody>
      </p:sp>
      <p:sp>
        <p:nvSpPr>
          <p:cNvPr id="60" name="Freeform: Shape 59">
            <a:extLst>
              <a:ext uri="{FF2B5EF4-FFF2-40B4-BE49-F238E27FC236}">
                <a16:creationId xmlns:a16="http://schemas.microsoft.com/office/drawing/2014/main" id="{529F8AE1-20CF-44F6-BB91-769A89EAC6A4}"/>
              </a:ext>
            </a:extLst>
          </p:cNvPr>
          <p:cNvSpPr/>
          <p:nvPr userDrawn="1"/>
        </p:nvSpPr>
        <p:spPr>
          <a:xfrm>
            <a:off x="5050893" y="0"/>
            <a:ext cx="4385676" cy="2013647"/>
          </a:xfrm>
          <a:custGeom>
            <a:avLst/>
            <a:gdLst>
              <a:gd name="connsiteX0" fmla="*/ 0 w 4385676"/>
              <a:gd name="connsiteY0" fmla="*/ 0 h 2013647"/>
              <a:gd name="connsiteX1" fmla="*/ 322476 w 4385676"/>
              <a:gd name="connsiteY1" fmla="*/ 0 h 2013647"/>
              <a:gd name="connsiteX2" fmla="*/ 382850 w 4385676"/>
              <a:gd name="connsiteY2" fmla="*/ 87045 h 2013647"/>
              <a:gd name="connsiteX3" fmla="*/ 2026201 w 4385676"/>
              <a:gd name="connsiteY3" fmla="*/ 1365797 h 2013647"/>
              <a:gd name="connsiteX4" fmla="*/ 4251339 w 4385676"/>
              <a:gd name="connsiteY4" fmla="*/ 1746706 h 2013647"/>
              <a:gd name="connsiteX5" fmla="*/ 4385673 w 4385676"/>
              <a:gd name="connsiteY5" fmla="*/ 1879097 h 2013647"/>
              <a:gd name="connsiteX6" fmla="*/ 4253282 w 4385676"/>
              <a:gd name="connsiteY6" fmla="*/ 2013431 h 2013647"/>
              <a:gd name="connsiteX7" fmla="*/ 4193287 w 4385676"/>
              <a:gd name="connsiteY7" fmla="*/ 2013647 h 2013647"/>
              <a:gd name="connsiteX8" fmla="*/ 1924855 w 4385676"/>
              <a:gd name="connsiteY8" fmla="*/ 1612527 h 2013647"/>
              <a:gd name="connsiteX9" fmla="*/ 27862 w 4385676"/>
              <a:gd name="connsiteY9" fmla="*/ 45293 h 2013647"/>
              <a:gd name="connsiteX10" fmla="*/ 0 w 4385676"/>
              <a:gd name="connsiteY10" fmla="*/ 0 h 201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5676" h="2013647">
                <a:moveTo>
                  <a:pt x="0" y="0"/>
                </a:moveTo>
                <a:lnTo>
                  <a:pt x="322476" y="0"/>
                </a:lnTo>
                <a:lnTo>
                  <a:pt x="382850" y="87045"/>
                </a:lnTo>
                <a:cubicBezTo>
                  <a:pt x="807526" y="662942"/>
                  <a:pt x="1356643" y="1090795"/>
                  <a:pt x="2026201" y="1365797"/>
                </a:cubicBezTo>
                <a:cubicBezTo>
                  <a:pt x="2656615" y="1624715"/>
                  <a:pt x="3405283" y="1752930"/>
                  <a:pt x="4251339" y="1746706"/>
                </a:cubicBezTo>
                <a:cubicBezTo>
                  <a:pt x="4324994" y="1746170"/>
                  <a:pt x="4385137" y="1805443"/>
                  <a:pt x="4385673" y="1879097"/>
                </a:cubicBezTo>
                <a:cubicBezTo>
                  <a:pt x="4386210" y="1952752"/>
                  <a:pt x="4326936" y="2012895"/>
                  <a:pt x="4253282" y="2013431"/>
                </a:cubicBezTo>
                <a:cubicBezTo>
                  <a:pt x="4233262" y="2013569"/>
                  <a:pt x="4213210" y="2013647"/>
                  <a:pt x="4193287" y="2013647"/>
                </a:cubicBezTo>
                <a:cubicBezTo>
                  <a:pt x="3336002" y="2013647"/>
                  <a:pt x="2573148" y="1878784"/>
                  <a:pt x="1924855" y="1612527"/>
                </a:cubicBezTo>
                <a:cubicBezTo>
                  <a:pt x="1131246" y="1286568"/>
                  <a:pt x="496966" y="761828"/>
                  <a:pt x="27862" y="45293"/>
                </a:cubicBezTo>
                <a:lnTo>
                  <a:pt x="0" y="0"/>
                </a:lnTo>
                <a:close/>
              </a:path>
            </a:pathLst>
          </a:custGeom>
          <a:solidFill>
            <a:schemeClr val="accent2"/>
          </a:solidFill>
          <a:ln w="12700" cap="flat">
            <a:noFill/>
            <a:prstDash val="solid"/>
            <a:miter/>
          </a:ln>
        </p:spPr>
        <p:txBody>
          <a:bodyPr rtlCol="0" anchor="ctr"/>
          <a:lstStyle/>
          <a:p>
            <a:endParaRPr lang="en-GB"/>
          </a:p>
        </p:txBody>
      </p:sp>
      <p:sp>
        <p:nvSpPr>
          <p:cNvPr id="27" name="Picture Placeholder 1">
            <a:extLst>
              <a:ext uri="{FF2B5EF4-FFF2-40B4-BE49-F238E27FC236}">
                <a16:creationId xmlns:a16="http://schemas.microsoft.com/office/drawing/2014/main" id="{58796B95-BF41-4F4C-A925-88BB4F6B8DDC}"/>
              </a:ext>
            </a:extLst>
          </p:cNvPr>
          <p:cNvSpPr>
            <a:spLocks noGrp="1"/>
          </p:cNvSpPr>
          <p:nvPr userDrawn="1">
            <p:ph type="pic" sz="quarter" idx="11"/>
          </p:nvPr>
        </p:nvSpPr>
        <p:spPr>
          <a:xfrm>
            <a:off x="7811228" y="719138"/>
            <a:ext cx="4376737" cy="5418137"/>
          </a:xfrm>
        </p:spPr>
        <p:txBody>
          <a:bodyPr/>
          <a:lstStyle/>
          <a:p>
            <a:r>
              <a:rPr lang="en-US"/>
              <a:t>Click icon to add picture</a:t>
            </a:r>
            <a:endParaRPr lang="en-GB" dirty="0"/>
          </a:p>
        </p:txBody>
      </p:sp>
    </p:spTree>
    <p:extLst>
      <p:ext uri="{BB962C8B-B14F-4D97-AF65-F5344CB8AC3E}">
        <p14:creationId xmlns:p14="http://schemas.microsoft.com/office/powerpoint/2010/main" val="16094200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7" y="666745"/>
            <a:ext cx="10752138" cy="720000"/>
          </a:xfrm>
        </p:spPr>
        <p:txBody>
          <a:bodyPr/>
          <a:lstStyle/>
          <a:p>
            <a:r>
              <a:rPr lang="en-US"/>
              <a:t>Click to edit Master title style</a:t>
            </a:r>
            <a:endParaRPr lang="en-GB" dirty="0"/>
          </a:p>
        </p:txBody>
      </p:sp>
    </p:spTree>
    <p:extLst>
      <p:ext uri="{BB962C8B-B14F-4D97-AF65-F5344CB8AC3E}">
        <p14:creationId xmlns:p14="http://schemas.microsoft.com/office/powerpoint/2010/main" val="184703332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No subhead)">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1627188"/>
            <a:ext cx="10752137" cy="45100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449557481"/>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30475"/>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30804"/>
            <a:ext cx="5286376"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95645711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2362539576"/>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85368306"/>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7" y="666745"/>
            <a:ext cx="10752138" cy="720000"/>
          </a:xfrm>
        </p:spPr>
        <p:txBody>
          <a:bodyPr/>
          <a:lstStyle/>
          <a:p>
            <a:r>
              <a:rPr lang="en-US"/>
              <a:t>Click to edit Master title style</a:t>
            </a:r>
            <a:endParaRPr lang="en-GB" dirty="0"/>
          </a:p>
        </p:txBody>
      </p:sp>
    </p:spTree>
    <p:extLst>
      <p:ext uri="{BB962C8B-B14F-4D97-AF65-F5344CB8AC3E}">
        <p14:creationId xmlns:p14="http://schemas.microsoft.com/office/powerpoint/2010/main" val="2737371006"/>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7" y="666745"/>
            <a:ext cx="9840913" cy="720000"/>
          </a:xfrm>
        </p:spPr>
        <p:txBody>
          <a:bodyPr/>
          <a:lstStyle/>
          <a:p>
            <a:r>
              <a:rPr lang="en-US"/>
              <a:t>Click to edit Master title style</a:t>
            </a:r>
            <a:endParaRPr lang="en-GB" dirty="0"/>
          </a:p>
        </p:txBody>
      </p:sp>
      <p:sp>
        <p:nvSpPr>
          <p:cNvPr id="8" name="Freeform: Shape 7">
            <a:extLst>
              <a:ext uri="{FF2B5EF4-FFF2-40B4-BE49-F238E27FC236}">
                <a16:creationId xmlns:a16="http://schemas.microsoft.com/office/drawing/2014/main" id="{CC53A116-AE64-4BD1-9FAE-4644DD0BE318}"/>
              </a:ext>
            </a:extLst>
          </p:cNvPr>
          <p:cNvSpPr/>
          <p:nvPr userDrawn="1"/>
        </p:nvSpPr>
        <p:spPr>
          <a:xfrm>
            <a:off x="10015704" y="0"/>
            <a:ext cx="2176296" cy="4175528"/>
          </a:xfrm>
          <a:custGeom>
            <a:avLst/>
            <a:gdLst>
              <a:gd name="connsiteX0" fmla="*/ 103142 w 2176296"/>
              <a:gd name="connsiteY0" fmla="*/ 0 h 4175528"/>
              <a:gd name="connsiteX1" fmla="*/ 489726 w 2176296"/>
              <a:gd name="connsiteY1" fmla="*/ 0 h 4175528"/>
              <a:gd name="connsiteX2" fmla="*/ 520852 w 2176296"/>
              <a:gd name="connsiteY2" fmla="*/ 32449 h 4175528"/>
              <a:gd name="connsiteX3" fmla="*/ 960887 w 2176296"/>
              <a:gd name="connsiteY3" fmla="*/ 751382 h 4175528"/>
              <a:gd name="connsiteX4" fmla="*/ 1054090 w 2176296"/>
              <a:gd name="connsiteY4" fmla="*/ 2095042 h 4175528"/>
              <a:gd name="connsiteX5" fmla="*/ 412790 w 2176296"/>
              <a:gd name="connsiteY5" fmla="*/ 3261754 h 4175528"/>
              <a:gd name="connsiteX6" fmla="*/ 1440484 w 2176296"/>
              <a:gd name="connsiteY6" fmla="*/ 3546067 h 4175528"/>
              <a:gd name="connsiteX7" fmla="*/ 1983366 w 2176296"/>
              <a:gd name="connsiteY7" fmla="*/ 3774735 h 4175528"/>
              <a:gd name="connsiteX8" fmla="*/ 2176296 w 2176296"/>
              <a:gd name="connsiteY8" fmla="*/ 3873834 h 4175528"/>
              <a:gd name="connsiteX9" fmla="*/ 2176296 w 2176296"/>
              <a:gd name="connsiteY9" fmla="*/ 4175528 h 4175528"/>
              <a:gd name="connsiteX10" fmla="*/ 2150160 w 2176296"/>
              <a:gd name="connsiteY10" fmla="*/ 4160076 h 4175528"/>
              <a:gd name="connsiteX11" fmla="*/ 1355901 w 2176296"/>
              <a:gd name="connsiteY11" fmla="*/ 3799122 h 4175528"/>
              <a:gd name="connsiteX12" fmla="*/ 119536 w 2176296"/>
              <a:gd name="connsiteY12" fmla="*/ 3486036 h 4175528"/>
              <a:gd name="connsiteX13" fmla="*/ 732 w 2176296"/>
              <a:gd name="connsiteY13" fmla="*/ 3339530 h 4175528"/>
              <a:gd name="connsiteX14" fmla="*/ 42542 w 2176296"/>
              <a:gd name="connsiteY14" fmla="*/ 3255726 h 4175528"/>
              <a:gd name="connsiteX15" fmla="*/ 712245 w 2176296"/>
              <a:gd name="connsiteY15" fmla="*/ 847841 h 4175528"/>
              <a:gd name="connsiteX16" fmla="*/ 204588 w 2176296"/>
              <a:gd name="connsiteY16" fmla="*/ 89932 h 4175528"/>
              <a:gd name="connsiteX17" fmla="*/ 103142 w 2176296"/>
              <a:gd name="connsiteY17" fmla="*/ 0 h 4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6296" h="4175528">
                <a:moveTo>
                  <a:pt x="103142" y="0"/>
                </a:moveTo>
                <a:lnTo>
                  <a:pt x="489726" y="0"/>
                </a:lnTo>
                <a:lnTo>
                  <a:pt x="520852" y="32449"/>
                </a:lnTo>
                <a:cubicBezTo>
                  <a:pt x="708567" y="242737"/>
                  <a:pt x="858030" y="485991"/>
                  <a:pt x="960887" y="751382"/>
                </a:cubicBezTo>
                <a:cubicBezTo>
                  <a:pt x="1128005" y="1179340"/>
                  <a:pt x="1160521" y="1648110"/>
                  <a:pt x="1054090" y="2095042"/>
                </a:cubicBezTo>
                <a:cubicBezTo>
                  <a:pt x="953966" y="2516331"/>
                  <a:pt x="738621" y="2907804"/>
                  <a:pt x="412790" y="3261754"/>
                </a:cubicBezTo>
                <a:cubicBezTo>
                  <a:pt x="762602" y="3328051"/>
                  <a:pt x="1106337" y="3423146"/>
                  <a:pt x="1440484" y="3546067"/>
                </a:cubicBezTo>
                <a:cubicBezTo>
                  <a:pt x="1607006" y="3607097"/>
                  <a:pt x="1790664" y="3682454"/>
                  <a:pt x="1983366" y="3774735"/>
                </a:cubicBezTo>
                <a:lnTo>
                  <a:pt x="2176296" y="3873834"/>
                </a:lnTo>
                <a:lnTo>
                  <a:pt x="2176296" y="4175528"/>
                </a:lnTo>
                <a:lnTo>
                  <a:pt x="2150160" y="4160076"/>
                </a:lnTo>
                <a:cubicBezTo>
                  <a:pt x="1866326" y="4003932"/>
                  <a:pt x="1592891" y="3886307"/>
                  <a:pt x="1355901" y="3799122"/>
                </a:cubicBezTo>
                <a:cubicBezTo>
                  <a:pt x="665797" y="3545249"/>
                  <a:pt x="124919" y="3486595"/>
                  <a:pt x="119536" y="3486036"/>
                </a:cubicBezTo>
                <a:cubicBezTo>
                  <a:pt x="46272" y="3478386"/>
                  <a:pt x="-6918" y="3412793"/>
                  <a:pt x="732" y="3339530"/>
                </a:cubicBezTo>
                <a:cubicBezTo>
                  <a:pt x="4080" y="3307460"/>
                  <a:pt x="18934" y="3277688"/>
                  <a:pt x="42542" y="3255726"/>
                </a:cubicBezTo>
                <a:cubicBezTo>
                  <a:pt x="791657" y="2559451"/>
                  <a:pt x="1035759" y="1681815"/>
                  <a:pt x="712245" y="847841"/>
                </a:cubicBezTo>
                <a:cubicBezTo>
                  <a:pt x="598736" y="555233"/>
                  <a:pt x="422828" y="297865"/>
                  <a:pt x="204588" y="89932"/>
                </a:cubicBezTo>
                <a:lnTo>
                  <a:pt x="103142" y="0"/>
                </a:lnTo>
                <a:close/>
              </a:path>
            </a:pathLst>
          </a:custGeom>
          <a:solidFill>
            <a:schemeClr val="accent2"/>
          </a:solid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4213074229"/>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3">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843511549"/>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07708919"/>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2">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8E843608-B7C7-4107-B438-6B64438AA4B9}"/>
              </a:ext>
            </a:extLst>
          </p:cNvPr>
          <p:cNvSpPr/>
          <p:nvPr userDrawn="1"/>
        </p:nvSpPr>
        <p:spPr>
          <a:xfrm>
            <a:off x="0" y="4830317"/>
            <a:ext cx="2965628" cy="2027809"/>
          </a:xfrm>
          <a:custGeom>
            <a:avLst/>
            <a:gdLst>
              <a:gd name="connsiteX0" fmla="*/ 2862200 w 2965628"/>
              <a:gd name="connsiteY0" fmla="*/ 990092 h 2027809"/>
              <a:gd name="connsiteX1" fmla="*/ 2427986 w 2965628"/>
              <a:gd name="connsiteY1" fmla="*/ 922655 h 2027809"/>
              <a:gd name="connsiteX2" fmla="*/ 0 w 2965628"/>
              <a:gd name="connsiteY2" fmla="*/ 0 h 2027809"/>
              <a:gd name="connsiteX3" fmla="*/ 0 w 2965628"/>
              <a:gd name="connsiteY3" fmla="*/ 336804 h 2027809"/>
              <a:gd name="connsiteX4" fmla="*/ 612775 w 2965628"/>
              <a:gd name="connsiteY4" fmla="*/ 712216 h 2027809"/>
              <a:gd name="connsiteX5" fmla="*/ 2394332 w 2965628"/>
              <a:gd name="connsiteY5" fmla="*/ 1187196 h 2027809"/>
              <a:gd name="connsiteX6" fmla="*/ 2687321 w 2965628"/>
              <a:gd name="connsiteY6" fmla="*/ 1227709 h 2027809"/>
              <a:gd name="connsiteX7" fmla="*/ 2606802 w 2965628"/>
              <a:gd name="connsiteY7" fmla="*/ 2027810 h 2027809"/>
              <a:gd name="connsiteX8" fmla="*/ 2874900 w 2965628"/>
              <a:gd name="connsiteY8" fmla="*/ 2027810 h 2027809"/>
              <a:gd name="connsiteX9" fmla="*/ 2964943 w 2965628"/>
              <a:gd name="connsiteY9" fmla="*/ 1133475 h 2027809"/>
              <a:gd name="connsiteX10" fmla="*/ 2862200 w 2965628"/>
              <a:gd name="connsiteY10" fmla="*/ 990092 h 202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5628" h="2027809">
                <a:moveTo>
                  <a:pt x="2862200" y="990092"/>
                </a:moveTo>
                <a:cubicBezTo>
                  <a:pt x="2742820" y="962533"/>
                  <a:pt x="2596896" y="943991"/>
                  <a:pt x="2427986" y="922655"/>
                </a:cubicBezTo>
                <a:cubicBezTo>
                  <a:pt x="1797939" y="842645"/>
                  <a:pt x="875411" y="725424"/>
                  <a:pt x="0" y="0"/>
                </a:cubicBezTo>
                <a:lnTo>
                  <a:pt x="0" y="336804"/>
                </a:lnTo>
                <a:cubicBezTo>
                  <a:pt x="192630" y="480000"/>
                  <a:pt x="397710" y="605640"/>
                  <a:pt x="612775" y="712216"/>
                </a:cubicBezTo>
                <a:cubicBezTo>
                  <a:pt x="1289558" y="1046988"/>
                  <a:pt x="1928114" y="1128014"/>
                  <a:pt x="2394332" y="1187196"/>
                </a:cubicBezTo>
                <a:cubicBezTo>
                  <a:pt x="2503171" y="1201039"/>
                  <a:pt x="2601977" y="1213485"/>
                  <a:pt x="2687321" y="1227709"/>
                </a:cubicBezTo>
                <a:lnTo>
                  <a:pt x="2606802" y="2027810"/>
                </a:lnTo>
                <a:lnTo>
                  <a:pt x="2874900" y="2027810"/>
                </a:lnTo>
                <a:lnTo>
                  <a:pt x="2964943" y="1133475"/>
                </a:lnTo>
                <a:cubicBezTo>
                  <a:pt x="2971713" y="1066621"/>
                  <a:pt x="2927682" y="1005173"/>
                  <a:pt x="2862200" y="990092"/>
                </a:cubicBezTo>
                <a:close/>
              </a:path>
            </a:pathLst>
          </a:custGeom>
          <a:solidFill>
            <a:srgbClr val="85ABE3"/>
          </a:solidFill>
          <a:ln w="12700" cap="flat">
            <a:noFill/>
            <a:prstDash val="solid"/>
            <a:miter/>
          </a:ln>
        </p:spPr>
        <p:txBody>
          <a:bodyPr rtlCol="0" anchor="ctr"/>
          <a:lstStyle/>
          <a:p>
            <a:endParaRPr lang="en-GB"/>
          </a:p>
        </p:txBody>
      </p:sp>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
        <p:nvSpPr>
          <p:cNvPr id="12" name="Freeform: Shape 11">
            <a:extLst>
              <a:ext uri="{FF2B5EF4-FFF2-40B4-BE49-F238E27FC236}">
                <a16:creationId xmlns:a16="http://schemas.microsoft.com/office/drawing/2014/main" id="{36075CDD-4EB1-4BFB-AA85-64FE04774B5F}"/>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061480770"/>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Subtitle 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80184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8" y="666745"/>
            <a:ext cx="8018462" cy="720000"/>
          </a:xfrm>
        </p:spPr>
        <p:txBody>
          <a:bodyPr/>
          <a:lstStyle/>
          <a:p>
            <a:r>
              <a:rPr lang="en-US"/>
              <a:t>Click to edit Master title style</a:t>
            </a:r>
            <a:endParaRPr lang="en-GB" dirty="0"/>
          </a:p>
        </p:txBody>
      </p:sp>
      <p:sp>
        <p:nvSpPr>
          <p:cNvPr id="13" name="Freeform: Shape 12">
            <a:extLst>
              <a:ext uri="{FF2B5EF4-FFF2-40B4-BE49-F238E27FC236}">
                <a16:creationId xmlns:a16="http://schemas.microsoft.com/office/drawing/2014/main" id="{DE495F12-C76F-40C5-B5B5-64A9DE3DCDFF}"/>
              </a:ext>
            </a:extLst>
          </p:cNvPr>
          <p:cNvSpPr/>
          <p:nvPr/>
        </p:nvSpPr>
        <p:spPr>
          <a:xfrm>
            <a:off x="0" y="0"/>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9657328E-6812-414B-A3B7-E38242C70EA3}"/>
              </a:ext>
            </a:extLst>
          </p:cNvPr>
          <p:cNvSpPr/>
          <p:nvPr/>
        </p:nvSpPr>
        <p:spPr>
          <a:xfrm>
            <a:off x="3745977" y="0"/>
            <a:ext cx="6428373" cy="5597475"/>
          </a:xfrm>
          <a:custGeom>
            <a:avLst/>
            <a:gdLst>
              <a:gd name="connsiteX0" fmla="*/ 2795284 w 6428373"/>
              <a:gd name="connsiteY0" fmla="*/ 4502023 h 5597475"/>
              <a:gd name="connsiteX1" fmla="*/ 128919 w 6428373"/>
              <a:gd name="connsiteY1" fmla="*/ 5330698 h 5597475"/>
              <a:gd name="connsiteX2" fmla="*/ 78 w 6428373"/>
              <a:gd name="connsiteY2" fmla="*/ 5468557 h 5597475"/>
              <a:gd name="connsiteX3" fmla="*/ 137936 w 6428373"/>
              <a:gd name="connsiteY3" fmla="*/ 5597398 h 5597475"/>
              <a:gd name="connsiteX4" fmla="*/ 147207 w 6428373"/>
              <a:gd name="connsiteY4" fmla="*/ 5597398 h 5597475"/>
              <a:gd name="connsiteX5" fmla="*/ 2928507 w 6428373"/>
              <a:gd name="connsiteY5" fmla="*/ 4733798 h 5597475"/>
              <a:gd name="connsiteX6" fmla="*/ 5107066 w 6428373"/>
              <a:gd name="connsiteY6" fmla="*/ 2848991 h 5597475"/>
              <a:gd name="connsiteX7" fmla="*/ 6188597 w 6428373"/>
              <a:gd name="connsiteY7" fmla="*/ 840232 h 5597475"/>
              <a:gd name="connsiteX8" fmla="*/ 6428374 w 6428373"/>
              <a:gd name="connsiteY8" fmla="*/ 0 h 5597475"/>
              <a:gd name="connsiteX9" fmla="*/ 6154307 w 6428373"/>
              <a:gd name="connsiteY9" fmla="*/ 0 h 5597475"/>
              <a:gd name="connsiteX10" fmla="*/ 5936756 w 6428373"/>
              <a:gd name="connsiteY10" fmla="*/ 752348 h 5597475"/>
              <a:gd name="connsiteX11" fmla="*/ 2795284 w 6428373"/>
              <a:gd name="connsiteY11" fmla="*/ 4502023 h 559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28373" h="5597475">
                <a:moveTo>
                  <a:pt x="2795284" y="4502023"/>
                </a:moveTo>
                <a:cubicBezTo>
                  <a:pt x="1951750" y="4988052"/>
                  <a:pt x="1054622" y="5266944"/>
                  <a:pt x="128919" y="5330698"/>
                </a:cubicBezTo>
                <a:cubicBezTo>
                  <a:pt x="55272" y="5333188"/>
                  <a:pt x="-2412" y="5394909"/>
                  <a:pt x="78" y="5468557"/>
                </a:cubicBezTo>
                <a:cubicBezTo>
                  <a:pt x="2568" y="5542204"/>
                  <a:pt x="64289" y="5599888"/>
                  <a:pt x="137936" y="5597398"/>
                </a:cubicBezTo>
                <a:cubicBezTo>
                  <a:pt x="140984" y="5597398"/>
                  <a:pt x="144032" y="5597398"/>
                  <a:pt x="147207" y="5597398"/>
                </a:cubicBezTo>
                <a:cubicBezTo>
                  <a:pt x="1113677" y="5530850"/>
                  <a:pt x="2049540" y="5240274"/>
                  <a:pt x="2928507" y="4733798"/>
                </a:cubicBezTo>
                <a:cubicBezTo>
                  <a:pt x="3796553" y="4233545"/>
                  <a:pt x="4529596" y="3599434"/>
                  <a:pt x="5107066" y="2848991"/>
                </a:cubicBezTo>
                <a:cubicBezTo>
                  <a:pt x="5572820" y="2241642"/>
                  <a:pt x="5937983" y="1563415"/>
                  <a:pt x="6188597" y="840232"/>
                </a:cubicBezTo>
                <a:cubicBezTo>
                  <a:pt x="6284668" y="565016"/>
                  <a:pt x="6364727" y="284469"/>
                  <a:pt x="6428374" y="0"/>
                </a:cubicBezTo>
                <a:lnTo>
                  <a:pt x="6154307" y="0"/>
                </a:lnTo>
                <a:cubicBezTo>
                  <a:pt x="6095493" y="254544"/>
                  <a:pt x="6022869" y="505698"/>
                  <a:pt x="5936756" y="752348"/>
                </a:cubicBezTo>
                <a:cubicBezTo>
                  <a:pt x="5550422" y="1859915"/>
                  <a:pt x="4691267" y="3409442"/>
                  <a:pt x="2795284" y="4502023"/>
                </a:cubicBez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2A558014-1610-414C-BB1A-A38E64AE4FA5}"/>
              </a:ext>
            </a:extLst>
          </p:cNvPr>
          <p:cNvSpPr/>
          <p:nvPr/>
        </p:nvSpPr>
        <p:spPr>
          <a:xfrm>
            <a:off x="0" y="4447921"/>
            <a:ext cx="3996047" cy="1168934"/>
          </a:xfrm>
          <a:custGeom>
            <a:avLst/>
            <a:gdLst>
              <a:gd name="connsiteX0" fmla="*/ 3868674 w 3996047"/>
              <a:gd name="connsiteY0" fmla="*/ 1155192 h 1168934"/>
              <a:gd name="connsiteX1" fmla="*/ 3995911 w 3996047"/>
              <a:gd name="connsiteY1" fmla="*/ 1015997 h 1168934"/>
              <a:gd name="connsiteX2" fmla="*/ 3856717 w 3996047"/>
              <a:gd name="connsiteY2" fmla="*/ 888760 h 1168934"/>
              <a:gd name="connsiteX3" fmla="*/ 3851148 w 3996047"/>
              <a:gd name="connsiteY3" fmla="*/ 889127 h 1168934"/>
              <a:gd name="connsiteX4" fmla="*/ 8255 w 3996047"/>
              <a:gd name="connsiteY4" fmla="*/ 4318 h 1168934"/>
              <a:gd name="connsiteX5" fmla="*/ 0 w 3996047"/>
              <a:gd name="connsiteY5" fmla="*/ 0 h 1168934"/>
              <a:gd name="connsiteX6" fmla="*/ 0 w 3996047"/>
              <a:gd name="connsiteY6" fmla="*/ 299212 h 1168934"/>
              <a:gd name="connsiteX7" fmla="*/ 1660144 w 3996047"/>
              <a:gd name="connsiteY7" fmla="*/ 931037 h 1168934"/>
              <a:gd name="connsiteX8" fmla="*/ 3868674 w 3996047"/>
              <a:gd name="connsiteY8" fmla="*/ 1155192 h 1168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96047" h="1168934">
                <a:moveTo>
                  <a:pt x="3868674" y="1155192"/>
                </a:moveTo>
                <a:cubicBezTo>
                  <a:pt x="3942247" y="1151890"/>
                  <a:pt x="3999213" y="1089570"/>
                  <a:pt x="3995911" y="1015997"/>
                </a:cubicBezTo>
                <a:cubicBezTo>
                  <a:pt x="3992610" y="942424"/>
                  <a:pt x="3930290" y="885458"/>
                  <a:pt x="3856717" y="888760"/>
                </a:cubicBezTo>
                <a:cubicBezTo>
                  <a:pt x="3854858" y="888843"/>
                  <a:pt x="3853001" y="888966"/>
                  <a:pt x="3851148" y="889127"/>
                </a:cubicBezTo>
                <a:cubicBezTo>
                  <a:pt x="2289048" y="991997"/>
                  <a:pt x="899414" y="464820"/>
                  <a:pt x="8255" y="4318"/>
                </a:cubicBezTo>
                <a:lnTo>
                  <a:pt x="0" y="0"/>
                </a:lnTo>
                <a:lnTo>
                  <a:pt x="0" y="299212"/>
                </a:lnTo>
                <a:cubicBezTo>
                  <a:pt x="530207" y="566292"/>
                  <a:pt x="1086527" y="778019"/>
                  <a:pt x="1660144" y="931037"/>
                </a:cubicBezTo>
                <a:cubicBezTo>
                  <a:pt x="2406904" y="1127379"/>
                  <a:pt x="3149600" y="1202563"/>
                  <a:pt x="3868674" y="1155192"/>
                </a:cubicBez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75445441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7" y="666745"/>
            <a:ext cx="9840913" cy="720000"/>
          </a:xfrm>
        </p:spPr>
        <p:txBody>
          <a:bodyPr/>
          <a:lstStyle/>
          <a:p>
            <a:r>
              <a:rPr lang="en-US"/>
              <a:t>Click to edit Master title style</a:t>
            </a:r>
            <a:endParaRPr lang="en-GB" dirty="0"/>
          </a:p>
        </p:txBody>
      </p:sp>
      <p:sp>
        <p:nvSpPr>
          <p:cNvPr id="8" name="Freeform: Shape 7">
            <a:extLst>
              <a:ext uri="{FF2B5EF4-FFF2-40B4-BE49-F238E27FC236}">
                <a16:creationId xmlns:a16="http://schemas.microsoft.com/office/drawing/2014/main" id="{CC53A116-AE64-4BD1-9FAE-4644DD0BE318}"/>
              </a:ext>
            </a:extLst>
          </p:cNvPr>
          <p:cNvSpPr/>
          <p:nvPr userDrawn="1"/>
        </p:nvSpPr>
        <p:spPr>
          <a:xfrm>
            <a:off x="10015704" y="0"/>
            <a:ext cx="2176296" cy="4175528"/>
          </a:xfrm>
          <a:custGeom>
            <a:avLst/>
            <a:gdLst>
              <a:gd name="connsiteX0" fmla="*/ 103142 w 2176296"/>
              <a:gd name="connsiteY0" fmla="*/ 0 h 4175528"/>
              <a:gd name="connsiteX1" fmla="*/ 489726 w 2176296"/>
              <a:gd name="connsiteY1" fmla="*/ 0 h 4175528"/>
              <a:gd name="connsiteX2" fmla="*/ 520852 w 2176296"/>
              <a:gd name="connsiteY2" fmla="*/ 32449 h 4175528"/>
              <a:gd name="connsiteX3" fmla="*/ 960887 w 2176296"/>
              <a:gd name="connsiteY3" fmla="*/ 751382 h 4175528"/>
              <a:gd name="connsiteX4" fmla="*/ 1054090 w 2176296"/>
              <a:gd name="connsiteY4" fmla="*/ 2095042 h 4175528"/>
              <a:gd name="connsiteX5" fmla="*/ 412790 w 2176296"/>
              <a:gd name="connsiteY5" fmla="*/ 3261754 h 4175528"/>
              <a:gd name="connsiteX6" fmla="*/ 1440484 w 2176296"/>
              <a:gd name="connsiteY6" fmla="*/ 3546067 h 4175528"/>
              <a:gd name="connsiteX7" fmla="*/ 1983366 w 2176296"/>
              <a:gd name="connsiteY7" fmla="*/ 3774735 h 4175528"/>
              <a:gd name="connsiteX8" fmla="*/ 2176296 w 2176296"/>
              <a:gd name="connsiteY8" fmla="*/ 3873834 h 4175528"/>
              <a:gd name="connsiteX9" fmla="*/ 2176296 w 2176296"/>
              <a:gd name="connsiteY9" fmla="*/ 4175528 h 4175528"/>
              <a:gd name="connsiteX10" fmla="*/ 2150160 w 2176296"/>
              <a:gd name="connsiteY10" fmla="*/ 4160076 h 4175528"/>
              <a:gd name="connsiteX11" fmla="*/ 1355901 w 2176296"/>
              <a:gd name="connsiteY11" fmla="*/ 3799122 h 4175528"/>
              <a:gd name="connsiteX12" fmla="*/ 119536 w 2176296"/>
              <a:gd name="connsiteY12" fmla="*/ 3486036 h 4175528"/>
              <a:gd name="connsiteX13" fmla="*/ 732 w 2176296"/>
              <a:gd name="connsiteY13" fmla="*/ 3339530 h 4175528"/>
              <a:gd name="connsiteX14" fmla="*/ 42542 w 2176296"/>
              <a:gd name="connsiteY14" fmla="*/ 3255726 h 4175528"/>
              <a:gd name="connsiteX15" fmla="*/ 712245 w 2176296"/>
              <a:gd name="connsiteY15" fmla="*/ 847841 h 4175528"/>
              <a:gd name="connsiteX16" fmla="*/ 204588 w 2176296"/>
              <a:gd name="connsiteY16" fmla="*/ 89932 h 4175528"/>
              <a:gd name="connsiteX17" fmla="*/ 103142 w 2176296"/>
              <a:gd name="connsiteY17" fmla="*/ 0 h 4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6296" h="4175528">
                <a:moveTo>
                  <a:pt x="103142" y="0"/>
                </a:moveTo>
                <a:lnTo>
                  <a:pt x="489726" y="0"/>
                </a:lnTo>
                <a:lnTo>
                  <a:pt x="520852" y="32449"/>
                </a:lnTo>
                <a:cubicBezTo>
                  <a:pt x="708567" y="242737"/>
                  <a:pt x="858030" y="485991"/>
                  <a:pt x="960887" y="751382"/>
                </a:cubicBezTo>
                <a:cubicBezTo>
                  <a:pt x="1128005" y="1179340"/>
                  <a:pt x="1160521" y="1648110"/>
                  <a:pt x="1054090" y="2095042"/>
                </a:cubicBezTo>
                <a:cubicBezTo>
                  <a:pt x="953966" y="2516331"/>
                  <a:pt x="738621" y="2907804"/>
                  <a:pt x="412790" y="3261754"/>
                </a:cubicBezTo>
                <a:cubicBezTo>
                  <a:pt x="762602" y="3328051"/>
                  <a:pt x="1106337" y="3423146"/>
                  <a:pt x="1440484" y="3546067"/>
                </a:cubicBezTo>
                <a:cubicBezTo>
                  <a:pt x="1607006" y="3607097"/>
                  <a:pt x="1790664" y="3682454"/>
                  <a:pt x="1983366" y="3774735"/>
                </a:cubicBezTo>
                <a:lnTo>
                  <a:pt x="2176296" y="3873834"/>
                </a:lnTo>
                <a:lnTo>
                  <a:pt x="2176296" y="4175528"/>
                </a:lnTo>
                <a:lnTo>
                  <a:pt x="2150160" y="4160076"/>
                </a:lnTo>
                <a:cubicBezTo>
                  <a:pt x="1866326" y="4003932"/>
                  <a:pt x="1592891" y="3886307"/>
                  <a:pt x="1355901" y="3799122"/>
                </a:cubicBezTo>
                <a:cubicBezTo>
                  <a:pt x="665797" y="3545249"/>
                  <a:pt x="124919" y="3486595"/>
                  <a:pt x="119536" y="3486036"/>
                </a:cubicBezTo>
                <a:cubicBezTo>
                  <a:pt x="46272" y="3478386"/>
                  <a:pt x="-6918" y="3412793"/>
                  <a:pt x="732" y="3339530"/>
                </a:cubicBezTo>
                <a:cubicBezTo>
                  <a:pt x="4080" y="3307460"/>
                  <a:pt x="18934" y="3277688"/>
                  <a:pt x="42542" y="3255726"/>
                </a:cubicBezTo>
                <a:cubicBezTo>
                  <a:pt x="791657" y="2559451"/>
                  <a:pt x="1035759" y="1681815"/>
                  <a:pt x="712245" y="847841"/>
                </a:cubicBezTo>
                <a:cubicBezTo>
                  <a:pt x="598736" y="555233"/>
                  <a:pt x="422828" y="297865"/>
                  <a:pt x="204588" y="89932"/>
                </a:cubicBezTo>
                <a:lnTo>
                  <a:pt x="103142" y="0"/>
                </a:lnTo>
                <a:close/>
              </a:path>
            </a:pathLst>
          </a:custGeom>
          <a:solidFill>
            <a:schemeClr val="accent2"/>
          </a:solid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95871591"/>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Subtitle 4">
    <p:bg>
      <p:bgPr>
        <a:solidFill>
          <a:schemeClr val="accent2"/>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8E843608-B7C7-4107-B438-6B64438AA4B9}"/>
              </a:ext>
            </a:extLst>
          </p:cNvPr>
          <p:cNvSpPr/>
          <p:nvPr userDrawn="1"/>
        </p:nvSpPr>
        <p:spPr>
          <a:xfrm>
            <a:off x="0" y="4830317"/>
            <a:ext cx="2965628" cy="2027809"/>
          </a:xfrm>
          <a:custGeom>
            <a:avLst/>
            <a:gdLst>
              <a:gd name="connsiteX0" fmla="*/ 2862200 w 2965628"/>
              <a:gd name="connsiteY0" fmla="*/ 990092 h 2027809"/>
              <a:gd name="connsiteX1" fmla="*/ 2427986 w 2965628"/>
              <a:gd name="connsiteY1" fmla="*/ 922655 h 2027809"/>
              <a:gd name="connsiteX2" fmla="*/ 0 w 2965628"/>
              <a:gd name="connsiteY2" fmla="*/ 0 h 2027809"/>
              <a:gd name="connsiteX3" fmla="*/ 0 w 2965628"/>
              <a:gd name="connsiteY3" fmla="*/ 336804 h 2027809"/>
              <a:gd name="connsiteX4" fmla="*/ 612775 w 2965628"/>
              <a:gd name="connsiteY4" fmla="*/ 712216 h 2027809"/>
              <a:gd name="connsiteX5" fmla="*/ 2394332 w 2965628"/>
              <a:gd name="connsiteY5" fmla="*/ 1187196 h 2027809"/>
              <a:gd name="connsiteX6" fmla="*/ 2687321 w 2965628"/>
              <a:gd name="connsiteY6" fmla="*/ 1227709 h 2027809"/>
              <a:gd name="connsiteX7" fmla="*/ 2606802 w 2965628"/>
              <a:gd name="connsiteY7" fmla="*/ 2027810 h 2027809"/>
              <a:gd name="connsiteX8" fmla="*/ 2874900 w 2965628"/>
              <a:gd name="connsiteY8" fmla="*/ 2027810 h 2027809"/>
              <a:gd name="connsiteX9" fmla="*/ 2964943 w 2965628"/>
              <a:gd name="connsiteY9" fmla="*/ 1133475 h 2027809"/>
              <a:gd name="connsiteX10" fmla="*/ 2862200 w 2965628"/>
              <a:gd name="connsiteY10" fmla="*/ 990092 h 202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5628" h="2027809">
                <a:moveTo>
                  <a:pt x="2862200" y="990092"/>
                </a:moveTo>
                <a:cubicBezTo>
                  <a:pt x="2742820" y="962533"/>
                  <a:pt x="2596896" y="943991"/>
                  <a:pt x="2427986" y="922655"/>
                </a:cubicBezTo>
                <a:cubicBezTo>
                  <a:pt x="1797939" y="842645"/>
                  <a:pt x="875411" y="725424"/>
                  <a:pt x="0" y="0"/>
                </a:cubicBezTo>
                <a:lnTo>
                  <a:pt x="0" y="336804"/>
                </a:lnTo>
                <a:cubicBezTo>
                  <a:pt x="192630" y="480000"/>
                  <a:pt x="397710" y="605640"/>
                  <a:pt x="612775" y="712216"/>
                </a:cubicBezTo>
                <a:cubicBezTo>
                  <a:pt x="1289558" y="1046988"/>
                  <a:pt x="1928114" y="1128014"/>
                  <a:pt x="2394332" y="1187196"/>
                </a:cubicBezTo>
                <a:cubicBezTo>
                  <a:pt x="2503171" y="1201039"/>
                  <a:pt x="2601977" y="1213485"/>
                  <a:pt x="2687321" y="1227709"/>
                </a:cubicBezTo>
                <a:lnTo>
                  <a:pt x="2606802" y="2027810"/>
                </a:lnTo>
                <a:lnTo>
                  <a:pt x="2874900" y="2027810"/>
                </a:lnTo>
                <a:lnTo>
                  <a:pt x="2964943" y="1133475"/>
                </a:lnTo>
                <a:cubicBezTo>
                  <a:pt x="2971713" y="1066621"/>
                  <a:pt x="2927682" y="1005173"/>
                  <a:pt x="2862200" y="990092"/>
                </a:cubicBezTo>
                <a:close/>
              </a:path>
            </a:pathLst>
          </a:custGeom>
          <a:solidFill>
            <a:srgbClr val="85ABE3"/>
          </a:solidFill>
          <a:ln w="12700" cap="flat">
            <a:noFill/>
            <a:prstDash val="solid"/>
            <a:miter/>
          </a:ln>
        </p:spPr>
        <p:txBody>
          <a:bodyPr rtlCol="0" anchor="ctr"/>
          <a:lstStyle/>
          <a:p>
            <a:endParaRPr lang="en-GB"/>
          </a:p>
        </p:txBody>
      </p:sp>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2140498"/>
            <a:ext cx="4375151" cy="3274782"/>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
        <p:nvSpPr>
          <p:cNvPr id="12" name="Freeform: Shape 11">
            <a:extLst>
              <a:ext uri="{FF2B5EF4-FFF2-40B4-BE49-F238E27FC236}">
                <a16:creationId xmlns:a16="http://schemas.microsoft.com/office/drawing/2014/main" id="{36075CDD-4EB1-4BFB-AA85-64FE04774B5F}"/>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579542839"/>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Subtitle 5">
    <p:bg>
      <p:bgPr>
        <a:solidFill>
          <a:schemeClr val="accent3"/>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780318471"/>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Subtitle 6">
    <p:bg>
      <p:bgPr>
        <a:solidFill>
          <a:schemeClr val="accent6"/>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077314671"/>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Subtitle 7">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990794113"/>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Subtitle 8">
    <p:bg>
      <p:bgPr>
        <a:solidFill>
          <a:schemeClr val="accent5"/>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grpSp>
        <p:nvGrpSpPr>
          <p:cNvPr id="11" name="Group 10">
            <a:extLst>
              <a:ext uri="{FF2B5EF4-FFF2-40B4-BE49-F238E27FC236}">
                <a16:creationId xmlns:a16="http://schemas.microsoft.com/office/drawing/2014/main" id="{D202DB31-16C5-4FA3-852C-A940D8BE4910}"/>
              </a:ext>
            </a:extLst>
          </p:cNvPr>
          <p:cNvGrpSpPr/>
          <p:nvPr userDrawn="1"/>
        </p:nvGrpSpPr>
        <p:grpSpPr>
          <a:xfrm>
            <a:off x="10733882" y="0"/>
            <a:ext cx="1458118" cy="4629473"/>
            <a:chOff x="10733882" y="0"/>
            <a:chExt cx="1458118" cy="4629473"/>
          </a:xfrm>
        </p:grpSpPr>
        <p:sp>
          <p:nvSpPr>
            <p:cNvPr id="12" name="Freeform: Shape 11">
              <a:extLst>
                <a:ext uri="{FF2B5EF4-FFF2-40B4-BE49-F238E27FC236}">
                  <a16:creationId xmlns:a16="http://schemas.microsoft.com/office/drawing/2014/main" id="{7D4071B5-1F44-4E9B-9556-AA2FFAE39D46}"/>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rgbClr val="005C82"/>
            </a:solidFill>
            <a:ln w="12690" cap="flat">
              <a:noFill/>
              <a:prstDash val="solid"/>
              <a:miter/>
            </a:ln>
          </p:spPr>
          <p:txBody>
            <a:bodyPr rtlCol="0" anchor="ctr"/>
            <a:lstStyle/>
            <a:p>
              <a:endParaRPr lang="en-GB" dirty="0"/>
            </a:p>
          </p:txBody>
        </p:sp>
        <p:sp>
          <p:nvSpPr>
            <p:cNvPr id="13" name="Freeform: Shape 12">
              <a:extLst>
                <a:ext uri="{FF2B5EF4-FFF2-40B4-BE49-F238E27FC236}">
                  <a16:creationId xmlns:a16="http://schemas.microsoft.com/office/drawing/2014/main" id="{80D39D0D-F812-465D-A10D-687AA8034212}"/>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bg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552922700"/>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Subtitle 9">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23F42A6-7097-4D1F-8F48-FDAEECAAEB72}"/>
              </a:ext>
            </a:extLst>
          </p:cNvPr>
          <p:cNvGrpSpPr/>
          <p:nvPr userDrawn="1"/>
        </p:nvGrpSpPr>
        <p:grpSpPr>
          <a:xfrm>
            <a:off x="8944357" y="1706544"/>
            <a:ext cx="3247771" cy="5151963"/>
            <a:chOff x="8944357" y="1706544"/>
            <a:chExt cx="3247771" cy="5151963"/>
          </a:xfrm>
        </p:grpSpPr>
        <p:sp>
          <p:nvSpPr>
            <p:cNvPr id="15" name="Freeform: Shape 14">
              <a:extLst>
                <a:ext uri="{FF2B5EF4-FFF2-40B4-BE49-F238E27FC236}">
                  <a16:creationId xmlns:a16="http://schemas.microsoft.com/office/drawing/2014/main" id="{321533E8-4C38-475F-B611-B8828AB98470}"/>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rgbClr val="9EDED4"/>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002651D8-68D2-4C77-A852-FB29D7F2CA05}"/>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rgbClr val="85ABE3"/>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Tree>
    <p:extLst>
      <p:ext uri="{BB962C8B-B14F-4D97-AF65-F5344CB8AC3E}">
        <p14:creationId xmlns:p14="http://schemas.microsoft.com/office/powerpoint/2010/main" val="1078052601"/>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One Content Right">
    <p:bg>
      <p:bgPr>
        <a:solidFill>
          <a:schemeClr val="accent2"/>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6184899" y="2143471"/>
            <a:ext cx="5286376"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grpSp>
        <p:nvGrpSpPr>
          <p:cNvPr id="2" name="Group 1">
            <a:extLst>
              <a:ext uri="{FF2B5EF4-FFF2-40B4-BE49-F238E27FC236}">
                <a16:creationId xmlns:a16="http://schemas.microsoft.com/office/drawing/2014/main" id="{DD23392F-1141-48BF-934D-1B5AF5F59FAA}"/>
              </a:ext>
            </a:extLst>
          </p:cNvPr>
          <p:cNvGrpSpPr/>
          <p:nvPr userDrawn="1"/>
        </p:nvGrpSpPr>
        <p:grpSpPr>
          <a:xfrm>
            <a:off x="-1782691" y="240179"/>
            <a:ext cx="5985088" cy="6857999"/>
            <a:chOff x="-1782691" y="240179"/>
            <a:chExt cx="5985088" cy="6857999"/>
          </a:xfrm>
        </p:grpSpPr>
        <p:sp>
          <p:nvSpPr>
            <p:cNvPr id="11" name="Freeform: Shape 10">
              <a:extLst>
                <a:ext uri="{FF2B5EF4-FFF2-40B4-BE49-F238E27FC236}">
                  <a16:creationId xmlns:a16="http://schemas.microsoft.com/office/drawing/2014/main" id="{8BC97F1A-7072-4DD4-9C7D-20E5A7F3B667}"/>
                </a:ext>
              </a:extLst>
            </p:cNvPr>
            <p:cNvSpPr/>
            <p:nvPr/>
          </p:nvSpPr>
          <p:spPr>
            <a:xfrm flipH="1">
              <a:off x="-1782691" y="240179"/>
              <a:ext cx="2349849" cy="1903292"/>
            </a:xfrm>
            <a:custGeom>
              <a:avLst/>
              <a:gdLst>
                <a:gd name="connsiteX0" fmla="*/ 18734 w 2366201"/>
                <a:gd name="connsiteY0" fmla="*/ 1701800 h 1903292"/>
                <a:gd name="connsiteX1" fmla="*/ 65249 w 2366201"/>
                <a:gd name="connsiteY1" fmla="*/ 1884559 h 1903292"/>
                <a:gd name="connsiteX2" fmla="*/ 248008 w 2366201"/>
                <a:gd name="connsiteY2" fmla="*/ 1838044 h 1903292"/>
                <a:gd name="connsiteX3" fmla="*/ 250381 w 2366201"/>
                <a:gd name="connsiteY3" fmla="*/ 1833880 h 1903292"/>
                <a:gd name="connsiteX4" fmla="*/ 1527621 w 2366201"/>
                <a:gd name="connsiteY4" fmla="*/ 465074 h 1903292"/>
                <a:gd name="connsiteX5" fmla="*/ 2366202 w 2366201"/>
                <a:gd name="connsiteY5" fmla="*/ 0 h 1903292"/>
                <a:gd name="connsiteX6" fmla="*/ 1770190 w 2366201"/>
                <a:gd name="connsiteY6" fmla="*/ 0 h 1903292"/>
                <a:gd name="connsiteX7" fmla="*/ 1377252 w 2366201"/>
                <a:gd name="connsiteY7" fmla="*/ 244348 h 1903292"/>
                <a:gd name="connsiteX8" fmla="*/ 18734 w 2366201"/>
                <a:gd name="connsiteY8" fmla="*/ 1701800 h 190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6201" h="1903292">
                  <a:moveTo>
                    <a:pt x="18734" y="1701800"/>
                  </a:moveTo>
                  <a:cubicBezTo>
                    <a:pt x="-18889" y="1765112"/>
                    <a:pt x="1937" y="1846936"/>
                    <a:pt x="65249" y="1884559"/>
                  </a:cubicBezTo>
                  <a:cubicBezTo>
                    <a:pt x="128562" y="1922181"/>
                    <a:pt x="210385" y="1901356"/>
                    <a:pt x="248008" y="1838044"/>
                  </a:cubicBezTo>
                  <a:cubicBezTo>
                    <a:pt x="248824" y="1836670"/>
                    <a:pt x="249616" y="1835282"/>
                    <a:pt x="250381" y="1833880"/>
                  </a:cubicBezTo>
                  <a:cubicBezTo>
                    <a:pt x="558484" y="1293622"/>
                    <a:pt x="988124" y="832993"/>
                    <a:pt x="1527621" y="465074"/>
                  </a:cubicBezTo>
                  <a:cubicBezTo>
                    <a:pt x="1791749" y="283777"/>
                    <a:pt x="2072543" y="128049"/>
                    <a:pt x="2366202" y="0"/>
                  </a:cubicBezTo>
                  <a:lnTo>
                    <a:pt x="1770190" y="0"/>
                  </a:lnTo>
                  <a:cubicBezTo>
                    <a:pt x="1637263" y="75099"/>
                    <a:pt x="1506285" y="156549"/>
                    <a:pt x="1377252" y="244348"/>
                  </a:cubicBezTo>
                  <a:cubicBezTo>
                    <a:pt x="804101" y="635000"/>
                    <a:pt x="347028" y="1125474"/>
                    <a:pt x="18734" y="1701800"/>
                  </a:cubicBezTo>
                  <a:close/>
                </a:path>
              </a:pathLst>
            </a:custGeom>
            <a:solidFill>
              <a:schemeClr val="accent6"/>
            </a:solidFill>
            <a:ln w="12700" cap="flat">
              <a:noFill/>
              <a:prstDash val="solid"/>
              <a:miter/>
            </a:ln>
          </p:spPr>
          <p:txBody>
            <a:bodyPr rtlCol="0" anchor="ctr"/>
            <a:lstStyle/>
            <a:p>
              <a:endParaRPr lang="en-GB" dirty="0"/>
            </a:p>
          </p:txBody>
        </p:sp>
        <p:sp>
          <p:nvSpPr>
            <p:cNvPr id="12" name="Freeform: Shape 11">
              <a:extLst>
                <a:ext uri="{FF2B5EF4-FFF2-40B4-BE49-F238E27FC236}">
                  <a16:creationId xmlns:a16="http://schemas.microsoft.com/office/drawing/2014/main" id="{0C842388-7877-49D2-B401-D6C1377BF4FF}"/>
                </a:ext>
              </a:extLst>
            </p:cNvPr>
            <p:cNvSpPr/>
            <p:nvPr/>
          </p:nvSpPr>
          <p:spPr>
            <a:xfrm flipH="1">
              <a:off x="327475" y="1888637"/>
              <a:ext cx="3874922" cy="5209541"/>
            </a:xfrm>
            <a:custGeom>
              <a:avLst/>
              <a:gdLst>
                <a:gd name="connsiteX0" fmla="*/ 797179 w 3901887"/>
                <a:gd name="connsiteY0" fmla="*/ 4469132 h 5209541"/>
                <a:gd name="connsiteX1" fmla="*/ 3281807 w 3901887"/>
                <a:gd name="connsiteY1" fmla="*/ 4198876 h 5209541"/>
                <a:gd name="connsiteX2" fmla="*/ 3459460 w 3901887"/>
                <a:gd name="connsiteY2" fmla="*/ 4135066 h 5209541"/>
                <a:gd name="connsiteX3" fmla="*/ 3467226 w 3901887"/>
                <a:gd name="connsiteY3" fmla="*/ 4042031 h 5209541"/>
                <a:gd name="connsiteX4" fmla="*/ 3299841 w 3901887"/>
                <a:gd name="connsiteY4" fmla="*/ 2777619 h 5209541"/>
                <a:gd name="connsiteX5" fmla="*/ 3885437 w 3901887"/>
                <a:gd name="connsiteY5" fmla="*/ 197487 h 5209541"/>
                <a:gd name="connsiteX6" fmla="*/ 3832628 w 3901887"/>
                <a:gd name="connsiteY6" fmla="*/ 16447 h 5209541"/>
                <a:gd name="connsiteX7" fmla="*/ 3653409 w 3901887"/>
                <a:gd name="connsiteY7" fmla="*/ 66042 h 5209541"/>
                <a:gd name="connsiteX8" fmla="*/ 3033395 w 3901887"/>
                <a:gd name="connsiteY8" fmla="*/ 2792859 h 5209541"/>
                <a:gd name="connsiteX9" fmla="*/ 3150235 w 3901887"/>
                <a:gd name="connsiteY9" fmla="*/ 3852801 h 5209541"/>
                <a:gd name="connsiteX10" fmla="*/ 1829435 w 3901887"/>
                <a:gd name="connsiteY10" fmla="*/ 3689479 h 5209541"/>
                <a:gd name="connsiteX11" fmla="*/ 615950 w 3901887"/>
                <a:gd name="connsiteY11" fmla="*/ 4273679 h 5209541"/>
                <a:gd name="connsiteX12" fmla="*/ 0 w 3901887"/>
                <a:gd name="connsiteY12" fmla="*/ 5209542 h 5209541"/>
                <a:gd name="connsiteX13" fmla="*/ 286258 w 3901887"/>
                <a:gd name="connsiteY13" fmla="*/ 5209542 h 5209541"/>
                <a:gd name="connsiteX14" fmla="*/ 797179 w 3901887"/>
                <a:gd name="connsiteY14" fmla="*/ 4469132 h 5209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01887" h="5209541">
                  <a:moveTo>
                    <a:pt x="797179" y="4469132"/>
                  </a:moveTo>
                  <a:cubicBezTo>
                    <a:pt x="1451863" y="3859532"/>
                    <a:pt x="2357500" y="3761107"/>
                    <a:pt x="3281807" y="4198876"/>
                  </a:cubicBezTo>
                  <a:cubicBezTo>
                    <a:pt x="3348485" y="4230313"/>
                    <a:pt x="3428023" y="4201744"/>
                    <a:pt x="3459460" y="4135066"/>
                  </a:cubicBezTo>
                  <a:cubicBezTo>
                    <a:pt x="3473163" y="4106000"/>
                    <a:pt x="3475921" y="4072967"/>
                    <a:pt x="3467226" y="4042031"/>
                  </a:cubicBezTo>
                  <a:cubicBezTo>
                    <a:pt x="3465703" y="4036824"/>
                    <a:pt x="3319780" y="3512695"/>
                    <a:pt x="3299841" y="2777619"/>
                  </a:cubicBezTo>
                  <a:cubicBezTo>
                    <a:pt x="3281553" y="2104519"/>
                    <a:pt x="3368421" y="1110490"/>
                    <a:pt x="3885437" y="197487"/>
                  </a:cubicBezTo>
                  <a:cubicBezTo>
                    <a:pt x="3920848" y="132911"/>
                    <a:pt x="3897204" y="51856"/>
                    <a:pt x="3832628" y="16447"/>
                  </a:cubicBezTo>
                  <a:cubicBezTo>
                    <a:pt x="3769313" y="-18272"/>
                    <a:pt x="3689867" y="3713"/>
                    <a:pt x="3653409" y="66042"/>
                  </a:cubicBezTo>
                  <a:cubicBezTo>
                    <a:pt x="3104642" y="1035052"/>
                    <a:pt x="3013329" y="2083691"/>
                    <a:pt x="3033395" y="2792859"/>
                  </a:cubicBezTo>
                  <a:cubicBezTo>
                    <a:pt x="3043054" y="3148790"/>
                    <a:pt x="3082134" y="3503312"/>
                    <a:pt x="3150235" y="3852801"/>
                  </a:cubicBezTo>
                  <a:cubicBezTo>
                    <a:pt x="2700655" y="3681224"/>
                    <a:pt x="2257298" y="3626360"/>
                    <a:pt x="1829435" y="3689479"/>
                  </a:cubicBezTo>
                  <a:cubicBezTo>
                    <a:pt x="1374903" y="3756149"/>
                    <a:pt x="951548" y="3959962"/>
                    <a:pt x="615950" y="4273679"/>
                  </a:cubicBezTo>
                  <a:cubicBezTo>
                    <a:pt x="338451" y="4531638"/>
                    <a:pt x="127176" y="4852646"/>
                    <a:pt x="0" y="5209542"/>
                  </a:cubicBezTo>
                  <a:lnTo>
                    <a:pt x="286258" y="5209542"/>
                  </a:lnTo>
                  <a:cubicBezTo>
                    <a:pt x="400867" y="4928613"/>
                    <a:pt x="575203" y="4675972"/>
                    <a:pt x="797179" y="4469132"/>
                  </a:cubicBezTo>
                  <a:close/>
                </a:path>
              </a:pathLst>
            </a:custGeom>
            <a:solidFill>
              <a:srgbClr val="FFFFFF"/>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2302336640"/>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73FF853F-1700-4061-8D05-4C80124D5391}"/>
              </a:ext>
            </a:extLst>
          </p:cNvPr>
          <p:cNvSpPr/>
          <p:nvPr/>
        </p:nvSpPr>
        <p:spPr>
          <a:xfrm>
            <a:off x="0" y="-1"/>
            <a:ext cx="12192000" cy="6857357"/>
          </a:xfrm>
          <a:custGeom>
            <a:avLst/>
            <a:gdLst>
              <a:gd name="connsiteX0" fmla="*/ 0 w 1280120"/>
              <a:gd name="connsiteY0" fmla="*/ 0 h 720000"/>
              <a:gd name="connsiteX1" fmla="*/ 1280120 w 1280120"/>
              <a:gd name="connsiteY1" fmla="*/ 0 h 720000"/>
              <a:gd name="connsiteX2" fmla="*/ 1280120 w 1280120"/>
              <a:gd name="connsiteY2" fmla="*/ 720000 h 720000"/>
              <a:gd name="connsiteX3" fmla="*/ 0 w 1280120"/>
              <a:gd name="connsiteY3" fmla="*/ 720000 h 720000"/>
            </a:gdLst>
            <a:ahLst/>
            <a:cxnLst>
              <a:cxn ang="0">
                <a:pos x="connsiteX0" y="connsiteY0"/>
              </a:cxn>
              <a:cxn ang="0">
                <a:pos x="connsiteX1" y="connsiteY1"/>
              </a:cxn>
              <a:cxn ang="0">
                <a:pos x="connsiteX2" y="connsiteY2"/>
              </a:cxn>
              <a:cxn ang="0">
                <a:pos x="connsiteX3" y="connsiteY3"/>
              </a:cxn>
            </a:cxnLst>
            <a:rect l="l" t="t" r="r" b="b"/>
            <a:pathLst>
              <a:path w="1280120" h="720000">
                <a:moveTo>
                  <a:pt x="0" y="0"/>
                </a:moveTo>
                <a:lnTo>
                  <a:pt x="1280120" y="0"/>
                </a:lnTo>
                <a:lnTo>
                  <a:pt x="1280120" y="720000"/>
                </a:lnTo>
                <a:lnTo>
                  <a:pt x="0" y="720000"/>
                </a:lnTo>
                <a:close/>
              </a:path>
            </a:pathLst>
          </a:custGeom>
          <a:noFill/>
          <a:ln w="1330" cap="flat">
            <a:noFill/>
            <a:prstDash val="solid"/>
            <a:miter/>
          </a:ln>
        </p:spPr>
        <p:txBody>
          <a:bodyPr rtlCol="0" anchor="ctr"/>
          <a:lstStyle/>
          <a:p>
            <a:endParaRPr lang="en-GB" dirty="0"/>
          </a:p>
        </p:txBody>
      </p:sp>
      <p:sp>
        <p:nvSpPr>
          <p:cNvPr id="4" name="Date Placeholder 1">
            <a:extLst>
              <a:ext uri="{FF2B5EF4-FFF2-40B4-BE49-F238E27FC236}">
                <a16:creationId xmlns:a16="http://schemas.microsoft.com/office/drawing/2014/main" id="{E6B42DA3-9CCD-4D6E-87E7-1EA69180B150}"/>
              </a:ext>
            </a:extLst>
          </p:cNvPr>
          <p:cNvSpPr>
            <a:spLocks noGrp="1"/>
          </p:cNvSpPr>
          <p:nvPr userDrawn="1">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userDrawn="1">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userDrawn="1">
            <p:ph idx="1"/>
          </p:nvPr>
        </p:nvSpPr>
        <p:spPr>
          <a:xfrm>
            <a:off x="719137" y="2128838"/>
            <a:ext cx="10752137"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userDrawn="1">
            <p:ph type="subTitle" idx="12"/>
          </p:nvPr>
        </p:nvSpPr>
        <p:spPr>
          <a:xfrm>
            <a:off x="719137" y="1266739"/>
            <a:ext cx="1002030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userDrawn="1">
            <p:ph type="title"/>
          </p:nvPr>
        </p:nvSpPr>
        <p:spPr>
          <a:xfrm>
            <a:off x="719137" y="666745"/>
            <a:ext cx="9110663" cy="720000"/>
          </a:xfrm>
        </p:spPr>
        <p:txBody>
          <a:bodyPr/>
          <a:lstStyle/>
          <a:p>
            <a:pPr lvl="0"/>
            <a:r>
              <a:rPr lang="en-US"/>
              <a:t>Click to edit Master title style</a:t>
            </a:r>
            <a:endParaRPr lang="en-GB" dirty="0"/>
          </a:p>
        </p:txBody>
      </p:sp>
      <p:sp>
        <p:nvSpPr>
          <p:cNvPr id="21" name="Freeform: Shape 20">
            <a:extLst>
              <a:ext uri="{FF2B5EF4-FFF2-40B4-BE49-F238E27FC236}">
                <a16:creationId xmlns:a16="http://schemas.microsoft.com/office/drawing/2014/main" id="{7EF30BA1-DAC8-4EBD-95C0-F7481F97E296}"/>
              </a:ext>
            </a:extLst>
          </p:cNvPr>
          <p:cNvSpPr/>
          <p:nvPr userDrawn="1"/>
        </p:nvSpPr>
        <p:spPr>
          <a:xfrm>
            <a:off x="8828904" y="0"/>
            <a:ext cx="3363096" cy="3729110"/>
          </a:xfrm>
          <a:custGeom>
            <a:avLst/>
            <a:gdLst>
              <a:gd name="connsiteX0" fmla="*/ 0 w 3363096"/>
              <a:gd name="connsiteY0" fmla="*/ 0 h 3729110"/>
              <a:gd name="connsiteX1" fmla="*/ 728074 w 3363096"/>
              <a:gd name="connsiteY1" fmla="*/ 0 h 3729110"/>
              <a:gd name="connsiteX2" fmla="*/ 968906 w 3363096"/>
              <a:gd name="connsiteY2" fmla="*/ 116498 h 3729110"/>
              <a:gd name="connsiteX3" fmla="*/ 3096120 w 3363096"/>
              <a:gd name="connsiteY3" fmla="*/ 2231288 h 3729110"/>
              <a:gd name="connsiteX4" fmla="*/ 3240633 w 3363096"/>
              <a:gd name="connsiteY4" fmla="*/ 2529001 h 3729110"/>
              <a:gd name="connsiteX5" fmla="*/ 3363096 w 3363096"/>
              <a:gd name="connsiteY5" fmla="*/ 2824201 h 3729110"/>
              <a:gd name="connsiteX6" fmla="*/ 3363096 w 3363096"/>
              <a:gd name="connsiteY6" fmla="*/ 3729110 h 3729110"/>
              <a:gd name="connsiteX7" fmla="*/ 3328737 w 3363096"/>
              <a:gd name="connsiteY7" fmla="*/ 3584522 h 3729110"/>
              <a:gd name="connsiteX8" fmla="*/ 2859849 w 3363096"/>
              <a:gd name="connsiteY8" fmla="*/ 2354986 h 3729110"/>
              <a:gd name="connsiteX9" fmla="*/ 277127 w 3363096"/>
              <a:gd name="connsiteY9" fmla="*/ 98569 h 3729110"/>
              <a:gd name="connsiteX10" fmla="*/ 0 w 3363096"/>
              <a:gd name="connsiteY10" fmla="*/ 0 h 372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3096" h="3729110">
                <a:moveTo>
                  <a:pt x="0" y="0"/>
                </a:moveTo>
                <a:lnTo>
                  <a:pt x="728074" y="0"/>
                </a:lnTo>
                <a:lnTo>
                  <a:pt x="968906" y="116498"/>
                </a:lnTo>
                <a:cubicBezTo>
                  <a:pt x="1900050" y="599885"/>
                  <a:pt x="2612194" y="1306901"/>
                  <a:pt x="3096120" y="2231288"/>
                </a:cubicBezTo>
                <a:cubicBezTo>
                  <a:pt x="3146748" y="2327997"/>
                  <a:pt x="3194924" y="2427252"/>
                  <a:pt x="3240633" y="2529001"/>
                </a:cubicBezTo>
                <a:lnTo>
                  <a:pt x="3363096" y="2824201"/>
                </a:lnTo>
                <a:lnTo>
                  <a:pt x="3363096" y="3729110"/>
                </a:lnTo>
                <a:lnTo>
                  <a:pt x="3328737" y="3584522"/>
                </a:lnTo>
                <a:cubicBezTo>
                  <a:pt x="3210521" y="3136652"/>
                  <a:pt x="3053949" y="2725763"/>
                  <a:pt x="2859849" y="2354986"/>
                </a:cubicBezTo>
                <a:cubicBezTo>
                  <a:pt x="2309303" y="1303371"/>
                  <a:pt x="1443340" y="547810"/>
                  <a:pt x="277127" y="98569"/>
                </a:cubicBezTo>
                <a:lnTo>
                  <a:pt x="0" y="0"/>
                </a:ln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B4938F81-27E5-4205-B28F-059205C194F7}"/>
              </a:ext>
            </a:extLst>
          </p:cNvPr>
          <p:cNvSpPr/>
          <p:nvPr userDrawn="1"/>
        </p:nvSpPr>
        <p:spPr>
          <a:xfrm>
            <a:off x="1" y="-1"/>
            <a:ext cx="12193208" cy="6858001"/>
          </a:xfrm>
          <a:custGeom>
            <a:avLst/>
            <a:gdLst>
              <a:gd name="connsiteX0" fmla="*/ 0 w 12193208"/>
              <a:gd name="connsiteY0" fmla="*/ 0 h 6858001"/>
              <a:gd name="connsiteX1" fmla="*/ 12193208 w 12193208"/>
              <a:gd name="connsiteY1" fmla="*/ 0 h 6858001"/>
              <a:gd name="connsiteX2" fmla="*/ 12193208 w 12193208"/>
              <a:gd name="connsiteY2" fmla="*/ 6858001 h 6858001"/>
              <a:gd name="connsiteX3" fmla="*/ 0 w 12193208"/>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208" h="6858001">
                <a:moveTo>
                  <a:pt x="0" y="0"/>
                </a:moveTo>
                <a:lnTo>
                  <a:pt x="12193208" y="0"/>
                </a:lnTo>
                <a:lnTo>
                  <a:pt x="12193208"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066675012"/>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9840913"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grpSp>
        <p:nvGrpSpPr>
          <p:cNvPr id="24" name="Group 23">
            <a:extLst>
              <a:ext uri="{FF2B5EF4-FFF2-40B4-BE49-F238E27FC236}">
                <a16:creationId xmlns:a16="http://schemas.microsoft.com/office/drawing/2014/main" id="{1F6D1870-CBAC-40FE-93C3-CEC6F8B5FC5C}"/>
              </a:ext>
            </a:extLst>
          </p:cNvPr>
          <p:cNvGrpSpPr/>
          <p:nvPr userDrawn="1"/>
        </p:nvGrpSpPr>
        <p:grpSpPr>
          <a:xfrm>
            <a:off x="10733882" y="0"/>
            <a:ext cx="1458118" cy="4629473"/>
            <a:chOff x="10733882" y="0"/>
            <a:chExt cx="1458118" cy="4629473"/>
          </a:xfrm>
        </p:grpSpPr>
        <p:sp>
          <p:nvSpPr>
            <p:cNvPr id="23" name="Freeform: Shape 22">
              <a:extLst>
                <a:ext uri="{FF2B5EF4-FFF2-40B4-BE49-F238E27FC236}">
                  <a16:creationId xmlns:a16="http://schemas.microsoft.com/office/drawing/2014/main" id="{7FA73F1C-0C77-460E-8713-00D68890376A}"/>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rgbClr val="005C82"/>
            </a:solidFill>
            <a:ln w="12690"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88F300F0-88EC-4B44-8816-B3D1834130B0}"/>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accent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30132961"/>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rgbClr val="FFE84C"/>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998798633"/>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3">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205414553"/>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27369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
        <p:nvSpPr>
          <p:cNvPr id="22" name="Freeform: Shape 21">
            <a:extLst>
              <a:ext uri="{FF2B5EF4-FFF2-40B4-BE49-F238E27FC236}">
                <a16:creationId xmlns:a16="http://schemas.microsoft.com/office/drawing/2014/main" id="{2EED502E-C7AA-4CAB-8C16-D9B1E95B4C90}"/>
              </a:ext>
            </a:extLst>
          </p:cNvPr>
          <p:cNvSpPr/>
          <p:nvPr userDrawn="1"/>
        </p:nvSpPr>
        <p:spPr>
          <a:xfrm>
            <a:off x="10849636" y="4991211"/>
            <a:ext cx="1342365" cy="795586"/>
          </a:xfrm>
          <a:custGeom>
            <a:avLst/>
            <a:gdLst>
              <a:gd name="connsiteX0" fmla="*/ 1342365 w 1342365"/>
              <a:gd name="connsiteY0" fmla="*/ 0 h 795586"/>
              <a:gd name="connsiteX1" fmla="*/ 1342365 w 1342365"/>
              <a:gd name="connsiteY1" fmla="*/ 310659 h 795586"/>
              <a:gd name="connsiteX2" fmla="*/ 1175229 w 1342365"/>
              <a:gd name="connsiteY2" fmla="*/ 404301 h 795586"/>
              <a:gd name="connsiteX3" fmla="*/ 166319 w 1342365"/>
              <a:gd name="connsiteY3" fmla="*/ 791416 h 795586"/>
              <a:gd name="connsiteX4" fmla="*/ 133252 w 1342365"/>
              <a:gd name="connsiteY4" fmla="*/ 795586 h 795586"/>
              <a:gd name="connsiteX5" fmla="*/ 0 w 1342365"/>
              <a:gd name="connsiteY5" fmla="*/ 662105 h 795586"/>
              <a:gd name="connsiteX6" fmla="*/ 100375 w 1342365"/>
              <a:gd name="connsiteY6" fmla="*/ 532998 h 795586"/>
              <a:gd name="connsiteX7" fmla="*/ 1277902 w 1342365"/>
              <a:gd name="connsiteY7" fmla="*/ 41089 h 795586"/>
              <a:gd name="connsiteX8" fmla="*/ 1342365 w 1342365"/>
              <a:gd name="connsiteY8" fmla="*/ 0 h 79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365" h="795586">
                <a:moveTo>
                  <a:pt x="1342365" y="0"/>
                </a:moveTo>
                <a:lnTo>
                  <a:pt x="1342365" y="310659"/>
                </a:lnTo>
                <a:lnTo>
                  <a:pt x="1175229" y="404301"/>
                </a:lnTo>
                <a:cubicBezTo>
                  <a:pt x="853625" y="572605"/>
                  <a:pt x="516572" y="702036"/>
                  <a:pt x="166319" y="791416"/>
                </a:cubicBezTo>
                <a:cubicBezTo>
                  <a:pt x="155514" y="794180"/>
                  <a:pt x="144405" y="795581"/>
                  <a:pt x="133252" y="795586"/>
                </a:cubicBezTo>
                <a:cubicBezTo>
                  <a:pt x="59596" y="795522"/>
                  <a:pt x="-63" y="735761"/>
                  <a:pt x="0" y="662105"/>
                </a:cubicBezTo>
                <a:cubicBezTo>
                  <a:pt x="52" y="601198"/>
                  <a:pt x="41361" y="548065"/>
                  <a:pt x="100375" y="532998"/>
                </a:cubicBezTo>
                <a:cubicBezTo>
                  <a:pt x="513437" y="427588"/>
                  <a:pt x="907329" y="262895"/>
                  <a:pt x="1277902" y="41089"/>
                </a:cubicBezTo>
                <a:lnTo>
                  <a:pt x="1342365" y="0"/>
                </a:lnTo>
                <a:close/>
              </a:path>
            </a:pathLst>
          </a:custGeom>
          <a:solidFill>
            <a:srgbClr val="005C82"/>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F347DFF4-3BA3-4254-8FCD-6F3D10FE181D}"/>
              </a:ext>
            </a:extLst>
          </p:cNvPr>
          <p:cNvSpPr/>
          <p:nvPr userDrawn="1"/>
        </p:nvSpPr>
        <p:spPr>
          <a:xfrm>
            <a:off x="6242805" y="4837629"/>
            <a:ext cx="4856836" cy="2019647"/>
          </a:xfrm>
          <a:custGeom>
            <a:avLst/>
            <a:gdLst>
              <a:gd name="connsiteX0" fmla="*/ 414366 w 4856836"/>
              <a:gd name="connsiteY0" fmla="*/ 2013 h 2019647"/>
              <a:gd name="connsiteX1" fmla="*/ 506569 w 4856836"/>
              <a:gd name="connsiteY1" fmla="*/ 19315 h 2019647"/>
              <a:gd name="connsiteX2" fmla="*/ 1793206 w 4856836"/>
              <a:gd name="connsiteY2" fmla="*/ 563337 h 2019647"/>
              <a:gd name="connsiteX3" fmla="*/ 4690854 w 4856836"/>
              <a:gd name="connsiteY3" fmla="*/ 694325 h 2019647"/>
              <a:gd name="connsiteX4" fmla="*/ 4852759 w 4856836"/>
              <a:gd name="connsiteY4" fmla="*/ 791034 h 2019647"/>
              <a:gd name="connsiteX5" fmla="*/ 4756049 w 4856836"/>
              <a:gd name="connsiteY5" fmla="*/ 952939 h 2019647"/>
              <a:gd name="connsiteX6" fmla="*/ 3105915 w 4856836"/>
              <a:gd name="connsiteY6" fmla="*/ 1085146 h 2019647"/>
              <a:gd name="connsiteX7" fmla="*/ 1707916 w 4856836"/>
              <a:gd name="connsiteY7" fmla="*/ 816157 h 2019647"/>
              <a:gd name="connsiteX8" fmla="*/ 605961 w 4856836"/>
              <a:gd name="connsiteY8" fmla="*/ 376370 h 2019647"/>
              <a:gd name="connsiteX9" fmla="*/ 398316 w 4856836"/>
              <a:gd name="connsiteY9" fmla="*/ 1833149 h 2019647"/>
              <a:gd name="connsiteX10" fmla="*/ 316644 w 4856836"/>
              <a:gd name="connsiteY10" fmla="*/ 2001258 h 2019647"/>
              <a:gd name="connsiteX11" fmla="*/ 305914 w 4856836"/>
              <a:gd name="connsiteY11" fmla="*/ 2019647 h 2019647"/>
              <a:gd name="connsiteX12" fmla="*/ 0 w 4856836"/>
              <a:gd name="connsiteY12" fmla="*/ 2019647 h 2019647"/>
              <a:gd name="connsiteX13" fmla="*/ 34107 w 4856836"/>
              <a:gd name="connsiteY13" fmla="*/ 1967301 h 2019647"/>
              <a:gd name="connsiteX14" fmla="*/ 306107 w 4856836"/>
              <a:gd name="connsiteY14" fmla="*/ 156429 h 2019647"/>
              <a:gd name="connsiteX15" fmla="*/ 414366 w 4856836"/>
              <a:gd name="connsiteY15" fmla="*/ 2013 h 2019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56836" h="2019647">
                <a:moveTo>
                  <a:pt x="414366" y="2013"/>
                </a:moveTo>
                <a:cubicBezTo>
                  <a:pt x="446182" y="-3578"/>
                  <a:pt x="478945" y="2570"/>
                  <a:pt x="506569" y="19315"/>
                </a:cubicBezTo>
                <a:cubicBezTo>
                  <a:pt x="511580" y="22341"/>
                  <a:pt x="1022667" y="328729"/>
                  <a:pt x="1793206" y="563337"/>
                </a:cubicBezTo>
                <a:cubicBezTo>
                  <a:pt x="2499326" y="778333"/>
                  <a:pt x="3575224" y="975573"/>
                  <a:pt x="4690854" y="694325"/>
                </a:cubicBezTo>
                <a:cubicBezTo>
                  <a:pt x="4762268" y="676322"/>
                  <a:pt x="4834755" y="719620"/>
                  <a:pt x="4852759" y="791034"/>
                </a:cubicBezTo>
                <a:cubicBezTo>
                  <a:pt x="4870763" y="862449"/>
                  <a:pt x="4827464" y="934936"/>
                  <a:pt x="4756049" y="952939"/>
                </a:cubicBezTo>
                <a:cubicBezTo>
                  <a:pt x="4235065" y="1084273"/>
                  <a:pt x="3679881" y="1128760"/>
                  <a:pt x="3105915" y="1085146"/>
                </a:cubicBezTo>
                <a:cubicBezTo>
                  <a:pt x="2631446" y="1047130"/>
                  <a:pt x="2162615" y="956922"/>
                  <a:pt x="1707916" y="816157"/>
                </a:cubicBezTo>
                <a:cubicBezTo>
                  <a:pt x="1328864" y="700870"/>
                  <a:pt x="960233" y="553751"/>
                  <a:pt x="605961" y="376370"/>
                </a:cubicBezTo>
                <a:cubicBezTo>
                  <a:pt x="660472" y="906557"/>
                  <a:pt x="590920" y="1395545"/>
                  <a:pt x="398316" y="1833149"/>
                </a:cubicBezTo>
                <a:cubicBezTo>
                  <a:pt x="373170" y="1890349"/>
                  <a:pt x="345917" y="1946419"/>
                  <a:pt x="316644" y="2001258"/>
                </a:cubicBezTo>
                <a:lnTo>
                  <a:pt x="305914" y="2019647"/>
                </a:lnTo>
                <a:lnTo>
                  <a:pt x="0" y="2019647"/>
                </a:lnTo>
                <a:lnTo>
                  <a:pt x="34107" y="1967301"/>
                </a:lnTo>
                <a:cubicBezTo>
                  <a:pt x="329331" y="1471210"/>
                  <a:pt x="427687" y="848162"/>
                  <a:pt x="306107" y="156429"/>
                </a:cubicBezTo>
                <a:cubicBezTo>
                  <a:pt x="293361" y="83893"/>
                  <a:pt x="341830" y="14759"/>
                  <a:pt x="414366" y="2013"/>
                </a:cubicBezTo>
                <a:close/>
              </a:path>
            </a:pathLst>
          </a:custGeom>
          <a:solidFill>
            <a:srgbClr val="85ABE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749845379"/>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ntent 4">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455454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02030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020301" cy="720000"/>
          </a:xfrm>
        </p:spPr>
        <p:txBody>
          <a:body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4ED4FA2E-BB61-419C-9C40-ADC558A0472A}"/>
              </a:ext>
            </a:extLst>
          </p:cNvPr>
          <p:cNvGrpSpPr/>
          <p:nvPr userDrawn="1"/>
        </p:nvGrpSpPr>
        <p:grpSpPr>
          <a:xfrm>
            <a:off x="10733882" y="0"/>
            <a:ext cx="1458118" cy="4629473"/>
            <a:chOff x="10733882" y="0"/>
            <a:chExt cx="1458118" cy="4629473"/>
          </a:xfrm>
        </p:grpSpPr>
        <p:sp>
          <p:nvSpPr>
            <p:cNvPr id="20" name="Freeform: Shape 19">
              <a:extLst>
                <a:ext uri="{FF2B5EF4-FFF2-40B4-BE49-F238E27FC236}">
                  <a16:creationId xmlns:a16="http://schemas.microsoft.com/office/drawing/2014/main" id="{3E5198A0-3E34-4A3C-BF63-5B0BE0A7CDD5}"/>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rgbClr val="005C82"/>
            </a:solidFill>
            <a:ln w="12690"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A421163C-FF91-4CA0-9AA0-81D8F30EC952}"/>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accent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2580292748"/>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ntent 5">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5273675" y="2128838"/>
            <a:ext cx="437515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437515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1" name="Freeform: Shape 10">
            <a:extLst>
              <a:ext uri="{FF2B5EF4-FFF2-40B4-BE49-F238E27FC236}">
                <a16:creationId xmlns:a16="http://schemas.microsoft.com/office/drawing/2014/main" id="{91F8207E-FBEF-454B-A804-A68BB4023C31}"/>
              </a:ext>
            </a:extLst>
          </p:cNvPr>
          <p:cNvSpPr/>
          <p:nvPr/>
        </p:nvSpPr>
        <p:spPr>
          <a:xfrm>
            <a:off x="2" y="-1"/>
            <a:ext cx="12193204" cy="6857999"/>
          </a:xfrm>
          <a:custGeom>
            <a:avLst/>
            <a:gdLst>
              <a:gd name="connsiteX0" fmla="*/ 0 w 12193204"/>
              <a:gd name="connsiteY0" fmla="*/ 0 h 6857999"/>
              <a:gd name="connsiteX1" fmla="*/ 12193204 w 12193204"/>
              <a:gd name="connsiteY1" fmla="*/ 0 h 6857999"/>
              <a:gd name="connsiteX2" fmla="*/ 12193204 w 12193204"/>
              <a:gd name="connsiteY2" fmla="*/ 6857999 h 6857999"/>
              <a:gd name="connsiteX3" fmla="*/ 0 w 1219320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204" h="6857999">
                <a:moveTo>
                  <a:pt x="0" y="0"/>
                </a:moveTo>
                <a:lnTo>
                  <a:pt x="12193204" y="0"/>
                </a:lnTo>
                <a:lnTo>
                  <a:pt x="12193204" y="6857999"/>
                </a:lnTo>
                <a:lnTo>
                  <a:pt x="0" y="6857999"/>
                </a:lnTo>
                <a:close/>
              </a:path>
            </a:pathLst>
          </a:custGeom>
          <a:noFill/>
          <a:ln w="1269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7397474-9EF1-4786-9F3A-D567C56BA18F}"/>
              </a:ext>
            </a:extLst>
          </p:cNvPr>
          <p:cNvSpPr/>
          <p:nvPr/>
        </p:nvSpPr>
        <p:spPr>
          <a:xfrm>
            <a:off x="8756757" y="-736501"/>
            <a:ext cx="82489" cy="51643"/>
          </a:xfrm>
          <a:custGeom>
            <a:avLst/>
            <a:gdLst>
              <a:gd name="connsiteX0" fmla="*/ 82489 w 82489"/>
              <a:gd name="connsiteY0" fmla="*/ 0 h 51643"/>
              <a:gd name="connsiteX1" fmla="*/ 0 w 82489"/>
              <a:gd name="connsiteY1" fmla="*/ 51643 h 51643"/>
              <a:gd name="connsiteX2" fmla="*/ 82489 w 82489"/>
              <a:gd name="connsiteY2" fmla="*/ 0 h 51643"/>
            </a:gdLst>
            <a:ahLst/>
            <a:cxnLst>
              <a:cxn ang="0">
                <a:pos x="connsiteX0" y="connsiteY0"/>
              </a:cxn>
              <a:cxn ang="0">
                <a:pos x="connsiteX1" y="connsiteY1"/>
              </a:cxn>
              <a:cxn ang="0">
                <a:pos x="connsiteX2" y="connsiteY2"/>
              </a:cxn>
            </a:cxnLst>
            <a:rect l="l" t="t" r="r" b="b"/>
            <a:pathLst>
              <a:path w="82489" h="51643">
                <a:moveTo>
                  <a:pt x="82489" y="0"/>
                </a:moveTo>
                <a:cubicBezTo>
                  <a:pt x="49468" y="6207"/>
                  <a:pt x="20008" y="24651"/>
                  <a:pt x="0" y="51643"/>
                </a:cubicBezTo>
                <a:cubicBezTo>
                  <a:pt x="19980" y="24621"/>
                  <a:pt x="49453" y="6169"/>
                  <a:pt x="82489" y="0"/>
                </a:cubicBezTo>
                <a:close/>
              </a:path>
            </a:pathLst>
          </a:custGeom>
          <a:solidFill>
            <a:schemeClr val="accent3"/>
          </a:solidFill>
          <a:ln w="1269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B6AB145D-04C3-4FAE-BE8F-88061D87C676}"/>
              </a:ext>
            </a:extLst>
          </p:cNvPr>
          <p:cNvSpPr/>
          <p:nvPr/>
        </p:nvSpPr>
        <p:spPr>
          <a:xfrm>
            <a:off x="10015704" y="0"/>
            <a:ext cx="2176296" cy="4175528"/>
          </a:xfrm>
          <a:custGeom>
            <a:avLst/>
            <a:gdLst>
              <a:gd name="connsiteX0" fmla="*/ 103142 w 2176296"/>
              <a:gd name="connsiteY0" fmla="*/ 0 h 4175528"/>
              <a:gd name="connsiteX1" fmla="*/ 489726 w 2176296"/>
              <a:gd name="connsiteY1" fmla="*/ 0 h 4175528"/>
              <a:gd name="connsiteX2" fmla="*/ 520852 w 2176296"/>
              <a:gd name="connsiteY2" fmla="*/ 32449 h 4175528"/>
              <a:gd name="connsiteX3" fmla="*/ 960887 w 2176296"/>
              <a:gd name="connsiteY3" fmla="*/ 751382 h 4175528"/>
              <a:gd name="connsiteX4" fmla="*/ 1054090 w 2176296"/>
              <a:gd name="connsiteY4" fmla="*/ 2095042 h 4175528"/>
              <a:gd name="connsiteX5" fmla="*/ 412790 w 2176296"/>
              <a:gd name="connsiteY5" fmla="*/ 3261754 h 4175528"/>
              <a:gd name="connsiteX6" fmla="*/ 1440484 w 2176296"/>
              <a:gd name="connsiteY6" fmla="*/ 3546067 h 4175528"/>
              <a:gd name="connsiteX7" fmla="*/ 1983366 w 2176296"/>
              <a:gd name="connsiteY7" fmla="*/ 3774735 h 4175528"/>
              <a:gd name="connsiteX8" fmla="*/ 2176296 w 2176296"/>
              <a:gd name="connsiteY8" fmla="*/ 3873834 h 4175528"/>
              <a:gd name="connsiteX9" fmla="*/ 2176296 w 2176296"/>
              <a:gd name="connsiteY9" fmla="*/ 4175528 h 4175528"/>
              <a:gd name="connsiteX10" fmla="*/ 2150160 w 2176296"/>
              <a:gd name="connsiteY10" fmla="*/ 4160076 h 4175528"/>
              <a:gd name="connsiteX11" fmla="*/ 1355901 w 2176296"/>
              <a:gd name="connsiteY11" fmla="*/ 3799122 h 4175528"/>
              <a:gd name="connsiteX12" fmla="*/ 119536 w 2176296"/>
              <a:gd name="connsiteY12" fmla="*/ 3486036 h 4175528"/>
              <a:gd name="connsiteX13" fmla="*/ 732 w 2176296"/>
              <a:gd name="connsiteY13" fmla="*/ 3339530 h 4175528"/>
              <a:gd name="connsiteX14" fmla="*/ 42542 w 2176296"/>
              <a:gd name="connsiteY14" fmla="*/ 3255726 h 4175528"/>
              <a:gd name="connsiteX15" fmla="*/ 712245 w 2176296"/>
              <a:gd name="connsiteY15" fmla="*/ 847841 h 4175528"/>
              <a:gd name="connsiteX16" fmla="*/ 204588 w 2176296"/>
              <a:gd name="connsiteY16" fmla="*/ 89932 h 4175528"/>
              <a:gd name="connsiteX17" fmla="*/ 103142 w 2176296"/>
              <a:gd name="connsiteY17" fmla="*/ 0 h 4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6296" h="4175528">
                <a:moveTo>
                  <a:pt x="103142" y="0"/>
                </a:moveTo>
                <a:lnTo>
                  <a:pt x="489726" y="0"/>
                </a:lnTo>
                <a:lnTo>
                  <a:pt x="520852" y="32449"/>
                </a:lnTo>
                <a:cubicBezTo>
                  <a:pt x="708567" y="242737"/>
                  <a:pt x="858030" y="485991"/>
                  <a:pt x="960887" y="751382"/>
                </a:cubicBezTo>
                <a:cubicBezTo>
                  <a:pt x="1128005" y="1179340"/>
                  <a:pt x="1160521" y="1648110"/>
                  <a:pt x="1054090" y="2095042"/>
                </a:cubicBezTo>
                <a:cubicBezTo>
                  <a:pt x="953966" y="2516331"/>
                  <a:pt x="738621" y="2907804"/>
                  <a:pt x="412790" y="3261754"/>
                </a:cubicBezTo>
                <a:cubicBezTo>
                  <a:pt x="762602" y="3328051"/>
                  <a:pt x="1106337" y="3423146"/>
                  <a:pt x="1440484" y="3546067"/>
                </a:cubicBezTo>
                <a:cubicBezTo>
                  <a:pt x="1607006" y="3607097"/>
                  <a:pt x="1790664" y="3682454"/>
                  <a:pt x="1983366" y="3774735"/>
                </a:cubicBezTo>
                <a:lnTo>
                  <a:pt x="2176296" y="3873834"/>
                </a:lnTo>
                <a:lnTo>
                  <a:pt x="2176296" y="4175528"/>
                </a:lnTo>
                <a:lnTo>
                  <a:pt x="2150160" y="4160076"/>
                </a:lnTo>
                <a:cubicBezTo>
                  <a:pt x="1866326" y="4003932"/>
                  <a:pt x="1592891" y="3886307"/>
                  <a:pt x="1355901" y="3799122"/>
                </a:cubicBezTo>
                <a:cubicBezTo>
                  <a:pt x="665797" y="3545249"/>
                  <a:pt x="124919" y="3486595"/>
                  <a:pt x="119536" y="3486036"/>
                </a:cubicBezTo>
                <a:cubicBezTo>
                  <a:pt x="46272" y="3478386"/>
                  <a:pt x="-6918" y="3412793"/>
                  <a:pt x="732" y="3339530"/>
                </a:cubicBezTo>
                <a:cubicBezTo>
                  <a:pt x="4080" y="3307460"/>
                  <a:pt x="18934" y="3277688"/>
                  <a:pt x="42542" y="3255726"/>
                </a:cubicBezTo>
                <a:cubicBezTo>
                  <a:pt x="791657" y="2559451"/>
                  <a:pt x="1035759" y="1681815"/>
                  <a:pt x="712245" y="847841"/>
                </a:cubicBezTo>
                <a:cubicBezTo>
                  <a:pt x="598736" y="555233"/>
                  <a:pt x="422828" y="297865"/>
                  <a:pt x="204588" y="89932"/>
                </a:cubicBezTo>
                <a:lnTo>
                  <a:pt x="103142" y="0"/>
                </a:lnTo>
                <a:close/>
              </a:path>
            </a:pathLst>
          </a:custGeom>
          <a:solidFill>
            <a:schemeClr val="accent3"/>
          </a:solid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4076796577"/>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ntent 6">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1"/>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883753595"/>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7">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300845249"/>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8">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846028394"/>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9">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5"/>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579959152"/>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ntent 10">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6"/>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63027020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ntent Large Righ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005513" y="719138"/>
            <a:ext cx="5465761" cy="5418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501901"/>
            <a:ext cx="4546330" cy="36353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814900"/>
            <a:ext cx="454633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11" name="Freeform: Shape 10">
            <a:extLst>
              <a:ext uri="{FF2B5EF4-FFF2-40B4-BE49-F238E27FC236}">
                <a16:creationId xmlns:a16="http://schemas.microsoft.com/office/drawing/2014/main" id="{CBAB1041-563D-407D-B771-F7CA3C6ADD0E}"/>
              </a:ext>
            </a:extLst>
          </p:cNvPr>
          <p:cNvSpPr/>
          <p:nvPr/>
        </p:nvSpPr>
        <p:spPr>
          <a:xfrm>
            <a:off x="-1" y="-1590"/>
            <a:ext cx="12196027" cy="6859587"/>
          </a:xfrm>
          <a:custGeom>
            <a:avLst/>
            <a:gdLst>
              <a:gd name="connsiteX0" fmla="*/ 0 w 12196027"/>
              <a:gd name="connsiteY0" fmla="*/ 0 h 6859587"/>
              <a:gd name="connsiteX1" fmla="*/ 12196027 w 12196027"/>
              <a:gd name="connsiteY1" fmla="*/ 0 h 6859587"/>
              <a:gd name="connsiteX2" fmla="*/ 12196027 w 12196027"/>
              <a:gd name="connsiteY2" fmla="*/ 6859587 h 6859587"/>
              <a:gd name="connsiteX3" fmla="*/ 0 w 12196027"/>
              <a:gd name="connsiteY3" fmla="*/ 6859587 h 6859587"/>
            </a:gdLst>
            <a:ahLst/>
            <a:cxnLst>
              <a:cxn ang="0">
                <a:pos x="connsiteX0" y="connsiteY0"/>
              </a:cxn>
              <a:cxn ang="0">
                <a:pos x="connsiteX1" y="connsiteY1"/>
              </a:cxn>
              <a:cxn ang="0">
                <a:pos x="connsiteX2" y="connsiteY2"/>
              </a:cxn>
              <a:cxn ang="0">
                <a:pos x="connsiteX3" y="connsiteY3"/>
              </a:cxn>
            </a:cxnLst>
            <a:rect l="l" t="t" r="r" b="b"/>
            <a:pathLst>
              <a:path w="12196027" h="6859587">
                <a:moveTo>
                  <a:pt x="0" y="0"/>
                </a:moveTo>
                <a:lnTo>
                  <a:pt x="12196027" y="0"/>
                </a:lnTo>
                <a:lnTo>
                  <a:pt x="12196027" y="6859587"/>
                </a:lnTo>
                <a:lnTo>
                  <a:pt x="0" y="6859587"/>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065A25C6-22C3-4470-8B3F-33557246929E}"/>
              </a:ext>
            </a:extLst>
          </p:cNvPr>
          <p:cNvSpPr/>
          <p:nvPr/>
        </p:nvSpPr>
        <p:spPr>
          <a:xfrm>
            <a:off x="5503374" y="1946274"/>
            <a:ext cx="266762" cy="4911726"/>
          </a:xfrm>
          <a:custGeom>
            <a:avLst/>
            <a:gdLst>
              <a:gd name="connsiteX0" fmla="*/ 133381 w 266762"/>
              <a:gd name="connsiteY0" fmla="*/ 0 h 4911726"/>
              <a:gd name="connsiteX1" fmla="*/ 266762 w 266762"/>
              <a:gd name="connsiteY1" fmla="*/ 133381 h 4911726"/>
              <a:gd name="connsiteX2" fmla="*/ 266762 w 266762"/>
              <a:gd name="connsiteY2" fmla="*/ 4911726 h 4911726"/>
              <a:gd name="connsiteX3" fmla="*/ 0 w 266762"/>
              <a:gd name="connsiteY3" fmla="*/ 4911726 h 4911726"/>
              <a:gd name="connsiteX4" fmla="*/ 0 w 266762"/>
              <a:gd name="connsiteY4" fmla="*/ 133381 h 4911726"/>
              <a:gd name="connsiteX5" fmla="*/ 133381 w 266762"/>
              <a:gd name="connsiteY5" fmla="*/ 0 h 491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762" h="4911726">
                <a:moveTo>
                  <a:pt x="133381" y="0"/>
                </a:moveTo>
                <a:cubicBezTo>
                  <a:pt x="207045" y="0"/>
                  <a:pt x="266762" y="59717"/>
                  <a:pt x="266762" y="133381"/>
                </a:cubicBezTo>
                <a:lnTo>
                  <a:pt x="266762" y="4911726"/>
                </a:lnTo>
                <a:lnTo>
                  <a:pt x="0" y="4911726"/>
                </a:lnTo>
                <a:lnTo>
                  <a:pt x="0" y="133381"/>
                </a:lnTo>
                <a:cubicBezTo>
                  <a:pt x="0" y="59717"/>
                  <a:pt x="59717" y="0"/>
                  <a:pt x="133381" y="0"/>
                </a:cubicBezTo>
                <a:close/>
              </a:path>
            </a:pathLst>
          </a:custGeom>
          <a:solidFill>
            <a:srgbClr val="85ABE3"/>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EA1E9E8E-09DB-4256-9756-C65C9D868554}"/>
              </a:ext>
            </a:extLst>
          </p:cNvPr>
          <p:cNvSpPr/>
          <p:nvPr/>
        </p:nvSpPr>
        <p:spPr>
          <a:xfrm>
            <a:off x="3724953" y="-1593"/>
            <a:ext cx="2045184" cy="3189946"/>
          </a:xfrm>
          <a:custGeom>
            <a:avLst/>
            <a:gdLst>
              <a:gd name="connsiteX0" fmla="*/ 0 w 2045184"/>
              <a:gd name="connsiteY0" fmla="*/ 0 h 3189946"/>
              <a:gd name="connsiteX1" fmla="*/ 445556 w 2045184"/>
              <a:gd name="connsiteY1" fmla="*/ 0 h 3189946"/>
              <a:gd name="connsiteX2" fmla="*/ 594954 w 2045184"/>
              <a:gd name="connsiteY2" fmla="*/ 99642 h 3189946"/>
              <a:gd name="connsiteX3" fmla="*/ 1136304 w 2045184"/>
              <a:gd name="connsiteY3" fmla="*/ 381519 h 3189946"/>
              <a:gd name="connsiteX4" fmla="*/ 1916778 w 2045184"/>
              <a:gd name="connsiteY4" fmla="*/ 599585 h 3189946"/>
              <a:gd name="connsiteX5" fmla="*/ 2040123 w 2045184"/>
              <a:gd name="connsiteY5" fmla="*/ 732299 h 3189946"/>
              <a:gd name="connsiteX6" fmla="*/ 2045184 w 2045184"/>
              <a:gd name="connsiteY6" fmla="*/ 3056273 h 3189946"/>
              <a:gd name="connsiteX7" fmla="*/ 1912096 w 2045184"/>
              <a:gd name="connsiteY7" fmla="*/ 3189946 h 3189946"/>
              <a:gd name="connsiteX8" fmla="*/ 1912089 w 2045184"/>
              <a:gd name="connsiteY8" fmla="*/ 3189946 h 3189946"/>
              <a:gd name="connsiteX9" fmla="*/ 1911803 w 2045184"/>
              <a:gd name="connsiteY9" fmla="*/ 3189939 h 3189946"/>
              <a:gd name="connsiteX10" fmla="*/ 1778422 w 2045184"/>
              <a:gd name="connsiteY10" fmla="*/ 3056850 h 3189946"/>
              <a:gd name="connsiteX11" fmla="*/ 1773609 w 2045184"/>
              <a:gd name="connsiteY11" fmla="*/ 849325 h 3189946"/>
              <a:gd name="connsiteX12" fmla="*/ 1045038 w 2045184"/>
              <a:gd name="connsiteY12" fmla="*/ 632507 h 3189946"/>
              <a:gd name="connsiteX13" fmla="*/ 18044 w 2045184"/>
              <a:gd name="connsiteY13" fmla="*/ 15567 h 3189946"/>
              <a:gd name="connsiteX14" fmla="*/ 0 w 2045184"/>
              <a:gd name="connsiteY14" fmla="*/ 0 h 3189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5184" h="3189946">
                <a:moveTo>
                  <a:pt x="0" y="0"/>
                </a:moveTo>
                <a:lnTo>
                  <a:pt x="445556" y="0"/>
                </a:lnTo>
                <a:lnTo>
                  <a:pt x="594954" y="99642"/>
                </a:lnTo>
                <a:cubicBezTo>
                  <a:pt x="794804" y="224433"/>
                  <a:pt x="979607" y="315591"/>
                  <a:pt x="1136304" y="381519"/>
                </a:cubicBezTo>
                <a:cubicBezTo>
                  <a:pt x="1590148" y="572458"/>
                  <a:pt x="1913565" y="599331"/>
                  <a:pt x="1916778" y="599585"/>
                </a:cubicBezTo>
                <a:cubicBezTo>
                  <a:pt x="1986184" y="604945"/>
                  <a:pt x="2039850" y="662687"/>
                  <a:pt x="2040123" y="732299"/>
                </a:cubicBezTo>
                <a:lnTo>
                  <a:pt x="2045184" y="3056273"/>
                </a:lnTo>
                <a:cubicBezTo>
                  <a:pt x="2045346" y="3129937"/>
                  <a:pt x="1985760" y="3189784"/>
                  <a:pt x="1912096" y="3189946"/>
                </a:cubicBezTo>
                <a:cubicBezTo>
                  <a:pt x="1912093" y="3189946"/>
                  <a:pt x="1912091" y="3189946"/>
                  <a:pt x="1912089" y="3189946"/>
                </a:cubicBezTo>
                <a:lnTo>
                  <a:pt x="1911803" y="3189939"/>
                </a:lnTo>
                <a:cubicBezTo>
                  <a:pt x="1838252" y="3189940"/>
                  <a:pt x="1778583" y="3130400"/>
                  <a:pt x="1778422" y="3056850"/>
                </a:cubicBezTo>
                <a:lnTo>
                  <a:pt x="1773609" y="849325"/>
                </a:lnTo>
                <a:cubicBezTo>
                  <a:pt x="1629212" y="825210"/>
                  <a:pt x="1368505" y="767321"/>
                  <a:pt x="1045038" y="632507"/>
                </a:cubicBezTo>
                <a:cubicBezTo>
                  <a:pt x="764448" y="515561"/>
                  <a:pt x="400282" y="323826"/>
                  <a:pt x="18044" y="15567"/>
                </a:cubicBezTo>
                <a:lnTo>
                  <a:pt x="0" y="0"/>
                </a:lnTo>
                <a:close/>
              </a:path>
            </a:pathLst>
          </a:custGeom>
          <a:solidFill>
            <a:srgbClr val="FFE84C"/>
          </a:solidFill>
          <a:ln w="12700" cap="flat">
            <a:noFill/>
            <a:prstDash val="solid"/>
            <a:miter/>
          </a:ln>
        </p:spPr>
        <p:txBody>
          <a:bodyPr rtlCol="0" anchor="ctr"/>
          <a:lstStyle/>
          <a:p>
            <a:endParaRPr lang="en-GB"/>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4546330" cy="1368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2639477510"/>
      </p:ext>
    </p:extLst>
  </p:cSld>
  <p:clrMapOvr>
    <a:masterClrMapping/>
  </p:clrMapOvr>
  <p:extLst>
    <p:ext uri="{DCECCB84-F9BA-43D5-87BE-67443E8EF086}">
      <p15:sldGuideLst xmlns:p15="http://schemas.microsoft.com/office/powerpoint/2012/main">
        <p15:guide id="1" orient="horz" pos="986">
          <p15:clr>
            <a:srgbClr val="A4A3A4"/>
          </p15:clr>
        </p15:guide>
        <p15:guide id="2" orient="horz" pos="1576">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ntent Large Righ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916738" y="1565276"/>
            <a:ext cx="4554536"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501900"/>
            <a:ext cx="4375150" cy="31151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814639"/>
            <a:ext cx="454633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4546330" cy="1368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7E4CF89B-9153-40B6-9DAC-F7296DD392CE}"/>
              </a:ext>
            </a:extLst>
          </p:cNvPr>
          <p:cNvSpPr/>
          <p:nvPr/>
        </p:nvSpPr>
        <p:spPr>
          <a:xfrm>
            <a:off x="0" y="0"/>
            <a:ext cx="12193193" cy="6858000"/>
          </a:xfrm>
          <a:custGeom>
            <a:avLst/>
            <a:gdLst>
              <a:gd name="connsiteX0" fmla="*/ 0 w 12193193"/>
              <a:gd name="connsiteY0" fmla="*/ 0 h 6858000"/>
              <a:gd name="connsiteX1" fmla="*/ 12193194 w 12193193"/>
              <a:gd name="connsiteY1" fmla="*/ 0 h 6858000"/>
              <a:gd name="connsiteX2" fmla="*/ 12193194 w 12193193"/>
              <a:gd name="connsiteY2" fmla="*/ 6858000 h 6858000"/>
              <a:gd name="connsiteX3" fmla="*/ 0 w 121931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93" h="6858000">
                <a:moveTo>
                  <a:pt x="0" y="0"/>
                </a:moveTo>
                <a:lnTo>
                  <a:pt x="12193194" y="0"/>
                </a:lnTo>
                <a:lnTo>
                  <a:pt x="12193194" y="6858000"/>
                </a:lnTo>
                <a:lnTo>
                  <a:pt x="0" y="6858000"/>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E01CB456-3579-41C9-8C06-ADC94B9FDA88}"/>
              </a:ext>
            </a:extLst>
          </p:cNvPr>
          <p:cNvSpPr/>
          <p:nvPr userDrawn="1"/>
        </p:nvSpPr>
        <p:spPr>
          <a:xfrm>
            <a:off x="5817635" y="0"/>
            <a:ext cx="1821487" cy="2234280"/>
          </a:xfrm>
          <a:custGeom>
            <a:avLst/>
            <a:gdLst>
              <a:gd name="connsiteX0" fmla="*/ 1437237 w 1821487"/>
              <a:gd name="connsiteY0" fmla="*/ 0 h 2234280"/>
              <a:gd name="connsiteX1" fmla="*/ 1821487 w 1821487"/>
              <a:gd name="connsiteY1" fmla="*/ 0 h 2234280"/>
              <a:gd name="connsiteX2" fmla="*/ 1796412 w 1821487"/>
              <a:gd name="connsiteY2" fmla="*/ 22870 h 2234280"/>
              <a:gd name="connsiteX3" fmla="*/ 255291 w 1821487"/>
              <a:gd name="connsiteY3" fmla="*/ 2154810 h 2234280"/>
              <a:gd name="connsiteX4" fmla="*/ 133253 w 1821487"/>
              <a:gd name="connsiteY4" fmla="*/ 2234280 h 2234280"/>
              <a:gd name="connsiteX5" fmla="*/ 0 w 1821487"/>
              <a:gd name="connsiteY5" fmla="*/ 2100688 h 2234280"/>
              <a:gd name="connsiteX6" fmla="*/ 11362 w 1821487"/>
              <a:gd name="connsiteY6" fmla="*/ 2046980 h 2234280"/>
              <a:gd name="connsiteX7" fmla="*/ 983011 w 1821487"/>
              <a:gd name="connsiteY7" fmla="*/ 493676 h 2234280"/>
              <a:gd name="connsiteX8" fmla="*/ 1347027 w 1821487"/>
              <a:gd name="connsiteY8" fmla="*/ 89809 h 2234280"/>
              <a:gd name="connsiteX9" fmla="*/ 1437237 w 1821487"/>
              <a:gd name="connsiteY9" fmla="*/ 0 h 223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1487" h="2234280">
                <a:moveTo>
                  <a:pt x="1437237" y="0"/>
                </a:moveTo>
                <a:lnTo>
                  <a:pt x="1821487" y="0"/>
                </a:lnTo>
                <a:lnTo>
                  <a:pt x="1796412" y="22870"/>
                </a:lnTo>
                <a:cubicBezTo>
                  <a:pt x="1114823" y="664757"/>
                  <a:pt x="598513" y="1378402"/>
                  <a:pt x="255291" y="2154810"/>
                </a:cubicBezTo>
                <a:cubicBezTo>
                  <a:pt x="233937" y="2203128"/>
                  <a:pt x="186080" y="2234292"/>
                  <a:pt x="133253" y="2234280"/>
                </a:cubicBezTo>
                <a:cubicBezTo>
                  <a:pt x="59566" y="2234186"/>
                  <a:pt x="-93" y="2174375"/>
                  <a:pt x="0" y="2100688"/>
                </a:cubicBezTo>
                <a:cubicBezTo>
                  <a:pt x="24" y="2082191"/>
                  <a:pt x="3893" y="2063902"/>
                  <a:pt x="11362" y="2046980"/>
                </a:cubicBezTo>
                <a:cubicBezTo>
                  <a:pt x="261126" y="1486382"/>
                  <a:pt x="588187" y="963534"/>
                  <a:pt x="983011" y="493676"/>
                </a:cubicBezTo>
                <a:cubicBezTo>
                  <a:pt x="1097446" y="356700"/>
                  <a:pt x="1218867" y="222004"/>
                  <a:pt x="1347027" y="89809"/>
                </a:cubicBezTo>
                <a:lnTo>
                  <a:pt x="1437237" y="0"/>
                </a:lnTo>
                <a:close/>
              </a:path>
            </a:pathLst>
          </a:custGeom>
          <a:solidFill>
            <a:srgbClr val="FFA169"/>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7616F8CF-6A9D-4874-8D05-BB69A9E2BF71}"/>
              </a:ext>
            </a:extLst>
          </p:cNvPr>
          <p:cNvSpPr/>
          <p:nvPr/>
        </p:nvSpPr>
        <p:spPr>
          <a:xfrm>
            <a:off x="-3" y="1966905"/>
            <a:ext cx="6084624" cy="4134902"/>
          </a:xfrm>
          <a:custGeom>
            <a:avLst/>
            <a:gdLst>
              <a:gd name="connsiteX0" fmla="*/ 5952774 w 6084624"/>
              <a:gd name="connsiteY0" fmla="*/ 8 h 4134902"/>
              <a:gd name="connsiteX1" fmla="*/ 6004542 w 6084624"/>
              <a:gd name="connsiteY1" fmla="*/ 11149 h 4134902"/>
              <a:gd name="connsiteX2" fmla="*/ 6073475 w 6084624"/>
              <a:gd name="connsiteY2" fmla="*/ 186685 h 4134902"/>
              <a:gd name="connsiteX3" fmla="*/ 6072936 w 6084624"/>
              <a:gd name="connsiteY3" fmla="*/ 187906 h 4134902"/>
              <a:gd name="connsiteX4" fmla="*/ 5490882 w 6084624"/>
              <a:gd name="connsiteY4" fmla="*/ 3323469 h 4134902"/>
              <a:gd name="connsiteX5" fmla="*/ 5453886 w 6084624"/>
              <a:gd name="connsiteY5" fmla="*/ 4018214 h 4134902"/>
              <a:gd name="connsiteX6" fmla="*/ 5321583 w 6084624"/>
              <a:gd name="connsiteY6" fmla="*/ 4134902 h 4134902"/>
              <a:gd name="connsiteX7" fmla="*/ 0 w 6084624"/>
              <a:gd name="connsiteY7" fmla="*/ 4134902 h 4134902"/>
              <a:gd name="connsiteX8" fmla="*/ 0 w 6084624"/>
              <a:gd name="connsiteY8" fmla="*/ 3868202 h 4134902"/>
              <a:gd name="connsiteX9" fmla="*/ 5201206 w 6084624"/>
              <a:gd name="connsiteY9" fmla="*/ 3868202 h 4134902"/>
              <a:gd name="connsiteX10" fmla="*/ 5224268 w 6084624"/>
              <a:gd name="connsiteY10" fmla="*/ 3316604 h 4134902"/>
              <a:gd name="connsiteX11" fmla="*/ 5829007 w 6084624"/>
              <a:gd name="connsiteY11" fmla="*/ 80083 h 4134902"/>
              <a:gd name="connsiteX12" fmla="*/ 5952774 w 6084624"/>
              <a:gd name="connsiteY12" fmla="*/ 8 h 413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4624" h="4134902">
                <a:moveTo>
                  <a:pt x="5952774" y="8"/>
                </a:moveTo>
                <a:cubicBezTo>
                  <a:pt x="5970096" y="199"/>
                  <a:pt x="5987665" y="3790"/>
                  <a:pt x="6004542" y="11149"/>
                </a:cubicBezTo>
                <a:cubicBezTo>
                  <a:pt x="6072050" y="40587"/>
                  <a:pt x="6102913" y="119177"/>
                  <a:pt x="6073475" y="186685"/>
                </a:cubicBezTo>
                <a:cubicBezTo>
                  <a:pt x="6073297" y="187093"/>
                  <a:pt x="6073118" y="187500"/>
                  <a:pt x="6072936" y="187906"/>
                </a:cubicBezTo>
                <a:cubicBezTo>
                  <a:pt x="5540646" y="1392040"/>
                  <a:pt x="5511879" y="2508362"/>
                  <a:pt x="5490882" y="3323469"/>
                </a:cubicBezTo>
                <a:cubicBezTo>
                  <a:pt x="5483904" y="3594042"/>
                  <a:pt x="5477890" y="3827721"/>
                  <a:pt x="5453886" y="4018214"/>
                </a:cubicBezTo>
                <a:cubicBezTo>
                  <a:pt x="5445489" y="4084891"/>
                  <a:pt x="5388787" y="4134901"/>
                  <a:pt x="5321583" y="4134902"/>
                </a:cubicBezTo>
                <a:lnTo>
                  <a:pt x="0" y="4134902"/>
                </a:lnTo>
                <a:lnTo>
                  <a:pt x="0" y="3868202"/>
                </a:lnTo>
                <a:lnTo>
                  <a:pt x="5201206" y="3868202"/>
                </a:lnTo>
                <a:cubicBezTo>
                  <a:pt x="5214092" y="3711647"/>
                  <a:pt x="5218886" y="3525414"/>
                  <a:pt x="5224268" y="3316604"/>
                </a:cubicBezTo>
                <a:cubicBezTo>
                  <a:pt x="5245842" y="2479251"/>
                  <a:pt x="5275391" y="1332453"/>
                  <a:pt x="5829007" y="80083"/>
                </a:cubicBezTo>
                <a:cubicBezTo>
                  <a:pt x="5851085" y="29452"/>
                  <a:pt x="5900811" y="-566"/>
                  <a:pt x="5952774" y="8"/>
                </a:cubicBezTo>
                <a:close/>
              </a:path>
            </a:pathLst>
          </a:custGeom>
          <a:solidFill>
            <a:srgbClr val="005C8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812685236"/>
      </p:ext>
    </p:extLst>
  </p:cSld>
  <p:clrMapOvr>
    <a:masterClrMapping/>
  </p:clrMapOvr>
  <p:extLst>
    <p:ext uri="{DCECCB84-F9BA-43D5-87BE-67443E8EF086}">
      <p15:sldGuideLst xmlns:p15="http://schemas.microsoft.com/office/powerpoint/2012/main">
        <p15:guide id="1" orient="horz" pos="986">
          <p15:clr>
            <a:srgbClr val="A4A3A4"/>
          </p15:clr>
        </p15:guide>
        <p15:guide id="2" orient="horz" pos="1576">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673771491"/>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and Quotation">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8" name="Text Quotation 1">
            <a:extLst>
              <a:ext uri="{FF2B5EF4-FFF2-40B4-BE49-F238E27FC236}">
                <a16:creationId xmlns:a16="http://schemas.microsoft.com/office/drawing/2014/main" id="{CF83A6C2-5484-4078-9A95-3943A67F863C}"/>
              </a:ext>
            </a:extLst>
          </p:cNvPr>
          <p:cNvSpPr>
            <a:spLocks noGrp="1"/>
          </p:cNvSpPr>
          <p:nvPr>
            <p:ph type="body" sz="quarter" idx="22" hasCustomPrompt="1"/>
          </p:nvPr>
        </p:nvSpPr>
        <p:spPr>
          <a:xfrm>
            <a:off x="8007350" y="3683303"/>
            <a:ext cx="3465512" cy="2453971"/>
          </a:xfrm>
        </p:spPr>
        <p:txBody>
          <a:bodyPr/>
          <a:lstStyle>
            <a:lvl1pPr marL="0" indent="0">
              <a:lnSpc>
                <a:spcPct val="90000"/>
              </a:lnSpc>
              <a:buFont typeface="Arial" panose="020B0604020202020204" pitchFamily="34" charset="0"/>
              <a:buNone/>
              <a:defRPr sz="2000" i="1">
                <a:solidFill>
                  <a:schemeClr val="accent1"/>
                </a:solidFill>
                <a:latin typeface="+mj-lt"/>
              </a:defRPr>
            </a:lvl1pPr>
            <a:lvl2pPr marL="0" indent="0">
              <a:lnSpc>
                <a:spcPct val="90000"/>
              </a:lnSpc>
              <a:buNone/>
              <a:defRPr sz="1600" i="1">
                <a:latin typeface="+mj-lt"/>
              </a:defRPr>
            </a:lvl2pPr>
            <a:lvl3pPr marL="0" indent="0">
              <a:lnSpc>
                <a:spcPct val="90000"/>
              </a:lnSpc>
              <a:buNone/>
              <a:defRPr sz="1000" i="0">
                <a:latin typeface="+mn-lt"/>
              </a:defRPr>
            </a:lvl3pPr>
            <a:lvl4pPr marL="0" indent="0">
              <a:lnSpc>
                <a:spcPct val="90000"/>
              </a:lnSpc>
              <a:buNone/>
              <a:defRPr sz="1800" i="1">
                <a:solidFill>
                  <a:schemeClr val="accent1"/>
                </a:solidFill>
                <a:latin typeface="+mj-lt"/>
              </a:defRPr>
            </a:lvl4pPr>
            <a:lvl5pPr marL="0" indent="0">
              <a:lnSpc>
                <a:spcPct val="90000"/>
              </a:lnSpc>
              <a:buFont typeface="Arial" panose="020B0604020202020204" pitchFamily="34" charset="0"/>
              <a:buNone/>
              <a:defRPr sz="1400" i="1">
                <a:latin typeface="+mj-lt"/>
              </a:defRPr>
            </a:lvl5pPr>
            <a:lvl6pPr marL="0" indent="0">
              <a:lnSpc>
                <a:spcPct val="90000"/>
              </a:lnSpc>
              <a:buFont typeface="Arial" panose="020B0604020202020204" pitchFamily="34" charset="0"/>
              <a:buNone/>
              <a:defRPr sz="1200" i="1">
                <a:latin typeface="+mj-lt"/>
              </a:defRPr>
            </a:lvl6pPr>
            <a:lvl7pPr marL="0" indent="0">
              <a:lnSpc>
                <a:spcPct val="90000"/>
              </a:lnSpc>
              <a:spcBef>
                <a:spcPts val="800"/>
              </a:spcBef>
              <a:buFont typeface="Arial" panose="020B0604020202020204" pitchFamily="34" charset="0"/>
              <a:buNone/>
              <a:defRPr sz="1400" i="0">
                <a:solidFill>
                  <a:schemeClr val="tx1"/>
                </a:solidFill>
                <a:latin typeface="+mn-lt"/>
              </a:defRPr>
            </a:lvl7pPr>
            <a:lvl8pPr marL="0" indent="0">
              <a:lnSpc>
                <a:spcPct val="90000"/>
              </a:lnSpc>
              <a:spcBef>
                <a:spcPts val="800"/>
              </a:spcBef>
              <a:buFont typeface="Arial" panose="020B0604020202020204" pitchFamily="34" charset="0"/>
              <a:buNone/>
              <a:defRPr sz="1200" i="0">
                <a:solidFill>
                  <a:schemeClr val="tx1"/>
                </a:solidFill>
                <a:latin typeface="+mn-lt"/>
              </a:defRPr>
            </a:lvl8pPr>
            <a:lvl9pPr marL="0" indent="0">
              <a:lnSpc>
                <a:spcPct val="90000"/>
              </a:lnSpc>
              <a:spcBef>
                <a:spcPts val="800"/>
              </a:spcBef>
              <a:buFont typeface="Arial" panose="020B0604020202020204" pitchFamily="34" charset="0"/>
              <a:buNone/>
              <a:defRPr sz="1000" i="0">
                <a:solidFill>
                  <a:schemeClr val="tx1"/>
                </a:solidFill>
                <a:latin typeface="+mn-lt"/>
              </a:defRPr>
            </a:lvl9pPr>
          </a:lstStyle>
          <a:p>
            <a:pPr lvl="0"/>
            <a:r>
              <a:rPr lang="en-GB" dirty="0"/>
              <a:t>Click to add quotation</a:t>
            </a:r>
          </a:p>
          <a:p>
            <a:pPr lvl="1"/>
            <a:r>
              <a:rPr lang="en-GB" dirty="0"/>
              <a:t>Second level – Name</a:t>
            </a:r>
          </a:p>
          <a:p>
            <a:pPr lvl="2"/>
            <a:r>
              <a:rPr lang="en-GB" dirty="0"/>
              <a:t>Third level – Job Title - Organisation</a:t>
            </a:r>
          </a:p>
          <a:p>
            <a:pPr lvl="3"/>
            <a:r>
              <a:rPr lang="en-GB" dirty="0"/>
              <a:t>Fourth level</a:t>
            </a:r>
          </a:p>
          <a:p>
            <a:pPr lvl="4"/>
            <a:r>
              <a:rPr lang="en-GB" dirty="0"/>
              <a:t>Fifth level – Number 1</a:t>
            </a:r>
          </a:p>
          <a:p>
            <a:pPr lvl="5"/>
            <a:r>
              <a:rPr lang="en-GB" dirty="0"/>
              <a:t>Sixth level – Number 2</a:t>
            </a:r>
          </a:p>
          <a:p>
            <a:pPr lvl="6"/>
            <a:r>
              <a:rPr lang="en-GB" dirty="0"/>
              <a:t>Seventh level – Heading 1</a:t>
            </a:r>
          </a:p>
          <a:p>
            <a:pPr lvl="7"/>
            <a:r>
              <a:rPr lang="en-GB" dirty="0"/>
              <a:t>Eighth level – Heading 2</a:t>
            </a:r>
          </a:p>
          <a:p>
            <a:pPr lvl="8"/>
            <a:r>
              <a:rPr lang="en-GB" dirty="0"/>
              <a:t>Ninth level – Pull-out</a:t>
            </a:r>
          </a:p>
        </p:txBody>
      </p:sp>
      <p:sp>
        <p:nvSpPr>
          <p:cNvPr id="21" name="Quote Icon">
            <a:extLst>
              <a:ext uri="{FF2B5EF4-FFF2-40B4-BE49-F238E27FC236}">
                <a16:creationId xmlns:a16="http://schemas.microsoft.com/office/drawing/2014/main" id="{83E37669-D60C-4BDC-89D8-76B20DB9CD69}"/>
              </a:ext>
            </a:extLst>
          </p:cNvPr>
          <p:cNvSpPr>
            <a:spLocks noGrp="1" noChangeAspect="1"/>
          </p:cNvSpPr>
          <p:nvPr>
            <p:ph type="body" sz="quarter" idx="23" hasCustomPrompt="1"/>
          </p:nvPr>
        </p:nvSpPr>
        <p:spPr>
          <a:xfrm>
            <a:off x="8007350" y="3084485"/>
            <a:ext cx="432000" cy="432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
        <p:nvSpPr>
          <p:cNvPr id="10" name="Freeform: Shape 9">
            <a:extLst>
              <a:ext uri="{FF2B5EF4-FFF2-40B4-BE49-F238E27FC236}">
                <a16:creationId xmlns:a16="http://schemas.microsoft.com/office/drawing/2014/main" id="{7C827E1D-DD48-44F3-B112-3D7A29CC8B57}"/>
              </a:ext>
            </a:extLst>
          </p:cNvPr>
          <p:cNvSpPr/>
          <p:nvPr/>
        </p:nvSpPr>
        <p:spPr>
          <a:xfrm>
            <a:off x="0" y="0"/>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325EB17-9B77-4BB7-B493-547AA259F275}"/>
              </a:ext>
            </a:extLst>
          </p:cNvPr>
          <p:cNvSpPr/>
          <p:nvPr/>
        </p:nvSpPr>
        <p:spPr>
          <a:xfrm>
            <a:off x="7972806" y="2590800"/>
            <a:ext cx="4219193" cy="266700"/>
          </a:xfrm>
          <a:custGeom>
            <a:avLst/>
            <a:gdLst>
              <a:gd name="connsiteX0" fmla="*/ 133350 w 4219193"/>
              <a:gd name="connsiteY0" fmla="*/ 0 h 266700"/>
              <a:gd name="connsiteX1" fmla="*/ 0 w 4219193"/>
              <a:gd name="connsiteY1" fmla="*/ 133350 h 266700"/>
              <a:gd name="connsiteX2" fmla="*/ 133350 w 4219193"/>
              <a:gd name="connsiteY2" fmla="*/ 266700 h 266700"/>
              <a:gd name="connsiteX3" fmla="*/ 4219194 w 4219193"/>
              <a:gd name="connsiteY3" fmla="*/ 266700 h 266700"/>
              <a:gd name="connsiteX4" fmla="*/ 4219194 w 4219193"/>
              <a:gd name="connsiteY4" fmla="*/ 0 h 266700"/>
              <a:gd name="connsiteX5" fmla="*/ 133350 w 4219193"/>
              <a:gd name="connsiteY5" fmla="*/ 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9193" h="266700">
                <a:moveTo>
                  <a:pt x="133350" y="0"/>
                </a:moveTo>
                <a:cubicBezTo>
                  <a:pt x="59703" y="0"/>
                  <a:pt x="0" y="59703"/>
                  <a:pt x="0" y="133350"/>
                </a:cubicBezTo>
                <a:cubicBezTo>
                  <a:pt x="0" y="206997"/>
                  <a:pt x="59703" y="266700"/>
                  <a:pt x="133350" y="266700"/>
                </a:cubicBezTo>
                <a:lnTo>
                  <a:pt x="4219194" y="266700"/>
                </a:lnTo>
                <a:lnTo>
                  <a:pt x="4219194" y="0"/>
                </a:lnTo>
                <a:lnTo>
                  <a:pt x="133350" y="0"/>
                </a:lnTo>
                <a:close/>
              </a:path>
            </a:pathLst>
          </a:custGeom>
          <a:solidFill>
            <a:srgbClr val="FFE84C"/>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4D3F087-01E9-453B-8992-8328DC5AED5E}"/>
              </a:ext>
            </a:extLst>
          </p:cNvPr>
          <p:cNvSpPr/>
          <p:nvPr/>
        </p:nvSpPr>
        <p:spPr>
          <a:xfrm>
            <a:off x="6323203" y="2591054"/>
            <a:ext cx="1916303" cy="4266945"/>
          </a:xfrm>
          <a:custGeom>
            <a:avLst/>
            <a:gdLst>
              <a:gd name="connsiteX0" fmla="*/ 1044067 w 1916303"/>
              <a:gd name="connsiteY0" fmla="*/ 797179 h 4266945"/>
              <a:gd name="connsiteX1" fmla="*/ 1066165 w 1916303"/>
              <a:gd name="connsiteY1" fmla="*/ 266700 h 4266945"/>
              <a:gd name="connsiteX2" fmla="*/ 1782953 w 1916303"/>
              <a:gd name="connsiteY2" fmla="*/ 266700 h 4266945"/>
              <a:gd name="connsiteX3" fmla="*/ 1916303 w 1916303"/>
              <a:gd name="connsiteY3" fmla="*/ 133350 h 4266945"/>
              <a:gd name="connsiteX4" fmla="*/ 1782953 w 1916303"/>
              <a:gd name="connsiteY4" fmla="*/ 0 h 4266945"/>
              <a:gd name="connsiteX5" fmla="*/ 945642 w 1916303"/>
              <a:gd name="connsiteY5" fmla="*/ 0 h 4266945"/>
              <a:gd name="connsiteX6" fmla="*/ 813435 w 1916303"/>
              <a:gd name="connsiteY6" fmla="*/ 116586 h 4266945"/>
              <a:gd name="connsiteX7" fmla="*/ 777494 w 1916303"/>
              <a:gd name="connsiteY7" fmla="*/ 790321 h 4266945"/>
              <a:gd name="connsiteX8" fmla="*/ 0 w 1916303"/>
              <a:gd name="connsiteY8" fmla="*/ 4266946 h 4266945"/>
              <a:gd name="connsiteX9" fmla="*/ 297307 w 1916303"/>
              <a:gd name="connsiteY9" fmla="*/ 4266946 h 4266945"/>
              <a:gd name="connsiteX10" fmla="*/ 594360 w 1916303"/>
              <a:gd name="connsiteY10" fmla="*/ 3597783 h 4266945"/>
              <a:gd name="connsiteX11" fmla="*/ 1044067 w 1916303"/>
              <a:gd name="connsiteY11" fmla="*/ 797179 h 426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16303" h="4266945">
                <a:moveTo>
                  <a:pt x="1044067" y="797179"/>
                </a:moveTo>
                <a:cubicBezTo>
                  <a:pt x="1049274" y="596519"/>
                  <a:pt x="1053846" y="417449"/>
                  <a:pt x="1066165" y="266700"/>
                </a:cubicBezTo>
                <a:lnTo>
                  <a:pt x="1782953" y="266700"/>
                </a:lnTo>
                <a:cubicBezTo>
                  <a:pt x="1856601" y="266700"/>
                  <a:pt x="1916303" y="206997"/>
                  <a:pt x="1916303" y="133350"/>
                </a:cubicBezTo>
                <a:cubicBezTo>
                  <a:pt x="1916303" y="59703"/>
                  <a:pt x="1856601" y="0"/>
                  <a:pt x="1782953" y="0"/>
                </a:cubicBezTo>
                <a:lnTo>
                  <a:pt x="945642" y="0"/>
                </a:lnTo>
                <a:cubicBezTo>
                  <a:pt x="878487" y="-14"/>
                  <a:pt x="821821" y="49957"/>
                  <a:pt x="813435" y="116586"/>
                </a:cubicBezTo>
                <a:cubicBezTo>
                  <a:pt x="790067" y="301371"/>
                  <a:pt x="784225" y="527939"/>
                  <a:pt x="777494" y="790321"/>
                </a:cubicBezTo>
                <a:cubicBezTo>
                  <a:pt x="754380" y="1683004"/>
                  <a:pt x="721740" y="2947797"/>
                  <a:pt x="0" y="4266946"/>
                </a:cubicBezTo>
                <a:lnTo>
                  <a:pt x="297307" y="4266946"/>
                </a:lnTo>
                <a:cubicBezTo>
                  <a:pt x="409624" y="4050036"/>
                  <a:pt x="508820" y="3826580"/>
                  <a:pt x="594360" y="3597783"/>
                </a:cubicBezTo>
                <a:cubicBezTo>
                  <a:pt x="999744" y="2512441"/>
                  <a:pt x="1025398" y="1521079"/>
                  <a:pt x="1044067" y="797179"/>
                </a:cubicBez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45782531"/>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hree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11066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110662" cy="720000"/>
          </a:xfrm>
        </p:spPr>
        <p:txBody>
          <a:bodyPr/>
          <a:lstStyle/>
          <a:p>
            <a:pPr lvl="0"/>
            <a:r>
              <a:rPr lang="en-US"/>
              <a:t>Click to edit Master title style</a:t>
            </a:r>
            <a:endParaRPr lang="en-GB" dirty="0"/>
          </a:p>
        </p:txBody>
      </p:sp>
      <p:sp>
        <p:nvSpPr>
          <p:cNvPr id="12" name="Freeform: Shape 11">
            <a:extLst>
              <a:ext uri="{FF2B5EF4-FFF2-40B4-BE49-F238E27FC236}">
                <a16:creationId xmlns:a16="http://schemas.microsoft.com/office/drawing/2014/main" id="{AB4A32E8-75AB-42D3-86D2-1B66C4AB73D9}"/>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671663530"/>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hree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6" name="Content Placeholder 3">
            <a:extLst>
              <a:ext uri="{FF2B5EF4-FFF2-40B4-BE49-F238E27FC236}">
                <a16:creationId xmlns:a16="http://schemas.microsoft.com/office/drawing/2014/main" id="{828B6303-5E5A-4F9F-B85F-7C003AC607B9}"/>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a:extLst>
              <a:ext uri="{FF2B5EF4-FFF2-40B4-BE49-F238E27FC236}">
                <a16:creationId xmlns:a16="http://schemas.microsoft.com/office/drawing/2014/main" id="{C14F23CB-D366-4F09-BEDD-C82A562BC064}"/>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1">
            <a:extLst>
              <a:ext uri="{FF2B5EF4-FFF2-40B4-BE49-F238E27FC236}">
                <a16:creationId xmlns:a16="http://schemas.microsoft.com/office/drawing/2014/main" id="{2508DEB1-7FFB-4003-BD92-0A426636F4B2}"/>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9" name="Freeform: Shape 8">
            <a:extLst>
              <a:ext uri="{FF2B5EF4-FFF2-40B4-BE49-F238E27FC236}">
                <a16:creationId xmlns:a16="http://schemas.microsoft.com/office/drawing/2014/main" id="{20C34EB3-71F9-4B2D-8EEE-10FB2F2DE143}"/>
              </a:ext>
            </a:extLst>
          </p:cNvPr>
          <p:cNvSpPr/>
          <p:nvPr/>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39AB9437-5153-4E47-9687-8F42B346B14C}"/>
              </a:ext>
            </a:extLst>
          </p:cNvPr>
          <p:cNvSpPr/>
          <p:nvPr/>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88B3C57A-F96E-40E7-A327-2E5A668D994C}"/>
              </a:ext>
            </a:extLst>
          </p:cNvPr>
          <p:cNvSpPr/>
          <p:nvPr/>
        </p:nvSpPr>
        <p:spPr>
          <a:xfrm>
            <a:off x="8958833" y="0"/>
            <a:ext cx="3233293" cy="1615694"/>
          </a:xfrm>
          <a:custGeom>
            <a:avLst/>
            <a:gdLst>
              <a:gd name="connsiteX0" fmla="*/ 297942 w 3233293"/>
              <a:gd name="connsiteY0" fmla="*/ 316484 h 1615694"/>
              <a:gd name="connsiteX1" fmla="*/ 3233293 w 3233293"/>
              <a:gd name="connsiteY1" fmla="*/ 1615694 h 1615694"/>
              <a:gd name="connsiteX2" fmla="*/ 3233293 w 3233293"/>
              <a:gd name="connsiteY2" fmla="*/ 0 h 1615694"/>
              <a:gd name="connsiteX3" fmla="*/ 0 w 3233293"/>
              <a:gd name="connsiteY3" fmla="*/ 0 h 1615694"/>
              <a:gd name="connsiteX4" fmla="*/ 297942 w 3233293"/>
              <a:gd name="connsiteY4" fmla="*/ 316484 h 1615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3293" h="1615694">
                <a:moveTo>
                  <a:pt x="297942" y="316484"/>
                </a:moveTo>
                <a:cubicBezTo>
                  <a:pt x="1101217" y="1095629"/>
                  <a:pt x="2088642" y="1532382"/>
                  <a:pt x="3233293" y="1615694"/>
                </a:cubicBezTo>
                <a:lnTo>
                  <a:pt x="3233293" y="0"/>
                </a:lnTo>
                <a:lnTo>
                  <a:pt x="0" y="0"/>
                </a:lnTo>
                <a:cubicBezTo>
                  <a:pt x="88519" y="102870"/>
                  <a:pt x="187706" y="209550"/>
                  <a:pt x="297942" y="316484"/>
                </a:cubicBezTo>
                <a:close/>
              </a:path>
            </a:pathLst>
          </a:custGeom>
          <a:no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97C31D8C-1F17-46A9-B024-3B19A10B3DA3}"/>
              </a:ext>
            </a:extLst>
          </p:cNvPr>
          <p:cNvSpPr/>
          <p:nvPr/>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5"/>
          </a:solidFill>
          <a:ln w="12700" cap="flat">
            <a:noFill/>
            <a:prstDash val="solid"/>
            <a:miter/>
          </a:ln>
        </p:spPr>
        <p:txBody>
          <a:bodyPr rtlCol="0" anchor="ctr"/>
          <a:lstStyle/>
          <a:p>
            <a:endParaRPr lang="en-GB"/>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840912"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440339331"/>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hree Content and Image">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1CD836DB-20FF-4ECB-BFDB-285EE8F4E18F}"/>
              </a:ext>
            </a:extLst>
          </p:cNvPr>
          <p:cNvGrpSpPr/>
          <p:nvPr userDrawn="1"/>
        </p:nvGrpSpPr>
        <p:grpSpPr>
          <a:xfrm>
            <a:off x="8944357" y="1706544"/>
            <a:ext cx="3247771" cy="5151963"/>
            <a:chOff x="8944357" y="1706544"/>
            <a:chExt cx="3247771" cy="5151963"/>
          </a:xfrm>
        </p:grpSpPr>
        <p:sp>
          <p:nvSpPr>
            <p:cNvPr id="18" name="Freeform: Shape 17">
              <a:extLst>
                <a:ext uri="{FF2B5EF4-FFF2-40B4-BE49-F238E27FC236}">
                  <a16:creationId xmlns:a16="http://schemas.microsoft.com/office/drawing/2014/main" id="{05966845-85E6-49B2-AB13-39C3A22ACF17}"/>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rgbClr val="9EDED4"/>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A0D2D12A-F7B7-4BA7-AB91-7EC22598788D}"/>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rgbClr val="85ABE3"/>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
        <p:nvSpPr>
          <p:cNvPr id="6" name="Picture Placeholder 5">
            <a:extLst>
              <a:ext uri="{FF2B5EF4-FFF2-40B4-BE49-F238E27FC236}">
                <a16:creationId xmlns:a16="http://schemas.microsoft.com/office/drawing/2014/main" id="{4B43E360-FC59-4631-9065-F313F8D5F664}"/>
              </a:ext>
            </a:extLst>
          </p:cNvPr>
          <p:cNvSpPr>
            <a:spLocks noGrp="1"/>
          </p:cNvSpPr>
          <p:nvPr>
            <p:ph type="pic" sz="quarter" idx="15"/>
          </p:nvPr>
        </p:nvSpPr>
        <p:spPr>
          <a:xfrm>
            <a:off x="8918575" y="2127906"/>
            <a:ext cx="2552699" cy="4006800"/>
          </a:xfrm>
        </p:spPr>
        <p:txBody>
          <a:bodyPr/>
          <a:lstStyle/>
          <a:p>
            <a:r>
              <a:rPr lang="en-US"/>
              <a:t>Click icon to add picture</a:t>
            </a:r>
            <a:endParaRPr lang="en-GB" dirty="0"/>
          </a:p>
        </p:txBody>
      </p:sp>
      <p:sp>
        <p:nvSpPr>
          <p:cNvPr id="17" name="Freeform: Shape 16">
            <a:extLst>
              <a:ext uri="{FF2B5EF4-FFF2-40B4-BE49-F238E27FC236}">
                <a16:creationId xmlns:a16="http://schemas.microsoft.com/office/drawing/2014/main" id="{324DC9B5-A353-4960-B089-EE1C2A20997D}"/>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00190611"/>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7"/>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7"/>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7"/>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7"/>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11066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06E694C4-9BFB-4141-B1A7-97C150BE685E}"/>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702275"/>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Four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84091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8201026" cy="720000"/>
          </a:xfrm>
        </p:spPr>
        <p:txBody>
          <a:bodyPr/>
          <a:lstStyle/>
          <a:p>
            <a:pPr lvl="0"/>
            <a:r>
              <a:rPr lang="en-US"/>
              <a:t>Click to edit Master title style</a:t>
            </a:r>
            <a:endParaRPr lang="en-GB" dirty="0"/>
          </a:p>
        </p:txBody>
      </p:sp>
      <p:sp>
        <p:nvSpPr>
          <p:cNvPr id="16" name="Freeform: Shape 15">
            <a:extLst>
              <a:ext uri="{FF2B5EF4-FFF2-40B4-BE49-F238E27FC236}">
                <a16:creationId xmlns:a16="http://schemas.microsoft.com/office/drawing/2014/main" id="{A3FBBA86-6D28-470B-B82F-E07AEEEA545A}"/>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006056877"/>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Four Content 4">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6186488" y="4215056"/>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719137" y="4215056"/>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6488" y="2128838"/>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020300"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110662" cy="720000"/>
          </a:xfrm>
        </p:spPr>
        <p:txBody>
          <a:bodyPr/>
          <a:lstStyle/>
          <a:p>
            <a:pPr lvl="0"/>
            <a:r>
              <a:rPr lang="en-US"/>
              <a:t>Click to edit Master title style</a:t>
            </a:r>
            <a:endParaRPr lang="en-GB" dirty="0"/>
          </a:p>
        </p:txBody>
      </p:sp>
      <p:sp>
        <p:nvSpPr>
          <p:cNvPr id="13" name="Freeform: Shape 12">
            <a:extLst>
              <a:ext uri="{FF2B5EF4-FFF2-40B4-BE49-F238E27FC236}">
                <a16:creationId xmlns:a16="http://schemas.microsoft.com/office/drawing/2014/main" id="{818F1BCE-16CB-48EB-BE3B-58808302C046}"/>
              </a:ext>
            </a:extLst>
          </p:cNvPr>
          <p:cNvSpPr/>
          <p:nvPr userDrawn="1"/>
        </p:nvSpPr>
        <p:spPr>
          <a:xfrm>
            <a:off x="8828904" y="0"/>
            <a:ext cx="3363096" cy="3729110"/>
          </a:xfrm>
          <a:custGeom>
            <a:avLst/>
            <a:gdLst>
              <a:gd name="connsiteX0" fmla="*/ 0 w 3363096"/>
              <a:gd name="connsiteY0" fmla="*/ 0 h 3729110"/>
              <a:gd name="connsiteX1" fmla="*/ 728074 w 3363096"/>
              <a:gd name="connsiteY1" fmla="*/ 0 h 3729110"/>
              <a:gd name="connsiteX2" fmla="*/ 968906 w 3363096"/>
              <a:gd name="connsiteY2" fmla="*/ 116498 h 3729110"/>
              <a:gd name="connsiteX3" fmla="*/ 3096120 w 3363096"/>
              <a:gd name="connsiteY3" fmla="*/ 2231288 h 3729110"/>
              <a:gd name="connsiteX4" fmla="*/ 3240633 w 3363096"/>
              <a:gd name="connsiteY4" fmla="*/ 2529001 h 3729110"/>
              <a:gd name="connsiteX5" fmla="*/ 3363096 w 3363096"/>
              <a:gd name="connsiteY5" fmla="*/ 2824201 h 3729110"/>
              <a:gd name="connsiteX6" fmla="*/ 3363096 w 3363096"/>
              <a:gd name="connsiteY6" fmla="*/ 3729110 h 3729110"/>
              <a:gd name="connsiteX7" fmla="*/ 3328737 w 3363096"/>
              <a:gd name="connsiteY7" fmla="*/ 3584522 h 3729110"/>
              <a:gd name="connsiteX8" fmla="*/ 2859849 w 3363096"/>
              <a:gd name="connsiteY8" fmla="*/ 2354986 h 3729110"/>
              <a:gd name="connsiteX9" fmla="*/ 277127 w 3363096"/>
              <a:gd name="connsiteY9" fmla="*/ 98569 h 3729110"/>
              <a:gd name="connsiteX10" fmla="*/ 0 w 3363096"/>
              <a:gd name="connsiteY10" fmla="*/ 0 h 372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3096" h="3729110">
                <a:moveTo>
                  <a:pt x="0" y="0"/>
                </a:moveTo>
                <a:lnTo>
                  <a:pt x="728074" y="0"/>
                </a:lnTo>
                <a:lnTo>
                  <a:pt x="968906" y="116498"/>
                </a:lnTo>
                <a:cubicBezTo>
                  <a:pt x="1900050" y="599885"/>
                  <a:pt x="2612194" y="1306901"/>
                  <a:pt x="3096120" y="2231288"/>
                </a:cubicBezTo>
                <a:cubicBezTo>
                  <a:pt x="3146748" y="2327997"/>
                  <a:pt x="3194924" y="2427252"/>
                  <a:pt x="3240633" y="2529001"/>
                </a:cubicBezTo>
                <a:lnTo>
                  <a:pt x="3363096" y="2824201"/>
                </a:lnTo>
                <a:lnTo>
                  <a:pt x="3363096" y="3729110"/>
                </a:lnTo>
                <a:lnTo>
                  <a:pt x="3328737" y="3584522"/>
                </a:lnTo>
                <a:cubicBezTo>
                  <a:pt x="3210521" y="3136652"/>
                  <a:pt x="3053949" y="2725763"/>
                  <a:pt x="2859849" y="2354986"/>
                </a:cubicBezTo>
                <a:cubicBezTo>
                  <a:pt x="2309303" y="1303371"/>
                  <a:pt x="1443340" y="547810"/>
                  <a:pt x="277127" y="98569"/>
                </a:cubicBezTo>
                <a:lnTo>
                  <a:pt x="0" y="0"/>
                </a:lnTo>
                <a:close/>
              </a:path>
            </a:pathLst>
          </a:custGeom>
          <a:solidFill>
            <a:srgbClr val="005C8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486662713"/>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Four Content 5">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884741"/>
            <a:ext cx="2551111"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884741"/>
            <a:ext cx="2551111"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884741"/>
            <a:ext cx="2552699"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884741"/>
            <a:ext cx="2552700"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
        <p:nvSpPr>
          <p:cNvPr id="28" name="Freeform: Shape 27">
            <a:extLst>
              <a:ext uri="{FF2B5EF4-FFF2-40B4-BE49-F238E27FC236}">
                <a16:creationId xmlns:a16="http://schemas.microsoft.com/office/drawing/2014/main" id="{8DF29A4C-9712-4E66-B9C1-AF538CFF51BB}"/>
              </a:ext>
            </a:extLst>
          </p:cNvPr>
          <p:cNvSpPr/>
          <p:nvPr userDrawn="1"/>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CB2D6E4F-11A2-47EB-92FE-B5E446DBE52C}"/>
              </a:ext>
            </a:extLst>
          </p:cNvPr>
          <p:cNvSpPr/>
          <p:nvPr/>
        </p:nvSpPr>
        <p:spPr>
          <a:xfrm>
            <a:off x="8650096" y="2349500"/>
            <a:ext cx="3541903" cy="266700"/>
          </a:xfrm>
          <a:custGeom>
            <a:avLst/>
            <a:gdLst>
              <a:gd name="connsiteX0" fmla="*/ 0 w 3541903"/>
              <a:gd name="connsiteY0" fmla="*/ 133350 h 266700"/>
              <a:gd name="connsiteX1" fmla="*/ 133350 w 3541903"/>
              <a:gd name="connsiteY1" fmla="*/ 266700 h 266700"/>
              <a:gd name="connsiteX2" fmla="*/ 3541903 w 3541903"/>
              <a:gd name="connsiteY2" fmla="*/ 266700 h 266700"/>
              <a:gd name="connsiteX3" fmla="*/ 3541903 w 3541903"/>
              <a:gd name="connsiteY3" fmla="*/ 0 h 266700"/>
              <a:gd name="connsiteX4" fmla="*/ 133350 w 3541903"/>
              <a:gd name="connsiteY4" fmla="*/ 0 h 266700"/>
              <a:gd name="connsiteX5" fmla="*/ 0 w 3541903"/>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41903" h="266700">
                <a:moveTo>
                  <a:pt x="0" y="133350"/>
                </a:moveTo>
                <a:cubicBezTo>
                  <a:pt x="0" y="206997"/>
                  <a:pt x="59703" y="266700"/>
                  <a:pt x="133350" y="266700"/>
                </a:cubicBezTo>
                <a:lnTo>
                  <a:pt x="3541903" y="266700"/>
                </a:lnTo>
                <a:lnTo>
                  <a:pt x="3541903" y="0"/>
                </a:lnTo>
                <a:lnTo>
                  <a:pt x="133350" y="0"/>
                </a:lnTo>
                <a:cubicBezTo>
                  <a:pt x="59703" y="0"/>
                  <a:pt x="0" y="59703"/>
                  <a:pt x="0" y="133350"/>
                </a:cubicBezTo>
                <a:close/>
              </a:path>
            </a:pathLst>
          </a:custGeom>
          <a:solidFill>
            <a:srgbClr val="D19EC7"/>
          </a:solidFill>
          <a:ln w="12700"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76FF8548-3421-4E4E-9A66-8B44D31050B3}"/>
              </a:ext>
            </a:extLst>
          </p:cNvPr>
          <p:cNvSpPr/>
          <p:nvPr/>
        </p:nvSpPr>
        <p:spPr>
          <a:xfrm>
            <a:off x="5683884" y="2349500"/>
            <a:ext cx="3805428" cy="266700"/>
          </a:xfrm>
          <a:custGeom>
            <a:avLst/>
            <a:gdLst>
              <a:gd name="connsiteX0" fmla="*/ 3672078 w 3805428"/>
              <a:gd name="connsiteY0" fmla="*/ 266700 h 266700"/>
              <a:gd name="connsiteX1" fmla="*/ 133350 w 3805428"/>
              <a:gd name="connsiteY1" fmla="*/ 266700 h 266700"/>
              <a:gd name="connsiteX2" fmla="*/ 0 w 3805428"/>
              <a:gd name="connsiteY2" fmla="*/ 133350 h 266700"/>
              <a:gd name="connsiteX3" fmla="*/ 133350 w 3805428"/>
              <a:gd name="connsiteY3" fmla="*/ 0 h 266700"/>
              <a:gd name="connsiteX4" fmla="*/ 3672078 w 3805428"/>
              <a:gd name="connsiteY4" fmla="*/ 0 h 266700"/>
              <a:gd name="connsiteX5" fmla="*/ 3805428 w 3805428"/>
              <a:gd name="connsiteY5" fmla="*/ 133350 h 266700"/>
              <a:gd name="connsiteX6" fmla="*/ 3672078 w 3805428"/>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8" h="266700">
                <a:moveTo>
                  <a:pt x="3672078" y="266700"/>
                </a:moveTo>
                <a:lnTo>
                  <a:pt x="133350" y="266700"/>
                </a:lnTo>
                <a:cubicBezTo>
                  <a:pt x="59703" y="266700"/>
                  <a:pt x="0" y="206997"/>
                  <a:pt x="0" y="133350"/>
                </a:cubicBezTo>
                <a:cubicBezTo>
                  <a:pt x="0" y="59703"/>
                  <a:pt x="59703" y="0"/>
                  <a:pt x="133350" y="0"/>
                </a:cubicBezTo>
                <a:lnTo>
                  <a:pt x="3672078" y="0"/>
                </a:lnTo>
                <a:cubicBezTo>
                  <a:pt x="3745726" y="0"/>
                  <a:pt x="3805428" y="59703"/>
                  <a:pt x="3805428" y="133350"/>
                </a:cubicBezTo>
                <a:cubicBezTo>
                  <a:pt x="3805428" y="206997"/>
                  <a:pt x="3745726" y="266700"/>
                  <a:pt x="3672078" y="266700"/>
                </a:cubicBezTo>
                <a:close/>
              </a:path>
            </a:pathLst>
          </a:custGeom>
          <a:solidFill>
            <a:srgbClr val="EDC2B2"/>
          </a:solidFill>
          <a:ln w="12700"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DB94F954-1122-427F-AA9E-A4AACAED58A9}"/>
              </a:ext>
            </a:extLst>
          </p:cNvPr>
          <p:cNvSpPr/>
          <p:nvPr/>
        </p:nvSpPr>
        <p:spPr>
          <a:xfrm>
            <a:off x="2715132" y="2349500"/>
            <a:ext cx="3805301" cy="266700"/>
          </a:xfrm>
          <a:custGeom>
            <a:avLst/>
            <a:gdLst>
              <a:gd name="connsiteX0" fmla="*/ 3671951 w 3805301"/>
              <a:gd name="connsiteY0" fmla="*/ 266700 h 266700"/>
              <a:gd name="connsiteX1" fmla="*/ 133350 w 3805301"/>
              <a:gd name="connsiteY1" fmla="*/ 266700 h 266700"/>
              <a:gd name="connsiteX2" fmla="*/ 0 w 3805301"/>
              <a:gd name="connsiteY2" fmla="*/ 133350 h 266700"/>
              <a:gd name="connsiteX3" fmla="*/ 133350 w 3805301"/>
              <a:gd name="connsiteY3" fmla="*/ 0 h 266700"/>
              <a:gd name="connsiteX4" fmla="*/ 3671951 w 3805301"/>
              <a:gd name="connsiteY4" fmla="*/ 0 h 266700"/>
              <a:gd name="connsiteX5" fmla="*/ 3805302 w 3805301"/>
              <a:gd name="connsiteY5" fmla="*/ 133350 h 266700"/>
              <a:gd name="connsiteX6" fmla="*/ 3671952 w 3805301"/>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301" h="266700">
                <a:moveTo>
                  <a:pt x="3671951" y="266700"/>
                </a:moveTo>
                <a:lnTo>
                  <a:pt x="133350" y="266700"/>
                </a:lnTo>
                <a:cubicBezTo>
                  <a:pt x="59703" y="266700"/>
                  <a:pt x="0" y="206997"/>
                  <a:pt x="0" y="133350"/>
                </a:cubicBezTo>
                <a:cubicBezTo>
                  <a:pt x="0" y="59703"/>
                  <a:pt x="59703" y="0"/>
                  <a:pt x="133350" y="0"/>
                </a:cubicBezTo>
                <a:lnTo>
                  <a:pt x="3671951" y="0"/>
                </a:lnTo>
                <a:cubicBezTo>
                  <a:pt x="3745598" y="0"/>
                  <a:pt x="3805302" y="59703"/>
                  <a:pt x="3805302" y="133350"/>
                </a:cubicBezTo>
                <a:cubicBezTo>
                  <a:pt x="3805302" y="206997"/>
                  <a:pt x="3745599" y="266700"/>
                  <a:pt x="3671952" y="266700"/>
                </a:cubicBezTo>
                <a:close/>
              </a:path>
            </a:pathLst>
          </a:custGeom>
          <a:solidFill>
            <a:srgbClr val="9EDED4"/>
          </a:solidFill>
          <a:ln w="12700"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326E4F0B-FAC1-4CDE-948B-7C353EBC5D15}"/>
              </a:ext>
            </a:extLst>
          </p:cNvPr>
          <p:cNvSpPr/>
          <p:nvPr/>
        </p:nvSpPr>
        <p:spPr>
          <a:xfrm>
            <a:off x="0" y="2349500"/>
            <a:ext cx="3542029" cy="266700"/>
          </a:xfrm>
          <a:custGeom>
            <a:avLst/>
            <a:gdLst>
              <a:gd name="connsiteX0" fmla="*/ 3542030 w 3542029"/>
              <a:gd name="connsiteY0" fmla="*/ 133350 h 266700"/>
              <a:gd name="connsiteX1" fmla="*/ 3408680 w 3542029"/>
              <a:gd name="connsiteY1" fmla="*/ 0 h 266700"/>
              <a:gd name="connsiteX2" fmla="*/ 0 w 3542029"/>
              <a:gd name="connsiteY2" fmla="*/ 0 h 266700"/>
              <a:gd name="connsiteX3" fmla="*/ 0 w 3542029"/>
              <a:gd name="connsiteY3" fmla="*/ 266700 h 266700"/>
              <a:gd name="connsiteX4" fmla="*/ 3408680 w 3542029"/>
              <a:gd name="connsiteY4" fmla="*/ 266700 h 266700"/>
              <a:gd name="connsiteX5" fmla="*/ 3542030 w 3542029"/>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42029" h="266700">
                <a:moveTo>
                  <a:pt x="3542030" y="133350"/>
                </a:moveTo>
                <a:cubicBezTo>
                  <a:pt x="3542030" y="59703"/>
                  <a:pt x="3482327" y="0"/>
                  <a:pt x="3408680" y="0"/>
                </a:cubicBezTo>
                <a:lnTo>
                  <a:pt x="0" y="0"/>
                </a:lnTo>
                <a:lnTo>
                  <a:pt x="0" y="266700"/>
                </a:lnTo>
                <a:lnTo>
                  <a:pt x="3408680" y="266700"/>
                </a:lnTo>
                <a:cubicBezTo>
                  <a:pt x="3482327" y="266700"/>
                  <a:pt x="3542030" y="206997"/>
                  <a:pt x="3542030" y="133350"/>
                </a:cubicBezTo>
                <a:close/>
              </a:path>
            </a:pathLst>
          </a:custGeom>
          <a:solidFill>
            <a:srgbClr val="85ABE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032544812"/>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52D7E41-C7F8-4707-B5F1-EA6F8F846A0A}"/>
              </a:ext>
            </a:extLst>
          </p:cNvPr>
          <p:cNvSpPr>
            <a:spLocks noGrp="1"/>
          </p:cNvSpPr>
          <p:nvPr>
            <p:ph type="dt" sz="half" idx="10"/>
          </p:nvPr>
        </p:nvSpPr>
        <p:spPr/>
        <p:txBody>
          <a:bodyPr/>
          <a:lstStyle/>
          <a:p>
            <a:r>
              <a:rPr lang="en-US"/>
              <a:t>dd Month 2021</a:t>
            </a:r>
            <a:endParaRPr lang="en-GB" dirty="0"/>
          </a:p>
        </p:txBody>
      </p:sp>
      <p:sp>
        <p:nvSpPr>
          <p:cNvPr id="3" name="Footer Placeholder 2">
            <a:extLst>
              <a:ext uri="{FF2B5EF4-FFF2-40B4-BE49-F238E27FC236}">
                <a16:creationId xmlns:a16="http://schemas.microsoft.com/office/drawing/2014/main" id="{A16A7665-89F6-450F-B436-DAFC760E9AD1}"/>
              </a:ext>
            </a:extLst>
          </p:cNvPr>
          <p:cNvSpPr>
            <a:spLocks noGrp="1"/>
          </p:cNvSpPr>
          <p:nvPr>
            <p:ph type="ftr" sz="quarter" idx="11"/>
          </p:nvPr>
        </p:nvSpPr>
        <p:spPr/>
        <p:txBody>
          <a:bodyPr/>
          <a:lstStyle/>
          <a:p>
            <a:r>
              <a:rPr lang="en-GB"/>
              <a:t>Update Footer to add the Document title</a:t>
            </a:r>
            <a:endParaRPr lang="en-GB" dirty="0"/>
          </a:p>
        </p:txBody>
      </p:sp>
    </p:spTree>
    <p:extLst>
      <p:ext uri="{BB962C8B-B14F-4D97-AF65-F5344CB8AC3E}">
        <p14:creationId xmlns:p14="http://schemas.microsoft.com/office/powerpoint/2010/main" val="2861776979"/>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One Content and Image">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D5260AAC-FBD9-4C1E-B169-41C32038B4F2}"/>
              </a:ext>
            </a:extLst>
          </p:cNvPr>
          <p:cNvSpPr/>
          <p:nvPr/>
        </p:nvSpPr>
        <p:spPr>
          <a:xfrm>
            <a:off x="5379781" y="3391416"/>
            <a:ext cx="6810629" cy="3466581"/>
          </a:xfrm>
          <a:custGeom>
            <a:avLst/>
            <a:gdLst>
              <a:gd name="connsiteX0" fmla="*/ 6810630 w 6810629"/>
              <a:gd name="connsiteY0" fmla="*/ 271424 h 3466581"/>
              <a:gd name="connsiteX1" fmla="*/ 6810630 w 6810629"/>
              <a:gd name="connsiteY1" fmla="*/ 4759 h 3466581"/>
              <a:gd name="connsiteX2" fmla="*/ 4348548 w 6810629"/>
              <a:gd name="connsiteY2" fmla="*/ 254789 h 3466581"/>
              <a:gd name="connsiteX3" fmla="*/ 994788 w 6810629"/>
              <a:gd name="connsiteY3" fmla="*/ 2207922 h 3466581"/>
              <a:gd name="connsiteX4" fmla="*/ 0 w 6810629"/>
              <a:gd name="connsiteY4" fmla="*/ 3466581 h 3466581"/>
              <a:gd name="connsiteX5" fmla="*/ 320506 w 6810629"/>
              <a:gd name="connsiteY5" fmla="*/ 3466581 h 3466581"/>
              <a:gd name="connsiteX6" fmla="*/ 1186787 w 6810629"/>
              <a:gd name="connsiteY6" fmla="*/ 2392937 h 3466581"/>
              <a:gd name="connsiteX7" fmla="*/ 6810630 w 6810629"/>
              <a:gd name="connsiteY7" fmla="*/ 271424 h 346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10629" h="3466581">
                <a:moveTo>
                  <a:pt x="6810630" y="271424"/>
                </a:moveTo>
                <a:lnTo>
                  <a:pt x="6810630" y="4759"/>
                </a:lnTo>
                <a:cubicBezTo>
                  <a:pt x="5929873" y="-21654"/>
                  <a:pt x="5104988" y="61902"/>
                  <a:pt x="4348548" y="254789"/>
                </a:cubicBezTo>
                <a:cubicBezTo>
                  <a:pt x="3054840" y="584692"/>
                  <a:pt x="1926339" y="1241831"/>
                  <a:pt x="994788" y="2207922"/>
                </a:cubicBezTo>
                <a:cubicBezTo>
                  <a:pt x="624210" y="2595137"/>
                  <a:pt x="291127" y="3016571"/>
                  <a:pt x="0" y="3466581"/>
                </a:cubicBezTo>
                <a:lnTo>
                  <a:pt x="320506" y="3466581"/>
                </a:lnTo>
                <a:cubicBezTo>
                  <a:pt x="578284" y="3084771"/>
                  <a:pt x="868090" y="2725593"/>
                  <a:pt x="1186787" y="2392937"/>
                </a:cubicBezTo>
                <a:cubicBezTo>
                  <a:pt x="2614081" y="912818"/>
                  <a:pt x="4502706" y="201329"/>
                  <a:pt x="6810630" y="271424"/>
                </a:cubicBezTo>
                <a:close/>
              </a:path>
            </a:pathLst>
          </a:custGeom>
          <a:solidFill>
            <a:srgbClr val="85ABE3"/>
          </a:solidFill>
          <a:ln w="1269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096125" y="2128838"/>
            <a:ext cx="4375150" cy="400680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465762"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9B9455DB-5F59-44BE-8DE3-D293EF6BD9FF}"/>
              </a:ext>
            </a:extLst>
          </p:cNvPr>
          <p:cNvSpPr/>
          <p:nvPr userDrawn="1"/>
        </p:nvSpPr>
        <p:spPr>
          <a:xfrm>
            <a:off x="1" y="893"/>
            <a:ext cx="12190536" cy="6857105"/>
          </a:xfrm>
          <a:custGeom>
            <a:avLst/>
            <a:gdLst>
              <a:gd name="connsiteX0" fmla="*/ 0 w 12190536"/>
              <a:gd name="connsiteY0" fmla="*/ 0 h 6857105"/>
              <a:gd name="connsiteX1" fmla="*/ 12190537 w 12190536"/>
              <a:gd name="connsiteY1" fmla="*/ 0 h 6857105"/>
              <a:gd name="connsiteX2" fmla="*/ 12190537 w 12190536"/>
              <a:gd name="connsiteY2" fmla="*/ 6857105 h 6857105"/>
              <a:gd name="connsiteX3" fmla="*/ 0 w 12190536"/>
              <a:gd name="connsiteY3" fmla="*/ 6857105 h 6857105"/>
            </a:gdLst>
            <a:ahLst/>
            <a:cxnLst>
              <a:cxn ang="0">
                <a:pos x="connsiteX0" y="connsiteY0"/>
              </a:cxn>
              <a:cxn ang="0">
                <a:pos x="connsiteX1" y="connsiteY1"/>
              </a:cxn>
              <a:cxn ang="0">
                <a:pos x="connsiteX2" y="connsiteY2"/>
              </a:cxn>
              <a:cxn ang="0">
                <a:pos x="connsiteX3" y="connsiteY3"/>
              </a:cxn>
            </a:cxnLst>
            <a:rect l="l" t="t" r="r" b="b"/>
            <a:pathLst>
              <a:path w="12190536" h="6857105">
                <a:moveTo>
                  <a:pt x="0" y="0"/>
                </a:moveTo>
                <a:lnTo>
                  <a:pt x="12190537" y="0"/>
                </a:lnTo>
                <a:lnTo>
                  <a:pt x="12190537" y="6857105"/>
                </a:lnTo>
                <a:lnTo>
                  <a:pt x="0" y="6857105"/>
                </a:lnTo>
                <a:close/>
              </a:path>
            </a:pathLst>
          </a:custGeom>
          <a:no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15425851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Subtitle 2">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8E843608-B7C7-4107-B438-6B64438AA4B9}"/>
              </a:ext>
            </a:extLst>
          </p:cNvPr>
          <p:cNvSpPr/>
          <p:nvPr userDrawn="1"/>
        </p:nvSpPr>
        <p:spPr>
          <a:xfrm>
            <a:off x="0" y="4830317"/>
            <a:ext cx="2965628" cy="2027809"/>
          </a:xfrm>
          <a:custGeom>
            <a:avLst/>
            <a:gdLst>
              <a:gd name="connsiteX0" fmla="*/ 2862200 w 2965628"/>
              <a:gd name="connsiteY0" fmla="*/ 990092 h 2027809"/>
              <a:gd name="connsiteX1" fmla="*/ 2427986 w 2965628"/>
              <a:gd name="connsiteY1" fmla="*/ 922655 h 2027809"/>
              <a:gd name="connsiteX2" fmla="*/ 0 w 2965628"/>
              <a:gd name="connsiteY2" fmla="*/ 0 h 2027809"/>
              <a:gd name="connsiteX3" fmla="*/ 0 w 2965628"/>
              <a:gd name="connsiteY3" fmla="*/ 336804 h 2027809"/>
              <a:gd name="connsiteX4" fmla="*/ 612775 w 2965628"/>
              <a:gd name="connsiteY4" fmla="*/ 712216 h 2027809"/>
              <a:gd name="connsiteX5" fmla="*/ 2394332 w 2965628"/>
              <a:gd name="connsiteY5" fmla="*/ 1187196 h 2027809"/>
              <a:gd name="connsiteX6" fmla="*/ 2687321 w 2965628"/>
              <a:gd name="connsiteY6" fmla="*/ 1227709 h 2027809"/>
              <a:gd name="connsiteX7" fmla="*/ 2606802 w 2965628"/>
              <a:gd name="connsiteY7" fmla="*/ 2027810 h 2027809"/>
              <a:gd name="connsiteX8" fmla="*/ 2874900 w 2965628"/>
              <a:gd name="connsiteY8" fmla="*/ 2027810 h 2027809"/>
              <a:gd name="connsiteX9" fmla="*/ 2964943 w 2965628"/>
              <a:gd name="connsiteY9" fmla="*/ 1133475 h 2027809"/>
              <a:gd name="connsiteX10" fmla="*/ 2862200 w 2965628"/>
              <a:gd name="connsiteY10" fmla="*/ 990092 h 202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5628" h="2027809">
                <a:moveTo>
                  <a:pt x="2862200" y="990092"/>
                </a:moveTo>
                <a:cubicBezTo>
                  <a:pt x="2742820" y="962533"/>
                  <a:pt x="2596896" y="943991"/>
                  <a:pt x="2427986" y="922655"/>
                </a:cubicBezTo>
                <a:cubicBezTo>
                  <a:pt x="1797939" y="842645"/>
                  <a:pt x="875411" y="725424"/>
                  <a:pt x="0" y="0"/>
                </a:cubicBezTo>
                <a:lnTo>
                  <a:pt x="0" y="336804"/>
                </a:lnTo>
                <a:cubicBezTo>
                  <a:pt x="192630" y="480000"/>
                  <a:pt x="397710" y="605640"/>
                  <a:pt x="612775" y="712216"/>
                </a:cubicBezTo>
                <a:cubicBezTo>
                  <a:pt x="1289558" y="1046988"/>
                  <a:pt x="1928114" y="1128014"/>
                  <a:pt x="2394332" y="1187196"/>
                </a:cubicBezTo>
                <a:cubicBezTo>
                  <a:pt x="2503171" y="1201039"/>
                  <a:pt x="2601977" y="1213485"/>
                  <a:pt x="2687321" y="1227709"/>
                </a:cubicBezTo>
                <a:lnTo>
                  <a:pt x="2606802" y="2027810"/>
                </a:lnTo>
                <a:lnTo>
                  <a:pt x="2874900" y="2027810"/>
                </a:lnTo>
                <a:lnTo>
                  <a:pt x="2964943" y="1133475"/>
                </a:lnTo>
                <a:cubicBezTo>
                  <a:pt x="2971713" y="1066621"/>
                  <a:pt x="2927682" y="1005173"/>
                  <a:pt x="2862200" y="990092"/>
                </a:cubicBezTo>
                <a:close/>
              </a:path>
            </a:pathLst>
          </a:custGeom>
          <a:solidFill>
            <a:schemeClr val="accent1"/>
          </a:solidFill>
          <a:ln w="12700" cap="flat">
            <a:noFill/>
            <a:prstDash val="solid"/>
            <a:miter/>
          </a:ln>
        </p:spPr>
        <p:txBody>
          <a:bodyPr rtlCol="0" anchor="ctr"/>
          <a:lstStyle/>
          <a:p>
            <a:endParaRPr lang="en-GB"/>
          </a:p>
        </p:txBody>
      </p:sp>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
        <p:nvSpPr>
          <p:cNvPr id="12" name="Freeform: Shape 11">
            <a:extLst>
              <a:ext uri="{FF2B5EF4-FFF2-40B4-BE49-F238E27FC236}">
                <a16:creationId xmlns:a16="http://schemas.microsoft.com/office/drawing/2014/main" id="{36075CDD-4EB1-4BFB-AA85-64FE04774B5F}"/>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771872845"/>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One Content and Small Image">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F5E56D3C-DAC2-43A0-AEC2-CC85CC8D5308}"/>
              </a:ext>
            </a:extLst>
          </p:cNvPr>
          <p:cNvSpPr/>
          <p:nvPr/>
        </p:nvSpPr>
        <p:spPr>
          <a:xfrm>
            <a:off x="9663795" y="0"/>
            <a:ext cx="2528205" cy="4327499"/>
          </a:xfrm>
          <a:custGeom>
            <a:avLst/>
            <a:gdLst>
              <a:gd name="connsiteX0" fmla="*/ 2528206 w 2528205"/>
              <a:gd name="connsiteY0" fmla="*/ 4327500 h 4327499"/>
              <a:gd name="connsiteX1" fmla="*/ 2528206 w 2528205"/>
              <a:gd name="connsiteY1" fmla="*/ 4011680 h 4327499"/>
              <a:gd name="connsiteX2" fmla="*/ 932346 w 2528205"/>
              <a:gd name="connsiteY2" fmla="*/ 2254292 h 4327499"/>
              <a:gd name="connsiteX3" fmla="*/ 268199 w 2528205"/>
              <a:gd name="connsiteY3" fmla="*/ 0 h 4327499"/>
              <a:gd name="connsiteX4" fmla="*/ 0 w 2528205"/>
              <a:gd name="connsiteY4" fmla="*/ 0 h 4327499"/>
              <a:gd name="connsiteX5" fmla="*/ 696149 w 2528205"/>
              <a:gd name="connsiteY5" fmla="*/ 2377979 h 4327499"/>
              <a:gd name="connsiteX6" fmla="*/ 2528206 w 2528205"/>
              <a:gd name="connsiteY6" fmla="*/ 4327500 h 432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8205" h="4327499">
                <a:moveTo>
                  <a:pt x="2528206" y="4327500"/>
                </a:moveTo>
                <a:lnTo>
                  <a:pt x="2528206" y="4011680"/>
                </a:lnTo>
                <a:cubicBezTo>
                  <a:pt x="1847888" y="3570608"/>
                  <a:pt x="1315935" y="2984812"/>
                  <a:pt x="932346" y="2254292"/>
                </a:cubicBezTo>
                <a:cubicBezTo>
                  <a:pt x="598368" y="1616431"/>
                  <a:pt x="375631" y="859582"/>
                  <a:pt x="268199" y="0"/>
                </a:cubicBezTo>
                <a:lnTo>
                  <a:pt x="0" y="0"/>
                </a:lnTo>
                <a:cubicBezTo>
                  <a:pt x="109209" y="905044"/>
                  <a:pt x="342868" y="1703545"/>
                  <a:pt x="696149" y="2377979"/>
                </a:cubicBezTo>
                <a:cubicBezTo>
                  <a:pt x="1127527" y="3202131"/>
                  <a:pt x="1740499" y="3853453"/>
                  <a:pt x="2528206" y="4327500"/>
                </a:cubicBezTo>
                <a:close/>
              </a:path>
            </a:pathLst>
          </a:custGeom>
          <a:solidFill>
            <a:srgbClr val="005C82"/>
          </a:solidFill>
          <a:ln w="1269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918575" y="2128838"/>
            <a:ext cx="2552699" cy="400680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7288212"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8929687" cy="720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13D53B7E-D789-4970-8EF6-A8ACEEEA4426}"/>
              </a:ext>
            </a:extLst>
          </p:cNvPr>
          <p:cNvSpPr/>
          <p:nvPr/>
        </p:nvSpPr>
        <p:spPr>
          <a:xfrm>
            <a:off x="1145" y="0"/>
            <a:ext cx="12191997" cy="6857356"/>
          </a:xfrm>
          <a:custGeom>
            <a:avLst/>
            <a:gdLst>
              <a:gd name="connsiteX0" fmla="*/ 0 w 12191997"/>
              <a:gd name="connsiteY0" fmla="*/ 0 h 6857356"/>
              <a:gd name="connsiteX1" fmla="*/ 12191998 w 12191997"/>
              <a:gd name="connsiteY1" fmla="*/ 0 h 6857356"/>
              <a:gd name="connsiteX2" fmla="*/ 12191998 w 12191997"/>
              <a:gd name="connsiteY2" fmla="*/ 6857356 h 6857356"/>
              <a:gd name="connsiteX3" fmla="*/ 0 w 12191997"/>
              <a:gd name="connsiteY3" fmla="*/ 6857356 h 6857356"/>
            </a:gdLst>
            <a:ahLst/>
            <a:cxnLst>
              <a:cxn ang="0">
                <a:pos x="connsiteX0" y="connsiteY0"/>
              </a:cxn>
              <a:cxn ang="0">
                <a:pos x="connsiteX1" y="connsiteY1"/>
              </a:cxn>
              <a:cxn ang="0">
                <a:pos x="connsiteX2" y="connsiteY2"/>
              </a:cxn>
              <a:cxn ang="0">
                <a:pos x="connsiteX3" y="connsiteY3"/>
              </a:cxn>
            </a:cxnLst>
            <a:rect l="l" t="t" r="r" b="b"/>
            <a:pathLst>
              <a:path w="12191997" h="6857356">
                <a:moveTo>
                  <a:pt x="0" y="0"/>
                </a:moveTo>
                <a:lnTo>
                  <a:pt x="12191998" y="0"/>
                </a:lnTo>
                <a:lnTo>
                  <a:pt x="12191998" y="6857356"/>
                </a:lnTo>
                <a:lnTo>
                  <a:pt x="0" y="6857356"/>
                </a:lnTo>
                <a:close/>
              </a:path>
            </a:pathLst>
          </a:custGeom>
          <a:noFill/>
          <a:ln w="1269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C0498395-BC18-46FC-857B-AC4EF1D1550B}"/>
              </a:ext>
            </a:extLst>
          </p:cNvPr>
          <p:cNvSpPr/>
          <p:nvPr/>
        </p:nvSpPr>
        <p:spPr>
          <a:xfrm>
            <a:off x="1145" y="0"/>
            <a:ext cx="12191998" cy="6857356"/>
          </a:xfrm>
          <a:custGeom>
            <a:avLst/>
            <a:gdLst>
              <a:gd name="connsiteX0" fmla="*/ 10359941 w 12191998"/>
              <a:gd name="connsiteY0" fmla="*/ 2377979 h 6857356"/>
              <a:gd name="connsiteX1" fmla="*/ 9663792 w 12191998"/>
              <a:gd name="connsiteY1" fmla="*/ 0 h 6857356"/>
              <a:gd name="connsiteX2" fmla="*/ 0 w 12191998"/>
              <a:gd name="connsiteY2" fmla="*/ 0 h 6857356"/>
              <a:gd name="connsiteX3" fmla="*/ 0 w 12191998"/>
              <a:gd name="connsiteY3" fmla="*/ 6857356 h 6857356"/>
              <a:gd name="connsiteX4" fmla="*/ 12191998 w 12191998"/>
              <a:gd name="connsiteY4" fmla="*/ 6857356 h 6857356"/>
              <a:gd name="connsiteX5" fmla="*/ 12191998 w 12191998"/>
              <a:gd name="connsiteY5" fmla="*/ 4327500 h 6857356"/>
              <a:gd name="connsiteX6" fmla="*/ 10359941 w 12191998"/>
              <a:gd name="connsiteY6" fmla="*/ 2377979 h 6857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8" h="6857356">
                <a:moveTo>
                  <a:pt x="10359941" y="2377979"/>
                </a:moveTo>
                <a:cubicBezTo>
                  <a:pt x="10006660" y="1703545"/>
                  <a:pt x="9773002" y="905044"/>
                  <a:pt x="9663792" y="0"/>
                </a:cubicBezTo>
                <a:lnTo>
                  <a:pt x="0" y="0"/>
                </a:lnTo>
                <a:lnTo>
                  <a:pt x="0" y="6857356"/>
                </a:lnTo>
                <a:lnTo>
                  <a:pt x="12191998" y="6857356"/>
                </a:lnTo>
                <a:lnTo>
                  <a:pt x="12191998" y="4327500"/>
                </a:lnTo>
                <a:cubicBezTo>
                  <a:pt x="11404291" y="3853453"/>
                  <a:pt x="10791319" y="3202131"/>
                  <a:pt x="10359941" y="2377979"/>
                </a:cubicBezTo>
                <a:close/>
              </a:path>
            </a:pathLst>
          </a:custGeom>
          <a:no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3380480258"/>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One Content and Large Image">
    <p:bg>
      <p:bgPr>
        <a:solidFill>
          <a:schemeClr val="accent2"/>
        </a:solid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78D6020D-1F24-427E-AFFD-B74FAE976B9B}"/>
              </a:ext>
            </a:extLst>
          </p:cNvPr>
          <p:cNvGrpSpPr/>
          <p:nvPr userDrawn="1"/>
        </p:nvGrpSpPr>
        <p:grpSpPr>
          <a:xfrm>
            <a:off x="6140583" y="1514596"/>
            <a:ext cx="6052444" cy="5343401"/>
            <a:chOff x="6140583" y="1514596"/>
            <a:chExt cx="6052444" cy="5343401"/>
          </a:xfrm>
        </p:grpSpPr>
        <p:sp>
          <p:nvSpPr>
            <p:cNvPr id="17" name="Freeform: Shape 16">
              <a:extLst>
                <a:ext uri="{FF2B5EF4-FFF2-40B4-BE49-F238E27FC236}">
                  <a16:creationId xmlns:a16="http://schemas.microsoft.com/office/drawing/2014/main" id="{1A9AE98D-929D-4305-8E20-BEE836EA715F}"/>
                </a:ext>
              </a:extLst>
            </p:cNvPr>
            <p:cNvSpPr/>
            <p:nvPr/>
          </p:nvSpPr>
          <p:spPr>
            <a:xfrm>
              <a:off x="9649277" y="2908322"/>
              <a:ext cx="1814208" cy="1635607"/>
            </a:xfrm>
            <a:custGeom>
              <a:avLst/>
              <a:gdLst>
                <a:gd name="connsiteX0" fmla="*/ 133414 w 1814208"/>
                <a:gd name="connsiteY0" fmla="*/ 1635607 h 1635607"/>
                <a:gd name="connsiteX1" fmla="*/ 0 w 1814208"/>
                <a:gd name="connsiteY1" fmla="*/ 1502322 h 1635607"/>
                <a:gd name="connsiteX2" fmla="*/ 64454 w 1814208"/>
                <a:gd name="connsiteY2" fmla="*/ 1388084 h 1635607"/>
                <a:gd name="connsiteX3" fmla="*/ 1579057 w 1814208"/>
                <a:gd name="connsiteY3" fmla="*/ 47217 h 1635607"/>
                <a:gd name="connsiteX4" fmla="*/ 1766991 w 1814208"/>
                <a:gd name="connsiteY4" fmla="*/ 31555 h 1635607"/>
                <a:gd name="connsiteX5" fmla="*/ 1784796 w 1814208"/>
                <a:gd name="connsiteY5" fmla="*/ 216889 h 1635607"/>
                <a:gd name="connsiteX6" fmla="*/ 202249 w 1814208"/>
                <a:gd name="connsiteY6" fmla="*/ 1616430 h 1635607"/>
                <a:gd name="connsiteX7" fmla="*/ 133415 w 1814208"/>
                <a:gd name="connsiteY7" fmla="*/ 1635607 h 163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4208" h="1635607">
                  <a:moveTo>
                    <a:pt x="133414" y="1635607"/>
                  </a:moveTo>
                  <a:cubicBezTo>
                    <a:pt x="59767" y="1635643"/>
                    <a:pt x="36" y="1575969"/>
                    <a:pt x="0" y="1502322"/>
                  </a:cubicBezTo>
                  <a:cubicBezTo>
                    <a:pt x="-22" y="1455578"/>
                    <a:pt x="24432" y="1412235"/>
                    <a:pt x="64454" y="1388084"/>
                  </a:cubicBezTo>
                  <a:cubicBezTo>
                    <a:pt x="604585" y="1062202"/>
                    <a:pt x="1114110" y="611097"/>
                    <a:pt x="1579057" y="47217"/>
                  </a:cubicBezTo>
                  <a:cubicBezTo>
                    <a:pt x="1626628" y="-9005"/>
                    <a:pt x="1710769" y="-16017"/>
                    <a:pt x="1766991" y="31555"/>
                  </a:cubicBezTo>
                  <a:cubicBezTo>
                    <a:pt x="1822211" y="78279"/>
                    <a:pt x="1830110" y="160507"/>
                    <a:pt x="1784796" y="216889"/>
                  </a:cubicBezTo>
                  <a:cubicBezTo>
                    <a:pt x="1300673" y="804011"/>
                    <a:pt x="768796" y="1274927"/>
                    <a:pt x="202249" y="1616430"/>
                  </a:cubicBezTo>
                  <a:cubicBezTo>
                    <a:pt x="181474" y="1628959"/>
                    <a:pt x="157676" y="1635590"/>
                    <a:pt x="133415" y="1635607"/>
                  </a:cubicBezTo>
                  <a:close/>
                </a:path>
              </a:pathLst>
            </a:custGeom>
            <a:solidFill>
              <a:srgbClr val="FFFFFF"/>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50F3C96E-5D9C-4E33-A548-A25E9BEC1E8A}"/>
                </a:ext>
              </a:extLst>
            </p:cNvPr>
            <p:cNvSpPr/>
            <p:nvPr/>
          </p:nvSpPr>
          <p:spPr>
            <a:xfrm>
              <a:off x="11203339" y="1514596"/>
              <a:ext cx="989688" cy="1659410"/>
            </a:xfrm>
            <a:custGeom>
              <a:avLst/>
              <a:gdLst>
                <a:gd name="connsiteX0" fmla="*/ 48871 w 989688"/>
                <a:gd name="connsiteY0" fmla="*/ 1629157 h 1659410"/>
                <a:gd name="connsiteX1" fmla="*/ 236372 w 989688"/>
                <a:gd name="connsiteY1" fmla="*/ 1610711 h 1659410"/>
                <a:gd name="connsiteX2" fmla="*/ 236450 w 989688"/>
                <a:gd name="connsiteY2" fmla="*/ 1610615 h 1659410"/>
                <a:gd name="connsiteX3" fmla="*/ 989688 w 989688"/>
                <a:gd name="connsiteY3" fmla="*/ 535051 h 1659410"/>
                <a:gd name="connsiteX4" fmla="*/ 989688 w 989688"/>
                <a:gd name="connsiteY4" fmla="*/ 0 h 1659410"/>
                <a:gd name="connsiteX5" fmla="*/ 30202 w 989688"/>
                <a:gd name="connsiteY5" fmla="*/ 1441578 h 1659410"/>
                <a:gd name="connsiteX6" fmla="*/ 48762 w 989688"/>
                <a:gd name="connsiteY6" fmla="*/ 1629068 h 1659410"/>
                <a:gd name="connsiteX7" fmla="*/ 48871 w 989688"/>
                <a:gd name="connsiteY7" fmla="*/ 1629157 h 165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9688" h="1659410">
                  <a:moveTo>
                    <a:pt x="48871" y="1629157"/>
                  </a:moveTo>
                  <a:cubicBezTo>
                    <a:pt x="105742" y="1675840"/>
                    <a:pt x="189689" y="1667582"/>
                    <a:pt x="236372" y="1610711"/>
                  </a:cubicBezTo>
                  <a:cubicBezTo>
                    <a:pt x="236399" y="1610679"/>
                    <a:pt x="236424" y="1610647"/>
                    <a:pt x="236450" y="1610615"/>
                  </a:cubicBezTo>
                  <a:cubicBezTo>
                    <a:pt x="513004" y="1270625"/>
                    <a:pt x="764733" y="911176"/>
                    <a:pt x="989688" y="535051"/>
                  </a:cubicBezTo>
                  <a:lnTo>
                    <a:pt x="989688" y="0"/>
                  </a:lnTo>
                  <a:cubicBezTo>
                    <a:pt x="693354" y="541867"/>
                    <a:pt x="373526" y="1022393"/>
                    <a:pt x="30202" y="1441578"/>
                  </a:cubicBezTo>
                  <a:cubicBezTo>
                    <a:pt x="-16446" y="1498477"/>
                    <a:pt x="-8137" y="1582419"/>
                    <a:pt x="48762" y="1629068"/>
                  </a:cubicBezTo>
                  <a:cubicBezTo>
                    <a:pt x="48798" y="1629097"/>
                    <a:pt x="48835" y="1629127"/>
                    <a:pt x="48871" y="1629157"/>
                  </a:cubicBezTo>
                  <a:close/>
                </a:path>
              </a:pathLst>
            </a:custGeom>
            <a:solidFill>
              <a:srgbClr val="FFFFFF"/>
            </a:solid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085557CA-AED1-46C0-B285-11DD0961E0F3}"/>
                </a:ext>
              </a:extLst>
            </p:cNvPr>
            <p:cNvSpPr/>
            <p:nvPr/>
          </p:nvSpPr>
          <p:spPr>
            <a:xfrm>
              <a:off x="6140583" y="4276592"/>
              <a:ext cx="3775525" cy="2581405"/>
            </a:xfrm>
            <a:custGeom>
              <a:avLst/>
              <a:gdLst>
                <a:gd name="connsiteX0" fmla="*/ 1653542 w 3775525"/>
                <a:gd name="connsiteY0" fmla="*/ 905005 h 2581405"/>
                <a:gd name="connsiteX1" fmla="*/ 3710943 w 3775525"/>
                <a:gd name="connsiteY1" fmla="*/ 247779 h 2581405"/>
                <a:gd name="connsiteX2" fmla="*/ 3756346 w 3775525"/>
                <a:gd name="connsiteY2" fmla="*/ 64582 h 2581405"/>
                <a:gd name="connsiteX3" fmla="*/ 3573149 w 3775525"/>
                <a:gd name="connsiteY3" fmla="*/ 19179 h 2581405"/>
                <a:gd name="connsiteX4" fmla="*/ 1651256 w 3775525"/>
                <a:gd name="connsiteY4" fmla="*/ 637796 h 2581405"/>
                <a:gd name="connsiteX5" fmla="*/ 843154 w 3775525"/>
                <a:gd name="connsiteY5" fmla="*/ 582933 h 2581405"/>
                <a:gd name="connsiteX6" fmla="*/ 682372 w 3775525"/>
                <a:gd name="connsiteY6" fmla="*/ 666753 h 2581405"/>
                <a:gd name="connsiteX7" fmla="*/ 0 w 3775525"/>
                <a:gd name="connsiteY7" fmla="*/ 2581406 h 2581405"/>
                <a:gd name="connsiteX8" fmla="*/ 283083 w 3775525"/>
                <a:gd name="connsiteY8" fmla="*/ 2581406 h 2581405"/>
                <a:gd name="connsiteX9" fmla="*/ 895224 w 3775525"/>
                <a:gd name="connsiteY9" fmla="*/ 866905 h 2581405"/>
                <a:gd name="connsiteX10" fmla="*/ 1653542 w 3775525"/>
                <a:gd name="connsiteY10" fmla="*/ 905005 h 2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75525" h="2581405">
                  <a:moveTo>
                    <a:pt x="1653542" y="905005"/>
                  </a:moveTo>
                  <a:cubicBezTo>
                    <a:pt x="2139063" y="878589"/>
                    <a:pt x="2890142" y="742952"/>
                    <a:pt x="3710943" y="247779"/>
                  </a:cubicBezTo>
                  <a:cubicBezTo>
                    <a:pt x="3774070" y="209728"/>
                    <a:pt x="3794397" y="127708"/>
                    <a:pt x="3756346" y="64582"/>
                  </a:cubicBezTo>
                  <a:cubicBezTo>
                    <a:pt x="3718295" y="1456"/>
                    <a:pt x="3636275" y="-18872"/>
                    <a:pt x="3573149" y="19179"/>
                  </a:cubicBezTo>
                  <a:cubicBezTo>
                    <a:pt x="2804417" y="482983"/>
                    <a:pt x="2103756" y="611508"/>
                    <a:pt x="1651256" y="637796"/>
                  </a:cubicBezTo>
                  <a:cubicBezTo>
                    <a:pt x="1159892" y="666245"/>
                    <a:pt x="846075" y="583695"/>
                    <a:pt x="843154" y="582933"/>
                  </a:cubicBezTo>
                  <a:cubicBezTo>
                    <a:pt x="775894" y="564598"/>
                    <a:pt x="705853" y="601112"/>
                    <a:pt x="682372" y="666753"/>
                  </a:cubicBezTo>
                  <a:lnTo>
                    <a:pt x="0" y="2581406"/>
                  </a:lnTo>
                  <a:lnTo>
                    <a:pt x="283083" y="2581406"/>
                  </a:lnTo>
                  <a:lnTo>
                    <a:pt x="895224" y="866905"/>
                  </a:lnTo>
                  <a:cubicBezTo>
                    <a:pt x="1038734" y="892305"/>
                    <a:pt x="1303656" y="924563"/>
                    <a:pt x="1653542" y="905005"/>
                  </a:cubicBezTo>
                  <a:close/>
                </a:path>
              </a:pathLst>
            </a:custGeom>
            <a:solidFill>
              <a:srgbClr val="FFFFFF"/>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0"/>
            <a:ext cx="2733674" cy="6137275"/>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990937"/>
            <a:ext cx="7108826"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6" y="2128838"/>
            <a:ext cx="7108827" cy="756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1"/>
                </a:solidFill>
                <a:latin typeface="+mj-lt"/>
              </a:defRPr>
            </a:lvl7pPr>
            <a:lvl8pPr marL="0" indent="0" algn="l">
              <a:lnSpc>
                <a:spcPct val="100000"/>
              </a:lnSpc>
              <a:spcBef>
                <a:spcPts val="0"/>
              </a:spcBef>
              <a:buNone/>
              <a:defRPr sz="1800" i="1">
                <a:solidFill>
                  <a:schemeClr val="tx2"/>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6" y="666745"/>
            <a:ext cx="7108827" cy="1368000"/>
          </a:xfrm>
        </p:spPr>
        <p:txBody>
          <a:bodyPr/>
          <a:lstStyle/>
          <a:p>
            <a:pPr lvl="0"/>
            <a:r>
              <a:rPr lang="en-US"/>
              <a:t>Click to edit Master title style</a:t>
            </a:r>
            <a:endParaRPr lang="en-GB" dirty="0"/>
          </a:p>
        </p:txBody>
      </p:sp>
      <p:sp>
        <p:nvSpPr>
          <p:cNvPr id="20" name="Freeform: Shape 19">
            <a:extLst>
              <a:ext uri="{FF2B5EF4-FFF2-40B4-BE49-F238E27FC236}">
                <a16:creationId xmlns:a16="http://schemas.microsoft.com/office/drawing/2014/main" id="{8ECF9D0E-6D6B-4A9D-9688-3D0EC0BC5D39}"/>
              </a:ext>
            </a:extLst>
          </p:cNvPr>
          <p:cNvSpPr/>
          <p:nvPr/>
        </p:nvSpPr>
        <p:spPr>
          <a:xfrm>
            <a:off x="1" y="-7"/>
            <a:ext cx="12193153" cy="6858005"/>
          </a:xfrm>
          <a:custGeom>
            <a:avLst/>
            <a:gdLst>
              <a:gd name="connsiteX0" fmla="*/ 0 w 12193153"/>
              <a:gd name="connsiteY0" fmla="*/ 0 h 6858005"/>
              <a:gd name="connsiteX1" fmla="*/ 12193153 w 12193153"/>
              <a:gd name="connsiteY1" fmla="*/ 0 h 6858005"/>
              <a:gd name="connsiteX2" fmla="*/ 12193153 w 12193153"/>
              <a:gd name="connsiteY2" fmla="*/ 6858005 h 6858005"/>
              <a:gd name="connsiteX3" fmla="*/ 0 w 12193153"/>
              <a:gd name="connsiteY3" fmla="*/ 6858005 h 6858005"/>
            </a:gdLst>
            <a:ahLst/>
            <a:cxnLst>
              <a:cxn ang="0">
                <a:pos x="connsiteX0" y="connsiteY0"/>
              </a:cxn>
              <a:cxn ang="0">
                <a:pos x="connsiteX1" y="connsiteY1"/>
              </a:cxn>
              <a:cxn ang="0">
                <a:pos x="connsiteX2" y="connsiteY2"/>
              </a:cxn>
              <a:cxn ang="0">
                <a:pos x="connsiteX3" y="connsiteY3"/>
              </a:cxn>
            </a:cxnLst>
            <a:rect l="l" t="t" r="r" b="b"/>
            <a:pathLst>
              <a:path w="12193153" h="6858005">
                <a:moveTo>
                  <a:pt x="0" y="0"/>
                </a:moveTo>
                <a:lnTo>
                  <a:pt x="12193153" y="0"/>
                </a:lnTo>
                <a:lnTo>
                  <a:pt x="12193153" y="6858005"/>
                </a:lnTo>
                <a:lnTo>
                  <a:pt x="0" y="6858005"/>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422911281"/>
      </p:ext>
    </p:extLst>
  </p:cSld>
  <p:clrMapOvr>
    <a:masterClrMapping/>
  </p:clrMapOvr>
  <p:extLst>
    <p:ext uri="{DCECCB84-F9BA-43D5-87BE-67443E8EF086}">
      <p15:sldGuideLst xmlns:p15="http://schemas.microsoft.com/office/powerpoint/2012/main">
        <p15:guide id="3" orient="horz" pos="2233">
          <p15:clr>
            <a:srgbClr val="A4A3A4"/>
          </p15:clr>
        </p15:guide>
        <p15:guide id="5" orient="horz" pos="986">
          <p15:clr>
            <a:srgbClr val="A4A3A4"/>
          </p15:clr>
        </p15:guide>
        <p15:guide id="6" orient="horz" pos="1576">
          <p15:clr>
            <a:srgbClr val="A4A3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ntent and Large Image">
    <p:bg>
      <p:bgPr>
        <a:solidFill>
          <a:schemeClr val="accent4"/>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F738942-6048-45C4-98D8-C0116A51019A}"/>
              </a:ext>
            </a:extLst>
          </p:cNvPr>
          <p:cNvGrpSpPr/>
          <p:nvPr userDrawn="1"/>
        </p:nvGrpSpPr>
        <p:grpSpPr>
          <a:xfrm>
            <a:off x="6140583" y="1514596"/>
            <a:ext cx="6052444" cy="5343401"/>
            <a:chOff x="6140583" y="1514596"/>
            <a:chExt cx="6052444" cy="5343401"/>
          </a:xfrm>
        </p:grpSpPr>
        <p:sp>
          <p:nvSpPr>
            <p:cNvPr id="18" name="Freeform: Shape 17">
              <a:extLst>
                <a:ext uri="{FF2B5EF4-FFF2-40B4-BE49-F238E27FC236}">
                  <a16:creationId xmlns:a16="http://schemas.microsoft.com/office/drawing/2014/main" id="{05D24422-BEC0-46DA-A735-2F65A8E5017F}"/>
                </a:ext>
              </a:extLst>
            </p:cNvPr>
            <p:cNvSpPr/>
            <p:nvPr/>
          </p:nvSpPr>
          <p:spPr>
            <a:xfrm>
              <a:off x="9649277" y="2908322"/>
              <a:ext cx="1814208" cy="1635607"/>
            </a:xfrm>
            <a:custGeom>
              <a:avLst/>
              <a:gdLst>
                <a:gd name="connsiteX0" fmla="*/ 133414 w 1814208"/>
                <a:gd name="connsiteY0" fmla="*/ 1635607 h 1635607"/>
                <a:gd name="connsiteX1" fmla="*/ 0 w 1814208"/>
                <a:gd name="connsiteY1" fmla="*/ 1502322 h 1635607"/>
                <a:gd name="connsiteX2" fmla="*/ 64454 w 1814208"/>
                <a:gd name="connsiteY2" fmla="*/ 1388084 h 1635607"/>
                <a:gd name="connsiteX3" fmla="*/ 1579057 w 1814208"/>
                <a:gd name="connsiteY3" fmla="*/ 47217 h 1635607"/>
                <a:gd name="connsiteX4" fmla="*/ 1766991 w 1814208"/>
                <a:gd name="connsiteY4" fmla="*/ 31555 h 1635607"/>
                <a:gd name="connsiteX5" fmla="*/ 1784796 w 1814208"/>
                <a:gd name="connsiteY5" fmla="*/ 216889 h 1635607"/>
                <a:gd name="connsiteX6" fmla="*/ 202249 w 1814208"/>
                <a:gd name="connsiteY6" fmla="*/ 1616430 h 1635607"/>
                <a:gd name="connsiteX7" fmla="*/ 133415 w 1814208"/>
                <a:gd name="connsiteY7" fmla="*/ 1635607 h 163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4208" h="1635607">
                  <a:moveTo>
                    <a:pt x="133414" y="1635607"/>
                  </a:moveTo>
                  <a:cubicBezTo>
                    <a:pt x="59767" y="1635643"/>
                    <a:pt x="36" y="1575969"/>
                    <a:pt x="0" y="1502322"/>
                  </a:cubicBezTo>
                  <a:cubicBezTo>
                    <a:pt x="-22" y="1455578"/>
                    <a:pt x="24432" y="1412235"/>
                    <a:pt x="64454" y="1388084"/>
                  </a:cubicBezTo>
                  <a:cubicBezTo>
                    <a:pt x="604585" y="1062202"/>
                    <a:pt x="1114110" y="611097"/>
                    <a:pt x="1579057" y="47217"/>
                  </a:cubicBezTo>
                  <a:cubicBezTo>
                    <a:pt x="1626628" y="-9005"/>
                    <a:pt x="1710769" y="-16017"/>
                    <a:pt x="1766991" y="31555"/>
                  </a:cubicBezTo>
                  <a:cubicBezTo>
                    <a:pt x="1822211" y="78279"/>
                    <a:pt x="1830110" y="160507"/>
                    <a:pt x="1784796" y="216889"/>
                  </a:cubicBezTo>
                  <a:cubicBezTo>
                    <a:pt x="1300673" y="804011"/>
                    <a:pt x="768796" y="1274927"/>
                    <a:pt x="202249" y="1616430"/>
                  </a:cubicBezTo>
                  <a:cubicBezTo>
                    <a:pt x="181474" y="1628959"/>
                    <a:pt x="157676" y="1635590"/>
                    <a:pt x="133415" y="1635607"/>
                  </a:cubicBezTo>
                  <a:close/>
                </a:path>
              </a:pathLst>
            </a:custGeom>
            <a:solidFill>
              <a:srgbClr val="FFFFFF"/>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923FD5AC-26EE-4EB7-A613-3325FAB84AA3}"/>
                </a:ext>
              </a:extLst>
            </p:cNvPr>
            <p:cNvSpPr/>
            <p:nvPr/>
          </p:nvSpPr>
          <p:spPr>
            <a:xfrm>
              <a:off x="11203339" y="1514596"/>
              <a:ext cx="989688" cy="1659410"/>
            </a:xfrm>
            <a:custGeom>
              <a:avLst/>
              <a:gdLst>
                <a:gd name="connsiteX0" fmla="*/ 48871 w 989688"/>
                <a:gd name="connsiteY0" fmla="*/ 1629157 h 1659410"/>
                <a:gd name="connsiteX1" fmla="*/ 236372 w 989688"/>
                <a:gd name="connsiteY1" fmla="*/ 1610711 h 1659410"/>
                <a:gd name="connsiteX2" fmla="*/ 236450 w 989688"/>
                <a:gd name="connsiteY2" fmla="*/ 1610615 h 1659410"/>
                <a:gd name="connsiteX3" fmla="*/ 989688 w 989688"/>
                <a:gd name="connsiteY3" fmla="*/ 535051 h 1659410"/>
                <a:gd name="connsiteX4" fmla="*/ 989688 w 989688"/>
                <a:gd name="connsiteY4" fmla="*/ 0 h 1659410"/>
                <a:gd name="connsiteX5" fmla="*/ 30202 w 989688"/>
                <a:gd name="connsiteY5" fmla="*/ 1441578 h 1659410"/>
                <a:gd name="connsiteX6" fmla="*/ 48762 w 989688"/>
                <a:gd name="connsiteY6" fmla="*/ 1629068 h 1659410"/>
                <a:gd name="connsiteX7" fmla="*/ 48871 w 989688"/>
                <a:gd name="connsiteY7" fmla="*/ 1629157 h 165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9688" h="1659410">
                  <a:moveTo>
                    <a:pt x="48871" y="1629157"/>
                  </a:moveTo>
                  <a:cubicBezTo>
                    <a:pt x="105742" y="1675840"/>
                    <a:pt x="189689" y="1667582"/>
                    <a:pt x="236372" y="1610711"/>
                  </a:cubicBezTo>
                  <a:cubicBezTo>
                    <a:pt x="236399" y="1610679"/>
                    <a:pt x="236424" y="1610647"/>
                    <a:pt x="236450" y="1610615"/>
                  </a:cubicBezTo>
                  <a:cubicBezTo>
                    <a:pt x="513004" y="1270625"/>
                    <a:pt x="764733" y="911176"/>
                    <a:pt x="989688" y="535051"/>
                  </a:cubicBezTo>
                  <a:lnTo>
                    <a:pt x="989688" y="0"/>
                  </a:lnTo>
                  <a:cubicBezTo>
                    <a:pt x="693354" y="541867"/>
                    <a:pt x="373526" y="1022393"/>
                    <a:pt x="30202" y="1441578"/>
                  </a:cubicBezTo>
                  <a:cubicBezTo>
                    <a:pt x="-16446" y="1498477"/>
                    <a:pt x="-8137" y="1582419"/>
                    <a:pt x="48762" y="1629068"/>
                  </a:cubicBezTo>
                  <a:cubicBezTo>
                    <a:pt x="48798" y="1629097"/>
                    <a:pt x="48835" y="1629127"/>
                    <a:pt x="48871" y="1629157"/>
                  </a:cubicBezTo>
                  <a:close/>
                </a:path>
              </a:pathLst>
            </a:custGeom>
            <a:solidFill>
              <a:srgbClr val="FFFFFF"/>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99417C80-6101-47AB-B3F7-40A05CC3A2EA}"/>
                </a:ext>
              </a:extLst>
            </p:cNvPr>
            <p:cNvSpPr/>
            <p:nvPr/>
          </p:nvSpPr>
          <p:spPr>
            <a:xfrm>
              <a:off x="6140583" y="4276592"/>
              <a:ext cx="3775525" cy="2581405"/>
            </a:xfrm>
            <a:custGeom>
              <a:avLst/>
              <a:gdLst>
                <a:gd name="connsiteX0" fmla="*/ 1653542 w 3775525"/>
                <a:gd name="connsiteY0" fmla="*/ 905005 h 2581405"/>
                <a:gd name="connsiteX1" fmla="*/ 3710943 w 3775525"/>
                <a:gd name="connsiteY1" fmla="*/ 247779 h 2581405"/>
                <a:gd name="connsiteX2" fmla="*/ 3756346 w 3775525"/>
                <a:gd name="connsiteY2" fmla="*/ 64582 h 2581405"/>
                <a:gd name="connsiteX3" fmla="*/ 3573149 w 3775525"/>
                <a:gd name="connsiteY3" fmla="*/ 19179 h 2581405"/>
                <a:gd name="connsiteX4" fmla="*/ 1651256 w 3775525"/>
                <a:gd name="connsiteY4" fmla="*/ 637796 h 2581405"/>
                <a:gd name="connsiteX5" fmla="*/ 843154 w 3775525"/>
                <a:gd name="connsiteY5" fmla="*/ 582933 h 2581405"/>
                <a:gd name="connsiteX6" fmla="*/ 682372 w 3775525"/>
                <a:gd name="connsiteY6" fmla="*/ 666753 h 2581405"/>
                <a:gd name="connsiteX7" fmla="*/ 0 w 3775525"/>
                <a:gd name="connsiteY7" fmla="*/ 2581406 h 2581405"/>
                <a:gd name="connsiteX8" fmla="*/ 283083 w 3775525"/>
                <a:gd name="connsiteY8" fmla="*/ 2581406 h 2581405"/>
                <a:gd name="connsiteX9" fmla="*/ 895224 w 3775525"/>
                <a:gd name="connsiteY9" fmla="*/ 866905 h 2581405"/>
                <a:gd name="connsiteX10" fmla="*/ 1653542 w 3775525"/>
                <a:gd name="connsiteY10" fmla="*/ 905005 h 2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75525" h="2581405">
                  <a:moveTo>
                    <a:pt x="1653542" y="905005"/>
                  </a:moveTo>
                  <a:cubicBezTo>
                    <a:pt x="2139063" y="878589"/>
                    <a:pt x="2890142" y="742952"/>
                    <a:pt x="3710943" y="247779"/>
                  </a:cubicBezTo>
                  <a:cubicBezTo>
                    <a:pt x="3774070" y="209728"/>
                    <a:pt x="3794397" y="127708"/>
                    <a:pt x="3756346" y="64582"/>
                  </a:cubicBezTo>
                  <a:cubicBezTo>
                    <a:pt x="3718295" y="1456"/>
                    <a:pt x="3636275" y="-18872"/>
                    <a:pt x="3573149" y="19179"/>
                  </a:cubicBezTo>
                  <a:cubicBezTo>
                    <a:pt x="2804417" y="482983"/>
                    <a:pt x="2103756" y="611508"/>
                    <a:pt x="1651256" y="637796"/>
                  </a:cubicBezTo>
                  <a:cubicBezTo>
                    <a:pt x="1159892" y="666245"/>
                    <a:pt x="846075" y="583695"/>
                    <a:pt x="843154" y="582933"/>
                  </a:cubicBezTo>
                  <a:cubicBezTo>
                    <a:pt x="775894" y="564598"/>
                    <a:pt x="705853" y="601112"/>
                    <a:pt x="682372" y="666753"/>
                  </a:cubicBezTo>
                  <a:lnTo>
                    <a:pt x="0" y="2581406"/>
                  </a:lnTo>
                  <a:lnTo>
                    <a:pt x="283083" y="2581406"/>
                  </a:lnTo>
                  <a:lnTo>
                    <a:pt x="895224" y="866905"/>
                  </a:lnTo>
                  <a:cubicBezTo>
                    <a:pt x="1038734" y="892305"/>
                    <a:pt x="1303656" y="924563"/>
                    <a:pt x="1653542" y="905005"/>
                  </a:cubicBezTo>
                  <a:close/>
                </a:path>
              </a:pathLst>
            </a:custGeom>
            <a:solidFill>
              <a:srgbClr val="FFFFFF"/>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0"/>
            <a:ext cx="2733674" cy="6137275"/>
          </a:xfrm>
        </p:spPr>
        <p:txBody>
          <a:bodyPr/>
          <a:lstStyle/>
          <a:p>
            <a:r>
              <a:rPr lang="en-US"/>
              <a:t>Click icon to add picture</a:t>
            </a:r>
            <a:endParaRPr lang="en-GB" dirty="0"/>
          </a:p>
        </p:txBody>
      </p:sp>
      <p:sp>
        <p:nvSpPr>
          <p:cNvPr id="9" name="Content Placeholder 2">
            <a:extLst>
              <a:ext uri="{FF2B5EF4-FFF2-40B4-BE49-F238E27FC236}">
                <a16:creationId xmlns:a16="http://schemas.microsoft.com/office/drawing/2014/main" id="{91BA52AE-9ABC-4055-9C13-8C8165D9881B}"/>
              </a:ext>
            </a:extLst>
          </p:cNvPr>
          <p:cNvSpPr>
            <a:spLocks noGrp="1"/>
          </p:cNvSpPr>
          <p:nvPr>
            <p:ph idx="14"/>
          </p:nvPr>
        </p:nvSpPr>
        <p:spPr>
          <a:xfrm>
            <a:off x="4364038" y="2990638"/>
            <a:ext cx="3463925"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990639"/>
            <a:ext cx="3463925"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2128838"/>
            <a:ext cx="7108826" cy="756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7108826" cy="1368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320048135"/>
      </p:ext>
    </p:extLst>
  </p:cSld>
  <p:clrMapOvr>
    <a:masterClrMapping/>
  </p:clrMapOvr>
  <p:extLst>
    <p:ext uri="{DCECCB84-F9BA-43D5-87BE-67443E8EF086}">
      <p15:sldGuideLst xmlns:p15="http://schemas.microsoft.com/office/powerpoint/2012/main">
        <p15:guide id="3" orient="horz" pos="2233">
          <p15:clr>
            <a:srgbClr val="A4A3A4"/>
          </p15:clr>
        </p15:guide>
        <p15:guide id="5" orient="horz" pos="986">
          <p15:clr>
            <a:srgbClr val="A4A3A4"/>
          </p15:clr>
        </p15:guide>
        <p15:guide id="6" orient="horz" pos="1576">
          <p15:clr>
            <a:srgbClr val="A4A3A4"/>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One Content and Large Image Left">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A97D11A-B07A-45DD-B5F7-3C1317C2F07A}"/>
              </a:ext>
            </a:extLst>
          </p:cNvPr>
          <p:cNvGrpSpPr/>
          <p:nvPr userDrawn="1"/>
        </p:nvGrpSpPr>
        <p:grpSpPr>
          <a:xfrm>
            <a:off x="0" y="0"/>
            <a:ext cx="5134863" cy="4480922"/>
            <a:chOff x="0" y="0"/>
            <a:chExt cx="5134863" cy="4480922"/>
          </a:xfrm>
        </p:grpSpPr>
        <p:sp>
          <p:nvSpPr>
            <p:cNvPr id="16" name="Freeform: Shape 15">
              <a:extLst>
                <a:ext uri="{FF2B5EF4-FFF2-40B4-BE49-F238E27FC236}">
                  <a16:creationId xmlns:a16="http://schemas.microsoft.com/office/drawing/2014/main" id="{F76299E4-E25F-4038-A9F4-ADCF55EE1965}"/>
                </a:ext>
              </a:extLst>
            </p:cNvPr>
            <p:cNvSpPr/>
            <p:nvPr/>
          </p:nvSpPr>
          <p:spPr>
            <a:xfrm>
              <a:off x="954718" y="0"/>
              <a:ext cx="4180145" cy="4480922"/>
            </a:xfrm>
            <a:custGeom>
              <a:avLst/>
              <a:gdLst>
                <a:gd name="connsiteX0" fmla="*/ 2385381 w 4180145"/>
                <a:gd name="connsiteY0" fmla="*/ 1186053 h 4480922"/>
                <a:gd name="connsiteX1" fmla="*/ 1048325 w 4180145"/>
                <a:gd name="connsiteY1" fmla="*/ 3687953 h 4480922"/>
                <a:gd name="connsiteX2" fmla="*/ 854777 w 4180145"/>
                <a:gd name="connsiteY2" fmla="*/ 4182364 h 4480922"/>
                <a:gd name="connsiteX3" fmla="*/ 176851 w 4180145"/>
                <a:gd name="connsiteY3" fmla="*/ 3948684 h 4480922"/>
                <a:gd name="connsiteX4" fmla="*/ 7306 w 4180145"/>
                <a:gd name="connsiteY4" fmla="*/ 4031361 h 4480922"/>
                <a:gd name="connsiteX5" fmla="*/ 89983 w 4180145"/>
                <a:gd name="connsiteY5" fmla="*/ 4200907 h 4480922"/>
                <a:gd name="connsiteX6" fmla="*/ 881701 w 4180145"/>
                <a:gd name="connsiteY6" fmla="*/ 4473448 h 4480922"/>
                <a:gd name="connsiteX7" fmla="*/ 1044769 w 4180145"/>
                <a:gd name="connsiteY7" fmla="*/ 4406900 h 4480922"/>
                <a:gd name="connsiteX8" fmla="*/ 1298134 w 4180145"/>
                <a:gd name="connsiteY8" fmla="*/ 3781679 h 4480922"/>
                <a:gd name="connsiteX9" fmla="*/ 4180146 w 4180145"/>
                <a:gd name="connsiteY9" fmla="*/ 0 h 4480922"/>
                <a:gd name="connsiteX10" fmla="*/ 3688274 w 4180145"/>
                <a:gd name="connsiteY10" fmla="*/ 0 h 4480922"/>
                <a:gd name="connsiteX11" fmla="*/ 2385381 w 4180145"/>
                <a:gd name="connsiteY11" fmla="*/ 1186053 h 448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0145" h="4480922">
                  <a:moveTo>
                    <a:pt x="2385381" y="1186053"/>
                  </a:moveTo>
                  <a:cubicBezTo>
                    <a:pt x="1648781" y="2080387"/>
                    <a:pt x="1301690" y="3009392"/>
                    <a:pt x="1048325" y="3687953"/>
                  </a:cubicBezTo>
                  <a:cubicBezTo>
                    <a:pt x="978221" y="3875913"/>
                    <a:pt x="915483" y="4043553"/>
                    <a:pt x="854777" y="4182364"/>
                  </a:cubicBezTo>
                  <a:lnTo>
                    <a:pt x="176851" y="3948684"/>
                  </a:lnTo>
                  <a:cubicBezTo>
                    <a:pt x="107202" y="3924696"/>
                    <a:pt x="31294" y="3961712"/>
                    <a:pt x="7306" y="4031361"/>
                  </a:cubicBezTo>
                  <a:cubicBezTo>
                    <a:pt x="-16682" y="4101011"/>
                    <a:pt x="20334" y="4176918"/>
                    <a:pt x="89983" y="4200907"/>
                  </a:cubicBezTo>
                  <a:lnTo>
                    <a:pt x="881701" y="4473448"/>
                  </a:lnTo>
                  <a:cubicBezTo>
                    <a:pt x="945063" y="4495604"/>
                    <a:pt x="1015002" y="4467062"/>
                    <a:pt x="1044769" y="4406900"/>
                  </a:cubicBezTo>
                  <a:cubicBezTo>
                    <a:pt x="1127065" y="4239768"/>
                    <a:pt x="1206313" y="4027424"/>
                    <a:pt x="1298134" y="3781679"/>
                  </a:cubicBezTo>
                  <a:cubicBezTo>
                    <a:pt x="1691961" y="2726436"/>
                    <a:pt x="2292671" y="1117600"/>
                    <a:pt x="4180146" y="0"/>
                  </a:cubicBezTo>
                  <a:lnTo>
                    <a:pt x="3688274" y="0"/>
                  </a:lnTo>
                  <a:cubicBezTo>
                    <a:pt x="3200117" y="331803"/>
                    <a:pt x="2761457" y="731126"/>
                    <a:pt x="2385381" y="1186053"/>
                  </a:cubicBezTo>
                  <a:close/>
                </a:path>
              </a:pathLst>
            </a:custGeom>
            <a:solidFill>
              <a:srgbClr val="FFE84C"/>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5C98D058-C87A-4B6A-83A1-6235BF2E7E5F}"/>
                </a:ext>
              </a:extLst>
            </p:cNvPr>
            <p:cNvSpPr/>
            <p:nvPr/>
          </p:nvSpPr>
          <p:spPr>
            <a:xfrm>
              <a:off x="0" y="3559047"/>
              <a:ext cx="1221581" cy="649097"/>
            </a:xfrm>
            <a:custGeom>
              <a:avLst/>
              <a:gdLst>
                <a:gd name="connsiteX0" fmla="*/ 1088136 w 1221581"/>
                <a:gd name="connsiteY0" fmla="*/ 649097 h 649097"/>
                <a:gd name="connsiteX1" fmla="*/ 1221582 w 1221581"/>
                <a:gd name="connsiteY1" fmla="*/ 515843 h 649097"/>
                <a:gd name="connsiteX2" fmla="*/ 1131570 w 1221581"/>
                <a:gd name="connsiteY2" fmla="*/ 389636 h 649097"/>
                <a:gd name="connsiteX3" fmla="*/ 0 w 1221581"/>
                <a:gd name="connsiteY3" fmla="*/ 0 h 649097"/>
                <a:gd name="connsiteX4" fmla="*/ 0 w 1221581"/>
                <a:gd name="connsiteY4" fmla="*/ 282067 h 649097"/>
                <a:gd name="connsiteX5" fmla="*/ 1044702 w 1221581"/>
                <a:gd name="connsiteY5" fmla="*/ 641858 h 649097"/>
                <a:gd name="connsiteX6" fmla="*/ 1088136 w 1221581"/>
                <a:gd name="connsiteY6" fmla="*/ 649097 h 64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581" h="649097">
                  <a:moveTo>
                    <a:pt x="1088136" y="649097"/>
                  </a:moveTo>
                  <a:cubicBezTo>
                    <a:pt x="1161783" y="649150"/>
                    <a:pt x="1221529" y="589490"/>
                    <a:pt x="1221582" y="515843"/>
                  </a:cubicBezTo>
                  <a:cubicBezTo>
                    <a:pt x="1221622" y="458864"/>
                    <a:pt x="1185456" y="408154"/>
                    <a:pt x="1131570" y="389636"/>
                  </a:cubicBezTo>
                  <a:lnTo>
                    <a:pt x="0" y="0"/>
                  </a:lnTo>
                  <a:lnTo>
                    <a:pt x="0" y="282067"/>
                  </a:lnTo>
                  <a:lnTo>
                    <a:pt x="1044702" y="641858"/>
                  </a:lnTo>
                  <a:cubicBezTo>
                    <a:pt x="1058681" y="646654"/>
                    <a:pt x="1073358" y="649101"/>
                    <a:pt x="1088136" y="649097"/>
                  </a:cubicBezTo>
                  <a:close/>
                </a:path>
              </a:pathLst>
            </a:custGeom>
            <a:solidFill>
              <a:srgbClr val="005C82"/>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19139" y="720725"/>
            <a:ext cx="4375150" cy="541655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6005513" y="3374933"/>
            <a:ext cx="5465761" cy="27623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6005513" y="2128838"/>
            <a:ext cx="5465761" cy="1152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6005513" y="666744"/>
            <a:ext cx="5465761" cy="1368000"/>
          </a:xfrm>
        </p:spPr>
        <p:txBody>
          <a:bodyPr>
            <a:noAutofit/>
          </a:bodyPr>
          <a:lstStyle/>
          <a:p>
            <a:pPr lvl="0"/>
            <a:r>
              <a:rPr lang="en-US"/>
              <a:t>Click to edit Master title style</a:t>
            </a:r>
            <a:endParaRPr lang="en-GB" dirty="0"/>
          </a:p>
        </p:txBody>
      </p:sp>
    </p:spTree>
    <p:extLst>
      <p:ext uri="{BB962C8B-B14F-4D97-AF65-F5344CB8AC3E}">
        <p14:creationId xmlns:p14="http://schemas.microsoft.com/office/powerpoint/2010/main" val="3696822154"/>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One Content and Large Image Left 2">
    <p:bg>
      <p:bgPr>
        <a:solidFill>
          <a:schemeClr val="accent1"/>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259" y="720725"/>
            <a:ext cx="4375150" cy="5416550"/>
          </a:xfrm>
        </p:spPr>
        <p:txBody>
          <a:bodyPr/>
          <a:lstStyle/>
          <a:p>
            <a:r>
              <a:rPr lang="en-US"/>
              <a:t>Click icon to add pictur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6005513" y="666744"/>
            <a:ext cx="5465761" cy="672823"/>
          </a:xfrm>
        </p:spPr>
        <p:txBody>
          <a:bodyPr>
            <a:noAutofit/>
          </a:bodyPr>
          <a:lstStyle/>
          <a:p>
            <a:pPr lvl="0"/>
            <a:r>
              <a:rPr lang="en-US"/>
              <a:t>Click to edit Master title style</a:t>
            </a:r>
            <a:endParaRPr lang="en-GB" dirty="0"/>
          </a:p>
        </p:txBody>
      </p:sp>
      <p:sp>
        <p:nvSpPr>
          <p:cNvPr id="9" name="Subtitle 1">
            <a:extLst>
              <a:ext uri="{FF2B5EF4-FFF2-40B4-BE49-F238E27FC236}">
                <a16:creationId xmlns:a16="http://schemas.microsoft.com/office/drawing/2014/main" id="{2DA586D9-EBA0-4AB4-8F39-649FC494C899}"/>
              </a:ext>
            </a:extLst>
          </p:cNvPr>
          <p:cNvSpPr>
            <a:spLocks noGrp="1"/>
          </p:cNvSpPr>
          <p:nvPr>
            <p:ph type="subTitle" idx="12"/>
          </p:nvPr>
        </p:nvSpPr>
        <p:spPr>
          <a:xfrm>
            <a:off x="6005513" y="1339568"/>
            <a:ext cx="5465761" cy="527734"/>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10" name="Freeform: Shape 9">
            <a:extLst>
              <a:ext uri="{FF2B5EF4-FFF2-40B4-BE49-F238E27FC236}">
                <a16:creationId xmlns:a16="http://schemas.microsoft.com/office/drawing/2014/main" id="{3B7B3F0B-1F83-4BC9-8F30-052B22C24275}"/>
              </a:ext>
            </a:extLst>
          </p:cNvPr>
          <p:cNvSpPr/>
          <p:nvPr userDrawn="1"/>
        </p:nvSpPr>
        <p:spPr>
          <a:xfrm rot="18016983">
            <a:off x="-1583825" y="693673"/>
            <a:ext cx="6428373" cy="5597475"/>
          </a:xfrm>
          <a:custGeom>
            <a:avLst/>
            <a:gdLst>
              <a:gd name="connsiteX0" fmla="*/ 2795284 w 6428373"/>
              <a:gd name="connsiteY0" fmla="*/ 4502023 h 5597475"/>
              <a:gd name="connsiteX1" fmla="*/ 128919 w 6428373"/>
              <a:gd name="connsiteY1" fmla="*/ 5330698 h 5597475"/>
              <a:gd name="connsiteX2" fmla="*/ 78 w 6428373"/>
              <a:gd name="connsiteY2" fmla="*/ 5468557 h 5597475"/>
              <a:gd name="connsiteX3" fmla="*/ 137936 w 6428373"/>
              <a:gd name="connsiteY3" fmla="*/ 5597398 h 5597475"/>
              <a:gd name="connsiteX4" fmla="*/ 147207 w 6428373"/>
              <a:gd name="connsiteY4" fmla="*/ 5597398 h 5597475"/>
              <a:gd name="connsiteX5" fmla="*/ 2928507 w 6428373"/>
              <a:gd name="connsiteY5" fmla="*/ 4733798 h 5597475"/>
              <a:gd name="connsiteX6" fmla="*/ 5107066 w 6428373"/>
              <a:gd name="connsiteY6" fmla="*/ 2848991 h 5597475"/>
              <a:gd name="connsiteX7" fmla="*/ 6188597 w 6428373"/>
              <a:gd name="connsiteY7" fmla="*/ 840232 h 5597475"/>
              <a:gd name="connsiteX8" fmla="*/ 6428374 w 6428373"/>
              <a:gd name="connsiteY8" fmla="*/ 0 h 5597475"/>
              <a:gd name="connsiteX9" fmla="*/ 6154307 w 6428373"/>
              <a:gd name="connsiteY9" fmla="*/ 0 h 5597475"/>
              <a:gd name="connsiteX10" fmla="*/ 5936756 w 6428373"/>
              <a:gd name="connsiteY10" fmla="*/ 752348 h 5597475"/>
              <a:gd name="connsiteX11" fmla="*/ 2795284 w 6428373"/>
              <a:gd name="connsiteY11" fmla="*/ 4502023 h 559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28373" h="5597475">
                <a:moveTo>
                  <a:pt x="2795284" y="4502023"/>
                </a:moveTo>
                <a:cubicBezTo>
                  <a:pt x="1951750" y="4988052"/>
                  <a:pt x="1054622" y="5266944"/>
                  <a:pt x="128919" y="5330698"/>
                </a:cubicBezTo>
                <a:cubicBezTo>
                  <a:pt x="55272" y="5333188"/>
                  <a:pt x="-2412" y="5394909"/>
                  <a:pt x="78" y="5468557"/>
                </a:cubicBezTo>
                <a:cubicBezTo>
                  <a:pt x="2568" y="5542204"/>
                  <a:pt x="64289" y="5599888"/>
                  <a:pt x="137936" y="5597398"/>
                </a:cubicBezTo>
                <a:cubicBezTo>
                  <a:pt x="140984" y="5597398"/>
                  <a:pt x="144032" y="5597398"/>
                  <a:pt x="147207" y="5597398"/>
                </a:cubicBezTo>
                <a:cubicBezTo>
                  <a:pt x="1113677" y="5530850"/>
                  <a:pt x="2049540" y="5240274"/>
                  <a:pt x="2928507" y="4733798"/>
                </a:cubicBezTo>
                <a:cubicBezTo>
                  <a:pt x="3796553" y="4233545"/>
                  <a:pt x="4529596" y="3599434"/>
                  <a:pt x="5107066" y="2848991"/>
                </a:cubicBezTo>
                <a:cubicBezTo>
                  <a:pt x="5572820" y="2241642"/>
                  <a:pt x="5937983" y="1563415"/>
                  <a:pt x="6188597" y="840232"/>
                </a:cubicBezTo>
                <a:cubicBezTo>
                  <a:pt x="6284668" y="565016"/>
                  <a:pt x="6364727" y="284469"/>
                  <a:pt x="6428374" y="0"/>
                </a:cubicBezTo>
                <a:lnTo>
                  <a:pt x="6154307" y="0"/>
                </a:lnTo>
                <a:cubicBezTo>
                  <a:pt x="6095493" y="254544"/>
                  <a:pt x="6022869" y="505698"/>
                  <a:pt x="5936756" y="752348"/>
                </a:cubicBezTo>
                <a:cubicBezTo>
                  <a:pt x="5550422" y="1859915"/>
                  <a:pt x="4691267" y="3409442"/>
                  <a:pt x="2795284" y="4502023"/>
                </a:cubicBezTo>
                <a:close/>
              </a:path>
            </a:pathLst>
          </a:custGeom>
          <a:solidFill>
            <a:srgbClr val="005C8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5810295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One Content and Image Left">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2AADBDED-F3FE-4CAB-88F5-3C5B19159405}"/>
              </a:ext>
            </a:extLst>
          </p:cNvPr>
          <p:cNvGrpSpPr/>
          <p:nvPr userDrawn="1"/>
        </p:nvGrpSpPr>
        <p:grpSpPr>
          <a:xfrm>
            <a:off x="0" y="0"/>
            <a:ext cx="5134863" cy="4480922"/>
            <a:chOff x="0" y="0"/>
            <a:chExt cx="5134863" cy="4480922"/>
          </a:xfrm>
        </p:grpSpPr>
        <p:sp>
          <p:nvSpPr>
            <p:cNvPr id="14" name="Freeform: Shape 13">
              <a:extLst>
                <a:ext uri="{FF2B5EF4-FFF2-40B4-BE49-F238E27FC236}">
                  <a16:creationId xmlns:a16="http://schemas.microsoft.com/office/drawing/2014/main" id="{2F20CED0-286C-49EF-8946-C9362682E66E}"/>
                </a:ext>
              </a:extLst>
            </p:cNvPr>
            <p:cNvSpPr/>
            <p:nvPr/>
          </p:nvSpPr>
          <p:spPr>
            <a:xfrm>
              <a:off x="954718" y="0"/>
              <a:ext cx="4180145" cy="4480922"/>
            </a:xfrm>
            <a:custGeom>
              <a:avLst/>
              <a:gdLst>
                <a:gd name="connsiteX0" fmla="*/ 2385381 w 4180145"/>
                <a:gd name="connsiteY0" fmla="*/ 1186053 h 4480922"/>
                <a:gd name="connsiteX1" fmla="*/ 1048325 w 4180145"/>
                <a:gd name="connsiteY1" fmla="*/ 3687953 h 4480922"/>
                <a:gd name="connsiteX2" fmla="*/ 854777 w 4180145"/>
                <a:gd name="connsiteY2" fmla="*/ 4182364 h 4480922"/>
                <a:gd name="connsiteX3" fmla="*/ 176851 w 4180145"/>
                <a:gd name="connsiteY3" fmla="*/ 3948684 h 4480922"/>
                <a:gd name="connsiteX4" fmla="*/ 7306 w 4180145"/>
                <a:gd name="connsiteY4" fmla="*/ 4031361 h 4480922"/>
                <a:gd name="connsiteX5" fmla="*/ 89983 w 4180145"/>
                <a:gd name="connsiteY5" fmla="*/ 4200907 h 4480922"/>
                <a:gd name="connsiteX6" fmla="*/ 881701 w 4180145"/>
                <a:gd name="connsiteY6" fmla="*/ 4473448 h 4480922"/>
                <a:gd name="connsiteX7" fmla="*/ 1044769 w 4180145"/>
                <a:gd name="connsiteY7" fmla="*/ 4406900 h 4480922"/>
                <a:gd name="connsiteX8" fmla="*/ 1298134 w 4180145"/>
                <a:gd name="connsiteY8" fmla="*/ 3781679 h 4480922"/>
                <a:gd name="connsiteX9" fmla="*/ 4180146 w 4180145"/>
                <a:gd name="connsiteY9" fmla="*/ 0 h 4480922"/>
                <a:gd name="connsiteX10" fmla="*/ 3688274 w 4180145"/>
                <a:gd name="connsiteY10" fmla="*/ 0 h 4480922"/>
                <a:gd name="connsiteX11" fmla="*/ 2385381 w 4180145"/>
                <a:gd name="connsiteY11" fmla="*/ 1186053 h 448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0145" h="4480922">
                  <a:moveTo>
                    <a:pt x="2385381" y="1186053"/>
                  </a:moveTo>
                  <a:cubicBezTo>
                    <a:pt x="1648781" y="2080387"/>
                    <a:pt x="1301690" y="3009392"/>
                    <a:pt x="1048325" y="3687953"/>
                  </a:cubicBezTo>
                  <a:cubicBezTo>
                    <a:pt x="978221" y="3875913"/>
                    <a:pt x="915483" y="4043553"/>
                    <a:pt x="854777" y="4182364"/>
                  </a:cubicBezTo>
                  <a:lnTo>
                    <a:pt x="176851" y="3948684"/>
                  </a:lnTo>
                  <a:cubicBezTo>
                    <a:pt x="107202" y="3924696"/>
                    <a:pt x="31294" y="3961712"/>
                    <a:pt x="7306" y="4031361"/>
                  </a:cubicBezTo>
                  <a:cubicBezTo>
                    <a:pt x="-16682" y="4101011"/>
                    <a:pt x="20334" y="4176918"/>
                    <a:pt x="89983" y="4200907"/>
                  </a:cubicBezTo>
                  <a:lnTo>
                    <a:pt x="881701" y="4473448"/>
                  </a:lnTo>
                  <a:cubicBezTo>
                    <a:pt x="945063" y="4495604"/>
                    <a:pt x="1015002" y="4467062"/>
                    <a:pt x="1044769" y="4406900"/>
                  </a:cubicBezTo>
                  <a:cubicBezTo>
                    <a:pt x="1127065" y="4239768"/>
                    <a:pt x="1206313" y="4027424"/>
                    <a:pt x="1298134" y="3781679"/>
                  </a:cubicBezTo>
                  <a:cubicBezTo>
                    <a:pt x="1691961" y="2726436"/>
                    <a:pt x="2292671" y="1117600"/>
                    <a:pt x="4180146" y="0"/>
                  </a:cubicBezTo>
                  <a:lnTo>
                    <a:pt x="3688274" y="0"/>
                  </a:lnTo>
                  <a:cubicBezTo>
                    <a:pt x="3200117" y="331803"/>
                    <a:pt x="2761457" y="731126"/>
                    <a:pt x="2385381" y="1186053"/>
                  </a:cubicBezTo>
                  <a:close/>
                </a:path>
              </a:pathLst>
            </a:custGeom>
            <a:solidFill>
              <a:schemeClr val="accent1"/>
            </a:solid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C27D2956-1F82-4E82-8703-8B886F1DDC2B}"/>
                </a:ext>
              </a:extLst>
            </p:cNvPr>
            <p:cNvSpPr/>
            <p:nvPr/>
          </p:nvSpPr>
          <p:spPr>
            <a:xfrm>
              <a:off x="0" y="3559047"/>
              <a:ext cx="1221581" cy="649097"/>
            </a:xfrm>
            <a:custGeom>
              <a:avLst/>
              <a:gdLst>
                <a:gd name="connsiteX0" fmla="*/ 1088136 w 1221581"/>
                <a:gd name="connsiteY0" fmla="*/ 649097 h 649097"/>
                <a:gd name="connsiteX1" fmla="*/ 1221582 w 1221581"/>
                <a:gd name="connsiteY1" fmla="*/ 515843 h 649097"/>
                <a:gd name="connsiteX2" fmla="*/ 1131570 w 1221581"/>
                <a:gd name="connsiteY2" fmla="*/ 389636 h 649097"/>
                <a:gd name="connsiteX3" fmla="*/ 0 w 1221581"/>
                <a:gd name="connsiteY3" fmla="*/ 0 h 649097"/>
                <a:gd name="connsiteX4" fmla="*/ 0 w 1221581"/>
                <a:gd name="connsiteY4" fmla="*/ 282067 h 649097"/>
                <a:gd name="connsiteX5" fmla="*/ 1044702 w 1221581"/>
                <a:gd name="connsiteY5" fmla="*/ 641858 h 649097"/>
                <a:gd name="connsiteX6" fmla="*/ 1088136 w 1221581"/>
                <a:gd name="connsiteY6" fmla="*/ 649097 h 64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581" h="649097">
                  <a:moveTo>
                    <a:pt x="1088136" y="649097"/>
                  </a:moveTo>
                  <a:cubicBezTo>
                    <a:pt x="1161783" y="649150"/>
                    <a:pt x="1221529" y="589490"/>
                    <a:pt x="1221582" y="515843"/>
                  </a:cubicBezTo>
                  <a:cubicBezTo>
                    <a:pt x="1221622" y="458864"/>
                    <a:pt x="1185456" y="408154"/>
                    <a:pt x="1131570" y="389636"/>
                  </a:cubicBezTo>
                  <a:lnTo>
                    <a:pt x="0" y="0"/>
                  </a:lnTo>
                  <a:lnTo>
                    <a:pt x="0" y="282067"/>
                  </a:lnTo>
                  <a:lnTo>
                    <a:pt x="1044702" y="641858"/>
                  </a:lnTo>
                  <a:cubicBezTo>
                    <a:pt x="1058681" y="646654"/>
                    <a:pt x="1073358" y="649101"/>
                    <a:pt x="1088136" y="649097"/>
                  </a:cubicBezTo>
                  <a:close/>
                </a:path>
              </a:pathLst>
            </a:custGeom>
            <a:solidFill>
              <a:srgbClr val="005C82"/>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19139" y="720725"/>
            <a:ext cx="3463924" cy="541655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5094289" y="3374933"/>
            <a:ext cx="6376986" cy="27623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5094289" y="2128838"/>
            <a:ext cx="6376986" cy="1152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5094289" y="666744"/>
            <a:ext cx="6376986" cy="1368000"/>
          </a:xfrm>
        </p:spPr>
        <p:txBody>
          <a:bodyPr>
            <a:noAutofit/>
          </a:bodyPr>
          <a:lstStyle/>
          <a:p>
            <a:pPr lvl="0"/>
            <a:r>
              <a:rPr lang="en-US"/>
              <a:t>Click to edit Master title style</a:t>
            </a:r>
            <a:endParaRPr lang="en-GB" dirty="0"/>
          </a:p>
        </p:txBody>
      </p:sp>
    </p:spTree>
    <p:extLst>
      <p:ext uri="{BB962C8B-B14F-4D97-AF65-F5344CB8AC3E}">
        <p14:creationId xmlns:p14="http://schemas.microsoft.com/office/powerpoint/2010/main" val="1876680874"/>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ntent and Imag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23F42A6-7097-4D1F-8F48-FDAEECAAEB72}"/>
              </a:ext>
            </a:extLst>
          </p:cNvPr>
          <p:cNvGrpSpPr/>
          <p:nvPr userDrawn="1"/>
        </p:nvGrpSpPr>
        <p:grpSpPr>
          <a:xfrm>
            <a:off x="8944357" y="1706544"/>
            <a:ext cx="3247771" cy="5151963"/>
            <a:chOff x="8944357" y="1706544"/>
            <a:chExt cx="3247771" cy="5151963"/>
          </a:xfrm>
        </p:grpSpPr>
        <p:sp>
          <p:nvSpPr>
            <p:cNvPr id="15" name="Freeform: Shape 14">
              <a:extLst>
                <a:ext uri="{FF2B5EF4-FFF2-40B4-BE49-F238E27FC236}">
                  <a16:creationId xmlns:a16="http://schemas.microsoft.com/office/drawing/2014/main" id="{321533E8-4C38-475F-B611-B8828AB98470}"/>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rgbClr val="9EDED4"/>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002651D8-68D2-4C77-A852-FB29D7F2CA05}"/>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rgbClr val="85ABE3"/>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2128838"/>
            <a:ext cx="2733673" cy="4006800"/>
          </a:xfrm>
        </p:spPr>
        <p:txBody>
          <a:bodyPr/>
          <a:lstStyle/>
          <a:p>
            <a:r>
              <a:rPr lang="en-US"/>
              <a:t>Click icon to add picture</a:t>
            </a:r>
            <a:endParaRPr lang="en-GB" dirty="0"/>
          </a:p>
        </p:txBody>
      </p:sp>
      <p:sp>
        <p:nvSpPr>
          <p:cNvPr id="9" name="Content Placeholder 2">
            <a:extLst>
              <a:ext uri="{FF2B5EF4-FFF2-40B4-BE49-F238E27FC236}">
                <a16:creationId xmlns:a16="http://schemas.microsoft.com/office/drawing/2014/main" id="{6B4CA702-2FD4-456F-AE3B-5E547319FD5E}"/>
              </a:ext>
            </a:extLst>
          </p:cNvPr>
          <p:cNvSpPr>
            <a:spLocks noGrp="1"/>
          </p:cNvSpPr>
          <p:nvPr>
            <p:ph idx="14"/>
          </p:nvPr>
        </p:nvSpPr>
        <p:spPr>
          <a:xfrm>
            <a:off x="43640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3463924"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Tree>
    <p:extLst>
      <p:ext uri="{BB962C8B-B14F-4D97-AF65-F5344CB8AC3E}">
        <p14:creationId xmlns:p14="http://schemas.microsoft.com/office/powerpoint/2010/main" val="4241463233"/>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eam Bio 1">
    <p:bg>
      <p:bgPr>
        <a:solidFill>
          <a:schemeClr val="accent5"/>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8B05E4C6-B644-4A07-BE10-28429BB2C13E}"/>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tx2"/>
          </a:solidFill>
          <a:ln w="1270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rot="16200000">
            <a:off x="-1628637" y="3068637"/>
            <a:ext cx="5417275"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2541587" y="719997"/>
            <a:ext cx="2552699" cy="1701799"/>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6184901" y="719999"/>
            <a:ext cx="5286374" cy="360001"/>
          </a:xfrm>
        </p:spPr>
        <p:txBody>
          <a:bodyPr>
            <a:noAutofit/>
          </a:bodyPr>
          <a:lstStyle>
            <a:lvl1pPr marL="0">
              <a:lnSpc>
                <a:spcPct val="95000"/>
              </a:lnSpc>
              <a:spcBef>
                <a:spcPts val="0"/>
              </a:spcBef>
              <a:buFontTx/>
              <a:buNone/>
              <a:defRPr sz="2000" i="1">
                <a:solidFill>
                  <a:schemeClr val="tx1"/>
                </a:solidFill>
                <a:latin typeface="+mj-lt"/>
              </a:defRPr>
            </a:lvl1pPr>
            <a:lvl2pPr marL="0" indent="0">
              <a:lnSpc>
                <a:spcPct val="95000"/>
              </a:lnSpc>
              <a:spcBef>
                <a:spcPts val="0"/>
              </a:spcBef>
              <a:buFontTx/>
              <a:buNone/>
              <a:defRPr sz="2000" i="1">
                <a:solidFill>
                  <a:schemeClr val="tx1"/>
                </a:solidFill>
                <a:latin typeface="+mj-lt"/>
              </a:defRPr>
            </a:lvl2pPr>
            <a:lvl3pPr marL="0" indent="0">
              <a:lnSpc>
                <a:spcPct val="95000"/>
              </a:lnSpc>
              <a:spcBef>
                <a:spcPts val="0"/>
              </a:spcBef>
              <a:buFontTx/>
              <a:buNone/>
              <a:defRPr sz="1800" i="1">
                <a:solidFill>
                  <a:schemeClr val="tx1"/>
                </a:solidFill>
                <a:latin typeface="+mj-lt"/>
              </a:defRPr>
            </a:lvl3pPr>
            <a:lvl4pPr marL="0" indent="0">
              <a:lnSpc>
                <a:spcPct val="95000"/>
              </a:lnSpc>
              <a:spcBef>
                <a:spcPts val="0"/>
              </a:spcBef>
              <a:buFontTx/>
              <a:buNone/>
              <a:defRPr sz="1600" i="1">
                <a:solidFill>
                  <a:schemeClr val="tx1"/>
                </a:solidFill>
                <a:latin typeface="+mj-lt"/>
              </a:defRPr>
            </a:lvl4pPr>
            <a:lvl5pPr marL="0" indent="0">
              <a:lnSpc>
                <a:spcPct val="95000"/>
              </a:lnSpc>
              <a:spcBef>
                <a:spcPts val="0"/>
              </a:spcBef>
              <a:buFontTx/>
              <a:buNone/>
              <a:defRPr sz="1600" i="1">
                <a:solidFill>
                  <a:schemeClr val="tx1"/>
                </a:solidFill>
                <a:latin typeface="+mj-lt"/>
              </a:defRPr>
            </a:lvl5pPr>
            <a:lvl6pPr marL="0" indent="0">
              <a:lnSpc>
                <a:spcPct val="95000"/>
              </a:lnSpc>
              <a:spcBef>
                <a:spcPts val="0"/>
              </a:spcBef>
              <a:buFontTx/>
              <a:buNone/>
              <a:defRPr sz="1600" i="1">
                <a:solidFill>
                  <a:schemeClr val="tx1"/>
                </a:solidFill>
                <a:latin typeface="+mj-lt"/>
              </a:defRPr>
            </a:lvl6pPr>
            <a:lvl7pPr marL="0">
              <a:lnSpc>
                <a:spcPct val="95000"/>
              </a:lnSpc>
              <a:spcBef>
                <a:spcPts val="0"/>
              </a:spcBef>
              <a:buFontTx/>
              <a:buNone/>
              <a:defRPr sz="1600" i="1">
                <a:solidFill>
                  <a:schemeClr val="tx1"/>
                </a:solidFill>
                <a:latin typeface="+mj-lt"/>
              </a:defRPr>
            </a:lvl7pPr>
            <a:lvl8pPr marL="0">
              <a:lnSpc>
                <a:spcPct val="95000"/>
              </a:lnSpc>
              <a:spcBef>
                <a:spcPts val="0"/>
              </a:spcBef>
              <a:buFontTx/>
              <a:buNone/>
              <a:defRPr sz="1600" i="1">
                <a:solidFill>
                  <a:schemeClr val="tx1"/>
                </a:solidFill>
                <a:latin typeface="+mj-lt"/>
              </a:defRPr>
            </a:lvl8pPr>
            <a:lvl9pPr marL="0">
              <a:lnSpc>
                <a:spcPct val="95000"/>
              </a:lnSpc>
              <a:spcBef>
                <a:spcPts val="0"/>
              </a:spcBef>
              <a:buFontTx/>
              <a:buNone/>
              <a:defRPr sz="16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6184901" y="1259999"/>
            <a:ext cx="2217636" cy="482274"/>
          </a:xfrm>
          <a:prstGeom prst="roundRect">
            <a:avLst>
              <a:gd name="adj" fmla="val 50000"/>
            </a:avLst>
          </a:prstGeom>
          <a:solidFill>
            <a:schemeClr val="accent2"/>
          </a:solidFill>
        </p:spPr>
        <p:txBody>
          <a:bodyPr wrap="none" lIns="72000" tIns="54000" rIns="72000" bIns="54000" anchor="ctr" anchorCtr="0">
            <a:spAutoFit/>
          </a:bodyPr>
          <a:lstStyle>
            <a:lvl1pPr marL="0" indent="0">
              <a:lnSpc>
                <a:spcPct val="95000"/>
              </a:lnSpc>
              <a:spcBef>
                <a:spcPts val="0"/>
              </a:spcBef>
              <a:buFont typeface="Arial" panose="020B0604020202020204" pitchFamily="34" charset="0"/>
              <a:buNone/>
              <a:defRPr sz="1600" i="1">
                <a:solidFill>
                  <a:schemeClr val="tx1"/>
                </a:solidFill>
                <a:latin typeface="+mj-lt"/>
              </a:defRPr>
            </a:lvl1pPr>
            <a:lvl2pPr marL="0" indent="0">
              <a:lnSpc>
                <a:spcPct val="95000"/>
              </a:lnSpc>
              <a:spcBef>
                <a:spcPts val="0"/>
              </a:spcBef>
              <a:buNone/>
              <a:defRPr sz="1600" i="1">
                <a:solidFill>
                  <a:schemeClr val="tx1"/>
                </a:solidFill>
                <a:latin typeface="+mj-lt"/>
              </a:defRPr>
            </a:lvl2pPr>
            <a:lvl3pPr marL="0" indent="0">
              <a:lnSpc>
                <a:spcPct val="95000"/>
              </a:lnSpc>
              <a:spcBef>
                <a:spcPts val="0"/>
              </a:spcBef>
              <a:buNone/>
              <a:defRPr sz="1600" i="1">
                <a:solidFill>
                  <a:schemeClr val="tx1"/>
                </a:solidFill>
                <a:latin typeface="+mj-lt"/>
              </a:defRPr>
            </a:lvl3pPr>
            <a:lvl4pPr marL="0" indent="0">
              <a:lnSpc>
                <a:spcPct val="95000"/>
              </a:lnSpc>
              <a:spcBef>
                <a:spcPts val="0"/>
              </a:spcBef>
              <a:buNone/>
              <a:defRPr sz="1600" i="1">
                <a:solidFill>
                  <a:schemeClr val="tx1"/>
                </a:solidFill>
                <a:latin typeface="+mj-lt"/>
              </a:defRPr>
            </a:lvl4pPr>
            <a:lvl5pPr marL="0" indent="0">
              <a:lnSpc>
                <a:spcPct val="95000"/>
              </a:lnSpc>
              <a:spcBef>
                <a:spcPts val="0"/>
              </a:spcBef>
              <a:buFont typeface="Arial" panose="020B0604020202020204" pitchFamily="34" charset="0"/>
              <a:buNone/>
              <a:defRPr sz="1600" i="1">
                <a:solidFill>
                  <a:schemeClr val="tx1"/>
                </a:solidFill>
                <a:latin typeface="+mj-lt"/>
              </a:defRPr>
            </a:lvl5pPr>
            <a:lvl6pPr marL="0" indent="0">
              <a:lnSpc>
                <a:spcPct val="95000"/>
              </a:lnSpc>
              <a:spcBef>
                <a:spcPts val="0"/>
              </a:spcBef>
              <a:buFont typeface="Arial" panose="020B0604020202020204" pitchFamily="34" charset="0"/>
              <a:buNone/>
              <a:defRPr sz="1600" i="1">
                <a:solidFill>
                  <a:schemeClr val="tx1"/>
                </a:solidFill>
                <a:latin typeface="+mj-lt"/>
              </a:defRPr>
            </a:lvl6pPr>
            <a:lvl7pPr marL="0" indent="0">
              <a:lnSpc>
                <a:spcPct val="95000"/>
              </a:lnSpc>
              <a:spcBef>
                <a:spcPts val="0"/>
              </a:spcBef>
              <a:buFont typeface="Arial" panose="020B0604020202020204" pitchFamily="34" charset="0"/>
              <a:buNone/>
              <a:defRPr sz="1600" i="1">
                <a:solidFill>
                  <a:schemeClr val="tx1"/>
                </a:solidFill>
                <a:latin typeface="+mj-lt"/>
              </a:defRPr>
            </a:lvl7pPr>
            <a:lvl8pPr marL="0" indent="0">
              <a:lnSpc>
                <a:spcPct val="95000"/>
              </a:lnSpc>
              <a:spcBef>
                <a:spcPts val="0"/>
              </a:spcBef>
              <a:buFont typeface="Arial" panose="020B0604020202020204" pitchFamily="34" charset="0"/>
              <a:buNone/>
              <a:defRPr sz="1600" i="1">
                <a:solidFill>
                  <a:schemeClr val="tx1"/>
                </a:solidFill>
                <a:latin typeface="+mj-lt"/>
              </a:defRPr>
            </a:lvl8pPr>
            <a:lvl9pPr marL="0" indent="0">
              <a:lnSpc>
                <a:spcPct val="95000"/>
              </a:lnSpc>
              <a:spcBef>
                <a:spcPts val="0"/>
              </a:spcBef>
              <a:buFont typeface="Arial" panose="020B0604020202020204" pitchFamily="34" charset="0"/>
              <a:buNone/>
              <a:defRPr sz="1600" i="1">
                <a:solidFill>
                  <a:schemeClr val="tx1"/>
                </a:solidFill>
                <a:latin typeface="+mj-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6184901" y="1922273"/>
            <a:ext cx="5286374" cy="468000"/>
          </a:xfrm>
        </p:spPr>
        <p:txBody>
          <a:bodyPr>
            <a:noAutofit/>
          </a:bodyPr>
          <a:lstStyle>
            <a:lvl1pPr marL="0" indent="0">
              <a:lnSpc>
                <a:spcPct val="95000"/>
              </a:lnSpc>
              <a:spcBef>
                <a:spcPts val="300"/>
              </a:spcBef>
              <a:buFont typeface="Arial" panose="020B0604020202020204" pitchFamily="34" charset="0"/>
              <a:buNone/>
              <a:defRPr sz="1400">
                <a:solidFill>
                  <a:schemeClr val="tx1"/>
                </a:solidFill>
                <a:latin typeface="+mn-lt"/>
              </a:defRPr>
            </a:lvl1pPr>
            <a:lvl2pPr marL="0" indent="0">
              <a:lnSpc>
                <a:spcPct val="95000"/>
              </a:lnSpc>
              <a:spcBef>
                <a:spcPts val="300"/>
              </a:spcBef>
              <a:buNone/>
              <a:defRPr sz="1200">
                <a:solidFill>
                  <a:schemeClr val="tx1"/>
                </a:solidFill>
                <a:latin typeface="+mn-lt"/>
              </a:defRPr>
            </a:lvl2pPr>
            <a:lvl3pPr marL="0" indent="0">
              <a:lnSpc>
                <a:spcPct val="95000"/>
              </a:lnSpc>
              <a:spcBef>
                <a:spcPts val="300"/>
              </a:spcBef>
              <a:buNone/>
              <a:defRPr sz="1100">
                <a:solidFill>
                  <a:schemeClr val="tx1"/>
                </a:solidFill>
                <a:latin typeface="+mn-lt"/>
              </a:defRPr>
            </a:lvl3pPr>
            <a:lvl4pPr marL="0" indent="0">
              <a:lnSpc>
                <a:spcPct val="95000"/>
              </a:lnSpc>
              <a:spcBef>
                <a:spcPts val="300"/>
              </a:spcBef>
              <a:buNone/>
              <a:defRPr sz="1100">
                <a:solidFill>
                  <a:schemeClr val="tx1"/>
                </a:solidFill>
                <a:latin typeface="+mn-lt"/>
              </a:defRPr>
            </a:lvl4pPr>
            <a:lvl5pPr marL="0" indent="0">
              <a:lnSpc>
                <a:spcPct val="95000"/>
              </a:lnSpc>
              <a:spcBef>
                <a:spcPts val="300"/>
              </a:spcBef>
              <a:buFont typeface="Arial" panose="020B0604020202020204" pitchFamily="34" charset="0"/>
              <a:buNone/>
              <a:defRPr sz="1100">
                <a:solidFill>
                  <a:schemeClr val="tx1"/>
                </a:solidFill>
                <a:latin typeface="+mn-lt"/>
              </a:defRPr>
            </a:lvl5pPr>
            <a:lvl6pPr marL="0" indent="0">
              <a:lnSpc>
                <a:spcPct val="95000"/>
              </a:lnSpc>
              <a:spcBef>
                <a:spcPts val="300"/>
              </a:spcBef>
              <a:buFont typeface="Arial" panose="020B0604020202020204" pitchFamily="34" charset="0"/>
              <a:buNone/>
              <a:defRPr sz="1100">
                <a:solidFill>
                  <a:schemeClr val="tx1"/>
                </a:solidFill>
                <a:latin typeface="+mn-lt"/>
              </a:defRPr>
            </a:lvl6pPr>
            <a:lvl7pPr marL="0" indent="0">
              <a:lnSpc>
                <a:spcPct val="95000"/>
              </a:lnSpc>
              <a:spcBef>
                <a:spcPts val="300"/>
              </a:spcBef>
              <a:buFont typeface="Arial" panose="020B0604020202020204" pitchFamily="34" charset="0"/>
              <a:buNone/>
              <a:defRPr sz="1100">
                <a:solidFill>
                  <a:schemeClr val="tx1"/>
                </a:solidFill>
                <a:latin typeface="+mn-lt"/>
              </a:defRPr>
            </a:lvl7pPr>
            <a:lvl8pPr marL="0" indent="0">
              <a:lnSpc>
                <a:spcPct val="95000"/>
              </a:lnSpc>
              <a:spcBef>
                <a:spcPts val="300"/>
              </a:spcBef>
              <a:buFont typeface="Arial" panose="020B0604020202020204" pitchFamily="34" charset="0"/>
              <a:buNone/>
              <a:defRPr sz="1100">
                <a:solidFill>
                  <a:schemeClr val="tx1"/>
                </a:solidFill>
                <a:latin typeface="+mn-lt"/>
              </a:defRPr>
            </a:lvl8pPr>
            <a:lvl9pPr marL="0" indent="0">
              <a:lnSpc>
                <a:spcPct val="95000"/>
              </a:lnSpc>
              <a:spcBef>
                <a:spcPts val="300"/>
              </a:spcBef>
              <a:buFont typeface="Arial" panose="020B0604020202020204" pitchFamily="34" charset="0"/>
              <a:buNone/>
              <a:defRPr sz="1100">
                <a:solidFill>
                  <a:schemeClr val="tx1"/>
                </a:solidFill>
                <a:latin typeface="+mn-lt"/>
              </a:defRPr>
            </a:lvl9pPr>
          </a:lstStyle>
          <a:p>
            <a:pPr lvl="0"/>
            <a:r>
              <a:rPr lang="en-GB" dirty="0"/>
              <a:t>Click to add email address</a:t>
            </a:r>
          </a:p>
        </p:txBody>
      </p:sp>
      <p:sp>
        <p:nvSpPr>
          <p:cNvPr id="31" name="Bio Description 1">
            <a:extLst>
              <a:ext uri="{FF2B5EF4-FFF2-40B4-BE49-F238E27FC236}">
                <a16:creationId xmlns:a16="http://schemas.microsoft.com/office/drawing/2014/main" id="{B718AAF7-E3B8-4B2A-A298-9B65FE37CFCE}"/>
              </a:ext>
            </a:extLst>
          </p:cNvPr>
          <p:cNvSpPr>
            <a:spLocks noGrp="1"/>
          </p:cNvSpPr>
          <p:nvPr>
            <p:ph type="body" sz="quarter" idx="21" hasCustomPrompt="1"/>
          </p:nvPr>
        </p:nvSpPr>
        <p:spPr>
          <a:xfrm>
            <a:off x="6184901" y="2570273"/>
            <a:ext cx="5286374" cy="3567002"/>
          </a:xfrm>
        </p:spPr>
        <p:txBody>
          <a:bodyPr vert="horz" lIns="0" tIns="0" rIns="0" bIns="0" rtlCol="0">
            <a:normAutofit/>
          </a:bodyPr>
          <a:lstStyle>
            <a:lvl1pPr>
              <a:defRPr lang="en-US" dirty="0"/>
            </a:lvl1pPr>
            <a:lvl2pPr>
              <a:defRPr lang="en-US" dirty="0"/>
            </a:lvl2pPr>
            <a:lvl3pPr>
              <a:defRPr lang="en-US" dirty="0"/>
            </a:lvl3pPr>
            <a:lvl4pPr>
              <a:defRPr lang="en-US" dirty="0"/>
            </a:lvl4pPr>
            <a:lvl5pPr marL="0" indent="0">
              <a:lnSpc>
                <a:spcPct val="95000"/>
              </a:lnSpc>
              <a:spcBef>
                <a:spcPts val="800"/>
              </a:spcBef>
              <a:buFont typeface="Arial" panose="020B0604020202020204" pitchFamily="34" charset="0"/>
              <a:buNone/>
              <a:defRPr lang="en-US" sz="1600" dirty="0">
                <a:solidFill>
                  <a:schemeClr val="tx2"/>
                </a:solidFill>
                <a:latin typeface="+mn-lt"/>
              </a:defRPr>
            </a:lvl5pPr>
            <a:lvl6pPr marL="0" indent="0">
              <a:lnSpc>
                <a:spcPct val="95000"/>
              </a:lnSpc>
              <a:spcBef>
                <a:spcPts val="800"/>
              </a:spcBef>
              <a:buFont typeface="Arial" panose="020B0604020202020204" pitchFamily="34" charset="0"/>
              <a:buNone/>
              <a:defRPr lang="en-US" sz="1600" dirty="0">
                <a:solidFill>
                  <a:schemeClr val="tx1"/>
                </a:solidFill>
                <a:latin typeface="+mn-lt"/>
              </a:defRPr>
            </a:lvl6pPr>
            <a:lvl7pPr marL="0" indent="0">
              <a:lnSpc>
                <a:spcPct val="95000"/>
              </a:lnSpc>
              <a:spcBef>
                <a:spcPts val="800"/>
              </a:spcBef>
              <a:buFont typeface="Arial" panose="020B0604020202020204" pitchFamily="34" charset="0"/>
              <a:buNone/>
              <a:defRPr lang="en-US" sz="1600" dirty="0">
                <a:solidFill>
                  <a:schemeClr val="tx1"/>
                </a:solidFill>
                <a:latin typeface="+mn-lt"/>
              </a:defRPr>
            </a:lvl7pPr>
            <a:lvl8pPr marL="0" indent="0">
              <a:lnSpc>
                <a:spcPct val="95000"/>
              </a:lnSpc>
              <a:spcBef>
                <a:spcPts val="800"/>
              </a:spcBef>
              <a:buFont typeface="Arial" panose="020B0604020202020204" pitchFamily="34" charset="0"/>
              <a:buNone/>
              <a:defRPr lang="en-US" sz="1600" dirty="0">
                <a:solidFill>
                  <a:schemeClr val="tx1"/>
                </a:solidFill>
                <a:latin typeface="+mn-lt"/>
              </a:defRPr>
            </a:lvl8pPr>
            <a:lvl9pPr marL="0" indent="0">
              <a:lnSpc>
                <a:spcPct val="95000"/>
              </a:lnSpc>
              <a:spcBef>
                <a:spcPts val="800"/>
              </a:spcBef>
              <a:buFont typeface="Arial" panose="020B0604020202020204" pitchFamily="34" charset="0"/>
              <a:buNone/>
              <a:defRPr lang="en-GB" sz="1600" dirty="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sp>
        <p:nvSpPr>
          <p:cNvPr id="16" name="Text Quotation 1">
            <a:extLst>
              <a:ext uri="{FF2B5EF4-FFF2-40B4-BE49-F238E27FC236}">
                <a16:creationId xmlns:a16="http://schemas.microsoft.com/office/drawing/2014/main" id="{6AD1114A-9EDA-479C-ACC6-49277F39F273}"/>
              </a:ext>
            </a:extLst>
          </p:cNvPr>
          <p:cNvSpPr>
            <a:spLocks noGrp="1"/>
          </p:cNvSpPr>
          <p:nvPr>
            <p:ph type="body" sz="quarter" idx="22" hasCustomPrompt="1"/>
          </p:nvPr>
        </p:nvSpPr>
        <p:spPr>
          <a:xfrm>
            <a:off x="2541588" y="3039291"/>
            <a:ext cx="2552700" cy="2504577"/>
          </a:xfrm>
        </p:spPr>
        <p:txBody>
          <a:bodyPr/>
          <a:lstStyle>
            <a:lvl1pPr marL="0" indent="0">
              <a:lnSpc>
                <a:spcPct val="90000"/>
              </a:lnSpc>
              <a:buFont typeface="Arial" panose="020B0604020202020204" pitchFamily="34" charset="0"/>
              <a:buNone/>
              <a:defRPr sz="2000" i="1">
                <a:latin typeface="+mj-lt"/>
              </a:defRPr>
            </a:lvl1pPr>
            <a:lvl2pPr marL="0" indent="0">
              <a:lnSpc>
                <a:spcPct val="90000"/>
              </a:lnSpc>
              <a:buNone/>
              <a:defRPr sz="1600" i="1">
                <a:latin typeface="+mj-lt"/>
              </a:defRPr>
            </a:lvl2pPr>
            <a:lvl3pPr marL="0" indent="0">
              <a:lnSpc>
                <a:spcPct val="90000"/>
              </a:lnSpc>
              <a:buNone/>
              <a:defRPr sz="1000" i="0">
                <a:latin typeface="+mn-lt"/>
              </a:defRPr>
            </a:lvl3pPr>
            <a:lvl4pPr marL="0" indent="0">
              <a:lnSpc>
                <a:spcPct val="90000"/>
              </a:lnSpc>
              <a:buNone/>
              <a:defRPr sz="1800" i="1">
                <a:latin typeface="+mj-lt"/>
              </a:defRPr>
            </a:lvl4pPr>
            <a:lvl5pPr marL="0" indent="0">
              <a:lnSpc>
                <a:spcPct val="90000"/>
              </a:lnSpc>
              <a:buFont typeface="Arial" panose="020B0604020202020204" pitchFamily="34" charset="0"/>
              <a:buNone/>
              <a:defRPr sz="1400" i="1">
                <a:latin typeface="+mj-lt"/>
              </a:defRPr>
            </a:lvl5pPr>
            <a:lvl6pPr marL="0" indent="0">
              <a:lnSpc>
                <a:spcPct val="90000"/>
              </a:lnSpc>
              <a:buFont typeface="Arial" panose="020B0604020202020204" pitchFamily="34" charset="0"/>
              <a:buNone/>
              <a:defRPr sz="1200" i="1">
                <a:latin typeface="+mj-lt"/>
              </a:defRPr>
            </a:lvl6pPr>
            <a:lvl7pPr marL="0" indent="0">
              <a:lnSpc>
                <a:spcPct val="90000"/>
              </a:lnSpc>
              <a:spcBef>
                <a:spcPts val="800"/>
              </a:spcBef>
              <a:buFont typeface="Arial" panose="020B0604020202020204" pitchFamily="34" charset="0"/>
              <a:buNone/>
              <a:defRPr sz="1400" i="0">
                <a:solidFill>
                  <a:schemeClr val="tx1"/>
                </a:solidFill>
                <a:latin typeface="+mn-lt"/>
              </a:defRPr>
            </a:lvl7pPr>
            <a:lvl8pPr marL="0" indent="0">
              <a:lnSpc>
                <a:spcPct val="90000"/>
              </a:lnSpc>
              <a:spcBef>
                <a:spcPts val="800"/>
              </a:spcBef>
              <a:buFont typeface="Arial" panose="020B0604020202020204" pitchFamily="34" charset="0"/>
              <a:buNone/>
              <a:defRPr sz="1200" i="0">
                <a:solidFill>
                  <a:schemeClr val="tx1"/>
                </a:solidFill>
                <a:latin typeface="+mn-lt"/>
              </a:defRPr>
            </a:lvl8pPr>
            <a:lvl9pPr marL="0" indent="0">
              <a:lnSpc>
                <a:spcPct val="90000"/>
              </a:lnSpc>
              <a:spcBef>
                <a:spcPts val="800"/>
              </a:spcBef>
              <a:buFont typeface="Arial" panose="020B0604020202020204" pitchFamily="34" charset="0"/>
              <a:buNone/>
              <a:defRPr sz="1000" i="0">
                <a:solidFill>
                  <a:schemeClr val="tx1"/>
                </a:solidFill>
                <a:latin typeface="+mn-lt"/>
              </a:defRPr>
            </a:lvl9pPr>
          </a:lstStyle>
          <a:p>
            <a:pPr lvl="0"/>
            <a:r>
              <a:rPr lang="en-GB" dirty="0"/>
              <a:t>Click to add quotation</a:t>
            </a:r>
          </a:p>
          <a:p>
            <a:pPr lvl="1"/>
            <a:r>
              <a:rPr lang="en-GB" dirty="0"/>
              <a:t>Second level – Name</a:t>
            </a:r>
          </a:p>
          <a:p>
            <a:pPr lvl="2"/>
            <a:r>
              <a:rPr lang="en-GB" dirty="0"/>
              <a:t>Third level – Job Title - Organisation</a:t>
            </a:r>
          </a:p>
          <a:p>
            <a:pPr lvl="3"/>
            <a:r>
              <a:rPr lang="en-GB" dirty="0"/>
              <a:t>Fourth level</a:t>
            </a:r>
          </a:p>
          <a:p>
            <a:pPr lvl="4"/>
            <a:r>
              <a:rPr lang="en-GB" dirty="0"/>
              <a:t>Fifth level – Number 1</a:t>
            </a:r>
          </a:p>
          <a:p>
            <a:pPr lvl="5"/>
            <a:r>
              <a:rPr lang="en-GB" dirty="0"/>
              <a:t>Sixth level – Number 2</a:t>
            </a:r>
          </a:p>
          <a:p>
            <a:pPr lvl="6"/>
            <a:r>
              <a:rPr lang="en-GB" dirty="0"/>
              <a:t>Seventh level – Heading 1</a:t>
            </a:r>
          </a:p>
          <a:p>
            <a:pPr lvl="7"/>
            <a:r>
              <a:rPr lang="en-GB" dirty="0"/>
              <a:t>Eighth level – Heading 2</a:t>
            </a:r>
          </a:p>
          <a:p>
            <a:pPr lvl="8"/>
            <a:r>
              <a:rPr lang="en-GB" dirty="0"/>
              <a:t>Ninth level – Pull-out</a:t>
            </a:r>
          </a:p>
        </p:txBody>
      </p:sp>
      <p:sp>
        <p:nvSpPr>
          <p:cNvPr id="9" name="Quote Icon">
            <a:extLst>
              <a:ext uri="{FF2B5EF4-FFF2-40B4-BE49-F238E27FC236}">
                <a16:creationId xmlns:a16="http://schemas.microsoft.com/office/drawing/2014/main" id="{7DB0792E-7D00-4D1D-9A1F-8330DCE1DB7A}"/>
              </a:ext>
            </a:extLst>
          </p:cNvPr>
          <p:cNvSpPr>
            <a:spLocks noGrp="1" noChangeAspect="1"/>
          </p:cNvSpPr>
          <p:nvPr>
            <p:ph type="body" sz="quarter" idx="23" hasCustomPrompt="1"/>
          </p:nvPr>
        </p:nvSpPr>
        <p:spPr>
          <a:xfrm>
            <a:off x="1820613" y="3039291"/>
            <a:ext cx="540000" cy="540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917095401"/>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eam Bio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5465762"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719137" y="1565274"/>
            <a:ext cx="2160000" cy="1440000"/>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719137" y="3113274"/>
            <a:ext cx="5286374"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719137" y="3488716"/>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719137" y="3873967"/>
            <a:ext cx="5286374"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31" name="Bio Description 1">
            <a:extLst>
              <a:ext uri="{FF2B5EF4-FFF2-40B4-BE49-F238E27FC236}">
                <a16:creationId xmlns:a16="http://schemas.microsoft.com/office/drawing/2014/main" id="{B718AAF7-E3B8-4B2A-A298-9B65FE37CFCE}"/>
              </a:ext>
            </a:extLst>
          </p:cNvPr>
          <p:cNvSpPr>
            <a:spLocks noGrp="1"/>
          </p:cNvSpPr>
          <p:nvPr>
            <p:ph type="body" sz="quarter" idx="21" hasCustomPrompt="1"/>
          </p:nvPr>
        </p:nvSpPr>
        <p:spPr>
          <a:xfrm>
            <a:off x="719137" y="4342066"/>
            <a:ext cx="5286374" cy="1795209"/>
          </a:xfrm>
        </p:spPr>
        <p:txBody>
          <a:bodyPr>
            <a:normAutofit/>
          </a:bodyPr>
          <a:lstStyle>
            <a:lvl1pPr>
              <a:lnSpc>
                <a:spcPct val="95000"/>
              </a:lnSpc>
              <a:spcBef>
                <a:spcPts val="600"/>
              </a:spcBef>
              <a:defRPr sz="1200">
                <a:latin typeface="+mn-lt"/>
              </a:defRPr>
            </a:lvl1pPr>
            <a:lvl2pPr>
              <a:lnSpc>
                <a:spcPct val="95000"/>
              </a:lnSpc>
              <a:spcBef>
                <a:spcPts val="600"/>
              </a:spcBef>
              <a:defRPr sz="1200">
                <a:latin typeface="+mn-lt"/>
              </a:defRPr>
            </a:lvl2pPr>
            <a:lvl3pPr>
              <a:lnSpc>
                <a:spcPct val="95000"/>
              </a:lnSpc>
              <a:spcBef>
                <a:spcPts val="600"/>
              </a:spcBef>
              <a:defRPr sz="1200">
                <a:latin typeface="+mn-lt"/>
              </a:defRPr>
            </a:lvl3pPr>
            <a:lvl4pPr>
              <a:lnSpc>
                <a:spcPct val="95000"/>
              </a:lnSpc>
              <a:spcBef>
                <a:spcPts val="600"/>
              </a:spcBef>
              <a:defRPr sz="1200">
                <a:latin typeface="+mn-lt"/>
              </a:defRPr>
            </a:lvl4pPr>
            <a:lvl5pPr marL="0" indent="0">
              <a:lnSpc>
                <a:spcPct val="95000"/>
              </a:lnSpc>
              <a:spcBef>
                <a:spcPts val="600"/>
              </a:spcBef>
              <a:buFont typeface="Arial" panose="020B0604020202020204" pitchFamily="34" charset="0"/>
              <a:buNone/>
              <a:defRPr sz="1200">
                <a:solidFill>
                  <a:schemeClr val="tx2"/>
                </a:solidFill>
                <a:latin typeface="+mn-lt"/>
              </a:defRPr>
            </a:lvl5pPr>
            <a:lvl6pPr marL="0" indent="0">
              <a:lnSpc>
                <a:spcPct val="95000"/>
              </a:lnSpc>
              <a:spcBef>
                <a:spcPts val="600"/>
              </a:spcBef>
              <a:buFont typeface="Arial" panose="020B0604020202020204" pitchFamily="34" charset="0"/>
              <a:buNone/>
              <a:defRPr sz="1200">
                <a:solidFill>
                  <a:schemeClr val="tx1"/>
                </a:solidFill>
                <a:latin typeface="+mn-lt"/>
              </a:defRPr>
            </a:lvl6pPr>
            <a:lvl7pPr marL="0" indent="0">
              <a:lnSpc>
                <a:spcPct val="95000"/>
              </a:lnSpc>
              <a:spcBef>
                <a:spcPts val="600"/>
              </a:spcBef>
              <a:buFont typeface="Arial" panose="020B0604020202020204" pitchFamily="34" charset="0"/>
              <a:buNone/>
              <a:defRPr sz="1200">
                <a:solidFill>
                  <a:schemeClr val="tx1"/>
                </a:solidFill>
                <a:latin typeface="+mn-lt"/>
              </a:defRPr>
            </a:lvl7pPr>
            <a:lvl8pPr marL="0" indent="0">
              <a:lnSpc>
                <a:spcPct val="95000"/>
              </a:lnSpc>
              <a:spcBef>
                <a:spcPts val="600"/>
              </a:spcBef>
              <a:buFont typeface="Arial" panose="020B0604020202020204" pitchFamily="34" charset="0"/>
              <a:buNone/>
              <a:defRPr sz="1200">
                <a:solidFill>
                  <a:schemeClr val="tx1"/>
                </a:solidFill>
                <a:latin typeface="+mn-lt"/>
              </a:defRPr>
            </a:lvl8pPr>
            <a:lvl9pPr marL="0" indent="0">
              <a:lnSpc>
                <a:spcPct val="95000"/>
              </a:lnSpc>
              <a:spcBef>
                <a:spcPts val="600"/>
              </a:spcBef>
              <a:buFont typeface="Arial" panose="020B0604020202020204" pitchFamily="34" charset="0"/>
              <a:buNone/>
              <a:defRPr sz="120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sp>
        <p:nvSpPr>
          <p:cNvPr id="43" name="Picture Placeholder 2">
            <a:extLst>
              <a:ext uri="{FF2B5EF4-FFF2-40B4-BE49-F238E27FC236}">
                <a16:creationId xmlns:a16="http://schemas.microsoft.com/office/drawing/2014/main" id="{2C71EBB3-958B-46B2-B16A-D9A971CB5E21}"/>
              </a:ext>
            </a:extLst>
          </p:cNvPr>
          <p:cNvSpPr>
            <a:spLocks noGrp="1" noChangeAspect="1"/>
          </p:cNvSpPr>
          <p:nvPr>
            <p:ph type="pic" sz="quarter" idx="22"/>
          </p:nvPr>
        </p:nvSpPr>
        <p:spPr>
          <a:xfrm>
            <a:off x="6184900" y="1565274"/>
            <a:ext cx="2160000" cy="1440000"/>
          </a:xfrm>
          <a:solidFill>
            <a:schemeClr val="bg2"/>
          </a:solidFill>
        </p:spPr>
        <p:txBody>
          <a:bodyPr/>
          <a:lstStyle/>
          <a:p>
            <a:r>
              <a:rPr lang="en-US"/>
              <a:t>Click icon to add picture</a:t>
            </a:r>
            <a:endParaRPr lang="en-GB" dirty="0"/>
          </a:p>
        </p:txBody>
      </p:sp>
      <p:sp>
        <p:nvSpPr>
          <p:cNvPr id="44" name="Name Placeholder 2">
            <a:extLst>
              <a:ext uri="{FF2B5EF4-FFF2-40B4-BE49-F238E27FC236}">
                <a16:creationId xmlns:a16="http://schemas.microsoft.com/office/drawing/2014/main" id="{D127DC27-338F-4B6A-987F-E7D622D13008}"/>
              </a:ext>
            </a:extLst>
          </p:cNvPr>
          <p:cNvSpPr>
            <a:spLocks noGrp="1"/>
          </p:cNvSpPr>
          <p:nvPr>
            <p:ph type="body" sz="quarter" idx="23" hasCustomPrompt="1"/>
          </p:nvPr>
        </p:nvSpPr>
        <p:spPr>
          <a:xfrm>
            <a:off x="6184900" y="3113274"/>
            <a:ext cx="5286374"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5" name="Job Title 2">
            <a:extLst>
              <a:ext uri="{FF2B5EF4-FFF2-40B4-BE49-F238E27FC236}">
                <a16:creationId xmlns:a16="http://schemas.microsoft.com/office/drawing/2014/main" id="{B788EC0D-1D8D-4859-B60F-E5B18534D185}"/>
              </a:ext>
            </a:extLst>
          </p:cNvPr>
          <p:cNvSpPr>
            <a:spLocks noGrp="1"/>
          </p:cNvSpPr>
          <p:nvPr>
            <p:ph type="body" sz="quarter" idx="24" hasCustomPrompt="1"/>
          </p:nvPr>
        </p:nvSpPr>
        <p:spPr>
          <a:xfrm>
            <a:off x="6184900" y="3488716"/>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46" name="Contact Details 2">
            <a:extLst>
              <a:ext uri="{FF2B5EF4-FFF2-40B4-BE49-F238E27FC236}">
                <a16:creationId xmlns:a16="http://schemas.microsoft.com/office/drawing/2014/main" id="{AEBC6940-689F-426A-81F4-5DFBF83B31F3}"/>
              </a:ext>
            </a:extLst>
          </p:cNvPr>
          <p:cNvSpPr>
            <a:spLocks noGrp="1"/>
          </p:cNvSpPr>
          <p:nvPr>
            <p:ph type="body" sz="quarter" idx="25" hasCustomPrompt="1"/>
          </p:nvPr>
        </p:nvSpPr>
        <p:spPr>
          <a:xfrm>
            <a:off x="6184900" y="3873967"/>
            <a:ext cx="5286374"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7" name="Bio Description 2">
            <a:extLst>
              <a:ext uri="{FF2B5EF4-FFF2-40B4-BE49-F238E27FC236}">
                <a16:creationId xmlns:a16="http://schemas.microsoft.com/office/drawing/2014/main" id="{546D1641-B818-46C5-869C-6A568D01E42F}"/>
              </a:ext>
            </a:extLst>
          </p:cNvPr>
          <p:cNvSpPr>
            <a:spLocks noGrp="1"/>
          </p:cNvSpPr>
          <p:nvPr>
            <p:ph type="body" sz="quarter" idx="26" hasCustomPrompt="1"/>
          </p:nvPr>
        </p:nvSpPr>
        <p:spPr>
          <a:xfrm>
            <a:off x="6184900" y="4342066"/>
            <a:ext cx="5286374" cy="1795209"/>
          </a:xfrm>
        </p:spPr>
        <p:txBody>
          <a:bodyPr>
            <a:normAutofit/>
          </a:bodyPr>
          <a:lstStyle>
            <a:lvl1pPr>
              <a:lnSpc>
                <a:spcPct val="95000"/>
              </a:lnSpc>
              <a:spcBef>
                <a:spcPts val="600"/>
              </a:spcBef>
              <a:defRPr sz="1200">
                <a:latin typeface="+mn-lt"/>
              </a:defRPr>
            </a:lvl1pPr>
            <a:lvl2pPr>
              <a:lnSpc>
                <a:spcPct val="95000"/>
              </a:lnSpc>
              <a:spcBef>
                <a:spcPts val="600"/>
              </a:spcBef>
              <a:defRPr sz="1200">
                <a:latin typeface="+mn-lt"/>
              </a:defRPr>
            </a:lvl2pPr>
            <a:lvl3pPr>
              <a:lnSpc>
                <a:spcPct val="95000"/>
              </a:lnSpc>
              <a:spcBef>
                <a:spcPts val="600"/>
              </a:spcBef>
              <a:defRPr sz="1200">
                <a:latin typeface="+mn-lt"/>
              </a:defRPr>
            </a:lvl3pPr>
            <a:lvl4pPr>
              <a:lnSpc>
                <a:spcPct val="95000"/>
              </a:lnSpc>
              <a:spcBef>
                <a:spcPts val="600"/>
              </a:spcBef>
              <a:defRPr sz="1200">
                <a:latin typeface="+mn-lt"/>
              </a:defRPr>
            </a:lvl4pPr>
            <a:lvl5pPr marL="0" indent="0">
              <a:lnSpc>
                <a:spcPct val="95000"/>
              </a:lnSpc>
              <a:spcBef>
                <a:spcPts val="600"/>
              </a:spcBef>
              <a:buFont typeface="Arial" panose="020B0604020202020204" pitchFamily="34" charset="0"/>
              <a:buNone/>
              <a:defRPr sz="1200">
                <a:solidFill>
                  <a:schemeClr val="tx2"/>
                </a:solidFill>
                <a:latin typeface="+mn-lt"/>
              </a:defRPr>
            </a:lvl5pPr>
            <a:lvl6pPr marL="0" indent="0">
              <a:lnSpc>
                <a:spcPct val="95000"/>
              </a:lnSpc>
              <a:spcBef>
                <a:spcPts val="600"/>
              </a:spcBef>
              <a:buFont typeface="Arial" panose="020B0604020202020204" pitchFamily="34" charset="0"/>
              <a:buNone/>
              <a:defRPr sz="1200">
                <a:solidFill>
                  <a:schemeClr val="tx1"/>
                </a:solidFill>
                <a:latin typeface="+mn-lt"/>
              </a:defRPr>
            </a:lvl6pPr>
            <a:lvl7pPr marL="0" indent="0">
              <a:lnSpc>
                <a:spcPct val="95000"/>
              </a:lnSpc>
              <a:spcBef>
                <a:spcPts val="600"/>
              </a:spcBef>
              <a:buFont typeface="Arial" panose="020B0604020202020204" pitchFamily="34" charset="0"/>
              <a:buNone/>
              <a:defRPr sz="1200">
                <a:solidFill>
                  <a:schemeClr val="tx1"/>
                </a:solidFill>
                <a:latin typeface="+mn-lt"/>
              </a:defRPr>
            </a:lvl7pPr>
            <a:lvl8pPr marL="0" indent="0">
              <a:lnSpc>
                <a:spcPct val="95000"/>
              </a:lnSpc>
              <a:spcBef>
                <a:spcPts val="600"/>
              </a:spcBef>
              <a:buFont typeface="Arial" panose="020B0604020202020204" pitchFamily="34" charset="0"/>
              <a:buNone/>
              <a:defRPr sz="1200">
                <a:solidFill>
                  <a:schemeClr val="tx1"/>
                </a:solidFill>
                <a:latin typeface="+mn-lt"/>
              </a:defRPr>
            </a:lvl8pPr>
            <a:lvl9pPr marL="0" indent="0">
              <a:lnSpc>
                <a:spcPct val="95000"/>
              </a:lnSpc>
              <a:spcBef>
                <a:spcPts val="600"/>
              </a:spcBef>
              <a:buFont typeface="Arial" panose="020B0604020202020204" pitchFamily="34" charset="0"/>
              <a:buNone/>
              <a:defRPr sz="120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grpSp>
        <p:nvGrpSpPr>
          <p:cNvPr id="15" name="Group 14">
            <a:extLst>
              <a:ext uri="{FF2B5EF4-FFF2-40B4-BE49-F238E27FC236}">
                <a16:creationId xmlns:a16="http://schemas.microsoft.com/office/drawing/2014/main" id="{399CD1D3-3D7B-4175-B9B5-AABE6DAC6948}"/>
              </a:ext>
            </a:extLst>
          </p:cNvPr>
          <p:cNvGrpSpPr/>
          <p:nvPr userDrawn="1"/>
        </p:nvGrpSpPr>
        <p:grpSpPr>
          <a:xfrm>
            <a:off x="6894610" y="0"/>
            <a:ext cx="5298532" cy="1803399"/>
            <a:chOff x="6894610" y="0"/>
            <a:chExt cx="5298532" cy="1803399"/>
          </a:xfrm>
        </p:grpSpPr>
        <p:sp>
          <p:nvSpPr>
            <p:cNvPr id="10" name="Freeform: Shape 9">
              <a:extLst>
                <a:ext uri="{FF2B5EF4-FFF2-40B4-BE49-F238E27FC236}">
                  <a16:creationId xmlns:a16="http://schemas.microsoft.com/office/drawing/2014/main" id="{52AD3346-80C8-4504-B648-AD22AA2F3ACF}"/>
                </a:ext>
              </a:extLst>
            </p:cNvPr>
            <p:cNvSpPr/>
            <p:nvPr/>
          </p:nvSpPr>
          <p:spPr>
            <a:xfrm>
              <a:off x="10870623" y="834697"/>
              <a:ext cx="1322519" cy="968702"/>
            </a:xfrm>
            <a:custGeom>
              <a:avLst/>
              <a:gdLst>
                <a:gd name="connsiteX0" fmla="*/ 7815 w 1322519"/>
                <a:gd name="connsiteY0" fmla="*/ 88465 h 968702"/>
                <a:gd name="connsiteX1" fmla="*/ 88460 w 1322519"/>
                <a:gd name="connsiteY1" fmla="*/ 258899 h 968702"/>
                <a:gd name="connsiteX2" fmla="*/ 1322519 w 1322519"/>
                <a:gd name="connsiteY2" fmla="*/ 968702 h 968702"/>
                <a:gd name="connsiteX3" fmla="*/ 1322520 w 1322519"/>
                <a:gd name="connsiteY3" fmla="*/ 627707 h 968702"/>
                <a:gd name="connsiteX4" fmla="*/ 178376 w 1322519"/>
                <a:gd name="connsiteY4" fmla="*/ 7820 h 968702"/>
                <a:gd name="connsiteX5" fmla="*/ 7815 w 1322519"/>
                <a:gd name="connsiteY5" fmla="*/ 88465 h 9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9" h="968702">
                  <a:moveTo>
                    <a:pt x="7815" y="88465"/>
                  </a:moveTo>
                  <a:cubicBezTo>
                    <a:pt x="-16964" y="157798"/>
                    <a:pt x="19136" y="234094"/>
                    <a:pt x="88460" y="258899"/>
                  </a:cubicBezTo>
                  <a:cubicBezTo>
                    <a:pt x="538461" y="420858"/>
                    <a:pt x="956254" y="661163"/>
                    <a:pt x="1322519" y="968702"/>
                  </a:cubicBezTo>
                  <a:lnTo>
                    <a:pt x="1322520" y="627707"/>
                  </a:lnTo>
                  <a:cubicBezTo>
                    <a:pt x="974877" y="364105"/>
                    <a:pt x="589058" y="155072"/>
                    <a:pt x="178376" y="7820"/>
                  </a:cubicBezTo>
                  <a:cubicBezTo>
                    <a:pt x="109010" y="-16967"/>
                    <a:pt x="32676" y="19125"/>
                    <a:pt x="7815" y="88465"/>
                  </a:cubicBezTo>
                  <a:close/>
                </a:path>
              </a:pathLst>
            </a:custGeom>
            <a:solidFill>
              <a:srgbClr val="005C82"/>
            </a:solidFill>
            <a:ln w="1270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4EB68B2B-7333-44EE-A6A3-9DD6B717F52E}"/>
                </a:ext>
              </a:extLst>
            </p:cNvPr>
            <p:cNvSpPr/>
            <p:nvPr/>
          </p:nvSpPr>
          <p:spPr>
            <a:xfrm>
              <a:off x="6894610" y="0"/>
              <a:ext cx="4228218" cy="1354511"/>
            </a:xfrm>
            <a:custGeom>
              <a:avLst/>
              <a:gdLst>
                <a:gd name="connsiteX0" fmla="*/ 4918 w 4228218"/>
                <a:gd name="connsiteY0" fmla="*/ 1185545 h 1354511"/>
                <a:gd name="connsiteX1" fmla="*/ 97513 w 4228218"/>
                <a:gd name="connsiteY1" fmla="*/ 1349627 h 1354511"/>
                <a:gd name="connsiteX2" fmla="*/ 191989 w 4228218"/>
                <a:gd name="connsiteY2" fmla="*/ 1340866 h 1354511"/>
                <a:gd name="connsiteX3" fmla="*/ 1408141 w 4228218"/>
                <a:gd name="connsiteY3" fmla="*/ 956564 h 1354511"/>
                <a:gd name="connsiteX4" fmla="*/ 4050376 w 4228218"/>
                <a:gd name="connsiteY4" fmla="*/ 1085215 h 1354511"/>
                <a:gd name="connsiteX5" fmla="*/ 4220557 w 4228218"/>
                <a:gd name="connsiteY5" fmla="*/ 1003935 h 1354511"/>
                <a:gd name="connsiteX6" fmla="*/ 4139276 w 4228218"/>
                <a:gd name="connsiteY6" fmla="*/ 833755 h 1354511"/>
                <a:gd name="connsiteX7" fmla="*/ 1346292 w 4228218"/>
                <a:gd name="connsiteY7" fmla="*/ 696849 h 1354511"/>
                <a:gd name="connsiteX8" fmla="*/ 322799 w 4228218"/>
                <a:gd name="connsiteY8" fmla="*/ 995807 h 1354511"/>
                <a:gd name="connsiteX9" fmla="*/ 338547 w 4228218"/>
                <a:gd name="connsiteY9" fmla="*/ 0 h 1354511"/>
                <a:gd name="connsiteX10" fmla="*/ 69307 w 4228218"/>
                <a:gd name="connsiteY10" fmla="*/ 0 h 1354511"/>
                <a:gd name="connsiteX11" fmla="*/ 4918 w 4228218"/>
                <a:gd name="connsiteY11" fmla="*/ 1185545 h 135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28218" h="1354511">
                  <a:moveTo>
                    <a:pt x="4918" y="1185545"/>
                  </a:moveTo>
                  <a:cubicBezTo>
                    <a:pt x="-14822" y="1256425"/>
                    <a:pt x="26634" y="1329886"/>
                    <a:pt x="97513" y="1349627"/>
                  </a:cubicBezTo>
                  <a:cubicBezTo>
                    <a:pt x="129013" y="1358400"/>
                    <a:pt x="162640" y="1355282"/>
                    <a:pt x="191989" y="1340866"/>
                  </a:cubicBezTo>
                  <a:cubicBezTo>
                    <a:pt x="196942" y="1338453"/>
                    <a:pt x="687289" y="1103757"/>
                    <a:pt x="1408141" y="956564"/>
                  </a:cubicBezTo>
                  <a:cubicBezTo>
                    <a:pt x="2067398" y="821690"/>
                    <a:pt x="3061427" y="734441"/>
                    <a:pt x="4050376" y="1085215"/>
                  </a:cubicBezTo>
                  <a:cubicBezTo>
                    <a:pt x="4119815" y="1109764"/>
                    <a:pt x="4196007" y="1073374"/>
                    <a:pt x="4220557" y="1003935"/>
                  </a:cubicBezTo>
                  <a:cubicBezTo>
                    <a:pt x="4245106" y="934496"/>
                    <a:pt x="4208715" y="858304"/>
                    <a:pt x="4139276" y="833755"/>
                  </a:cubicBezTo>
                  <a:cubicBezTo>
                    <a:pt x="3089748" y="461645"/>
                    <a:pt x="2041109" y="554355"/>
                    <a:pt x="1346292" y="696849"/>
                  </a:cubicBezTo>
                  <a:cubicBezTo>
                    <a:pt x="997459" y="768073"/>
                    <a:pt x="655124" y="868067"/>
                    <a:pt x="322799" y="995807"/>
                  </a:cubicBezTo>
                  <a:cubicBezTo>
                    <a:pt x="389601" y="648462"/>
                    <a:pt x="395189" y="315341"/>
                    <a:pt x="338547" y="0"/>
                  </a:cubicBezTo>
                  <a:lnTo>
                    <a:pt x="69307" y="0"/>
                  </a:lnTo>
                  <a:cubicBezTo>
                    <a:pt x="140173" y="363220"/>
                    <a:pt x="120488" y="764159"/>
                    <a:pt x="4918" y="1185545"/>
                  </a:cubicBezTo>
                  <a:close/>
                </a:path>
              </a:pathLst>
            </a:custGeom>
            <a:solidFill>
              <a:srgbClr val="9EDED4"/>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862849336"/>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eam Bio 6">
    <p:spTree>
      <p:nvGrpSpPr>
        <p:cNvPr id="1" name=""/>
        <p:cNvGrpSpPr/>
        <p:nvPr/>
      </p:nvGrpSpPr>
      <p:grpSpPr>
        <a:xfrm>
          <a:off x="0" y="0"/>
          <a:ext cx="0" cy="0"/>
          <a:chOff x="0" y="0"/>
          <a:chExt cx="0" cy="0"/>
        </a:xfrm>
      </p:grpSpPr>
      <p:sp>
        <p:nvSpPr>
          <p:cNvPr id="47" name="Picture Placeholder 4">
            <a:extLst>
              <a:ext uri="{FF2B5EF4-FFF2-40B4-BE49-F238E27FC236}">
                <a16:creationId xmlns:a16="http://schemas.microsoft.com/office/drawing/2014/main" id="{FFFFCC4A-5EB9-407D-97EE-22A1FAEF4BB1}"/>
              </a:ext>
            </a:extLst>
          </p:cNvPr>
          <p:cNvSpPr>
            <a:spLocks noGrp="1" noChangeAspect="1"/>
          </p:cNvSpPr>
          <p:nvPr>
            <p:ph type="pic" sz="quarter" idx="31"/>
          </p:nvPr>
        </p:nvSpPr>
        <p:spPr>
          <a:xfrm>
            <a:off x="719137" y="3997256"/>
            <a:ext cx="1366200" cy="910800"/>
          </a:xfrm>
          <a:solidFill>
            <a:schemeClr val="bg2"/>
          </a:solidFill>
        </p:spPr>
        <p:txBody>
          <a:bodyPr/>
          <a:lstStyle/>
          <a:p>
            <a:r>
              <a:rPr lang="en-US"/>
              <a:t>Click icon to add picture</a:t>
            </a:r>
            <a:endParaRPr lang="en-GB" dirty="0"/>
          </a:p>
        </p:txBody>
      </p:sp>
      <p:sp>
        <p:nvSpPr>
          <p:cNvPr id="52" name="Name Placeholder 4">
            <a:extLst>
              <a:ext uri="{FF2B5EF4-FFF2-40B4-BE49-F238E27FC236}">
                <a16:creationId xmlns:a16="http://schemas.microsoft.com/office/drawing/2014/main" id="{81FE4BB9-8A23-4971-A551-0843CC4135B4}"/>
              </a:ext>
            </a:extLst>
          </p:cNvPr>
          <p:cNvSpPr>
            <a:spLocks noGrp="1"/>
          </p:cNvSpPr>
          <p:nvPr>
            <p:ph type="body" sz="quarter" idx="32" hasCustomPrompt="1"/>
          </p:nvPr>
        </p:nvSpPr>
        <p:spPr>
          <a:xfrm>
            <a:off x="719137" y="5016056"/>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3" name="Job Title 4">
            <a:extLst>
              <a:ext uri="{FF2B5EF4-FFF2-40B4-BE49-F238E27FC236}">
                <a16:creationId xmlns:a16="http://schemas.microsoft.com/office/drawing/2014/main" id="{6FB8DF09-CA51-4CE6-AA75-72F870FB85D4}"/>
              </a:ext>
            </a:extLst>
          </p:cNvPr>
          <p:cNvSpPr>
            <a:spLocks noGrp="1"/>
          </p:cNvSpPr>
          <p:nvPr>
            <p:ph type="body" sz="quarter" idx="33" hasCustomPrompt="1"/>
          </p:nvPr>
        </p:nvSpPr>
        <p:spPr>
          <a:xfrm>
            <a:off x="719137" y="5412056"/>
            <a:ext cx="1575730" cy="297809"/>
          </a:xfrm>
          <a:prstGeom prst="roundRect">
            <a:avLst>
              <a:gd name="adj" fmla="val 50000"/>
            </a:avLst>
          </a:prstGeom>
          <a:solidFill>
            <a:schemeClr val="accent3"/>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4" name="Contact Details 4">
            <a:extLst>
              <a:ext uri="{FF2B5EF4-FFF2-40B4-BE49-F238E27FC236}">
                <a16:creationId xmlns:a16="http://schemas.microsoft.com/office/drawing/2014/main" id="{3EB728E6-1CBC-4703-BCC2-7BA00104160C}"/>
              </a:ext>
            </a:extLst>
          </p:cNvPr>
          <p:cNvSpPr>
            <a:spLocks noGrp="1"/>
          </p:cNvSpPr>
          <p:nvPr>
            <p:ph type="body" sz="quarter" idx="34" hasCustomPrompt="1"/>
          </p:nvPr>
        </p:nvSpPr>
        <p:spPr>
          <a:xfrm>
            <a:off x="719137" y="5817865"/>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55" name="Picture Placeholder 5">
            <a:extLst>
              <a:ext uri="{FF2B5EF4-FFF2-40B4-BE49-F238E27FC236}">
                <a16:creationId xmlns:a16="http://schemas.microsoft.com/office/drawing/2014/main" id="{879E3977-0FEE-46FC-820F-2B21ED7103C9}"/>
              </a:ext>
            </a:extLst>
          </p:cNvPr>
          <p:cNvSpPr>
            <a:spLocks noGrp="1" noChangeAspect="1"/>
          </p:cNvSpPr>
          <p:nvPr>
            <p:ph type="pic" sz="quarter" idx="35"/>
          </p:nvPr>
        </p:nvSpPr>
        <p:spPr>
          <a:xfrm>
            <a:off x="4364038" y="4001155"/>
            <a:ext cx="1366200" cy="910800"/>
          </a:xfrm>
          <a:solidFill>
            <a:schemeClr val="bg2"/>
          </a:solidFill>
        </p:spPr>
        <p:txBody>
          <a:bodyPr/>
          <a:lstStyle/>
          <a:p>
            <a:r>
              <a:rPr lang="en-US"/>
              <a:t>Click icon to add picture</a:t>
            </a:r>
            <a:endParaRPr lang="en-GB" dirty="0"/>
          </a:p>
        </p:txBody>
      </p:sp>
      <p:sp>
        <p:nvSpPr>
          <p:cNvPr id="56" name="Name Placeholder 5">
            <a:extLst>
              <a:ext uri="{FF2B5EF4-FFF2-40B4-BE49-F238E27FC236}">
                <a16:creationId xmlns:a16="http://schemas.microsoft.com/office/drawing/2014/main" id="{4DD93172-4F19-45F9-AB3C-0D32428D33BF}"/>
              </a:ext>
            </a:extLst>
          </p:cNvPr>
          <p:cNvSpPr>
            <a:spLocks noGrp="1"/>
          </p:cNvSpPr>
          <p:nvPr>
            <p:ph type="body" sz="quarter" idx="36" hasCustomPrompt="1"/>
          </p:nvPr>
        </p:nvSpPr>
        <p:spPr>
          <a:xfrm>
            <a:off x="4364038" y="5020381"/>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7" name="Job Title 5">
            <a:extLst>
              <a:ext uri="{FF2B5EF4-FFF2-40B4-BE49-F238E27FC236}">
                <a16:creationId xmlns:a16="http://schemas.microsoft.com/office/drawing/2014/main" id="{A3D19A47-4337-4F39-9834-87D7BAD04FA9}"/>
              </a:ext>
            </a:extLst>
          </p:cNvPr>
          <p:cNvSpPr>
            <a:spLocks noGrp="1"/>
          </p:cNvSpPr>
          <p:nvPr>
            <p:ph type="body" sz="quarter" idx="37" hasCustomPrompt="1"/>
          </p:nvPr>
        </p:nvSpPr>
        <p:spPr>
          <a:xfrm>
            <a:off x="4364038" y="5395823"/>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8" name="Contact Details 5">
            <a:extLst>
              <a:ext uri="{FF2B5EF4-FFF2-40B4-BE49-F238E27FC236}">
                <a16:creationId xmlns:a16="http://schemas.microsoft.com/office/drawing/2014/main" id="{900086A4-8295-427F-99DF-31DAD9889407}"/>
              </a:ext>
            </a:extLst>
          </p:cNvPr>
          <p:cNvSpPr>
            <a:spLocks noGrp="1"/>
          </p:cNvSpPr>
          <p:nvPr>
            <p:ph type="body" sz="quarter" idx="38" hasCustomPrompt="1"/>
          </p:nvPr>
        </p:nvSpPr>
        <p:spPr>
          <a:xfrm>
            <a:off x="4364038" y="578107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59" name="Picture Placeholder 6">
            <a:extLst>
              <a:ext uri="{FF2B5EF4-FFF2-40B4-BE49-F238E27FC236}">
                <a16:creationId xmlns:a16="http://schemas.microsoft.com/office/drawing/2014/main" id="{758D5642-E56B-4C4F-BD98-E87D6EB12962}"/>
              </a:ext>
            </a:extLst>
          </p:cNvPr>
          <p:cNvSpPr>
            <a:spLocks noGrp="1" noChangeAspect="1"/>
          </p:cNvSpPr>
          <p:nvPr>
            <p:ph type="pic" sz="quarter" idx="39"/>
          </p:nvPr>
        </p:nvSpPr>
        <p:spPr>
          <a:xfrm>
            <a:off x="8008939" y="4001155"/>
            <a:ext cx="1366200" cy="910800"/>
          </a:xfrm>
          <a:solidFill>
            <a:schemeClr val="bg2"/>
          </a:solidFill>
        </p:spPr>
        <p:txBody>
          <a:bodyPr/>
          <a:lstStyle/>
          <a:p>
            <a:r>
              <a:rPr lang="en-US"/>
              <a:t>Click icon to add picture</a:t>
            </a:r>
            <a:endParaRPr lang="en-GB" dirty="0"/>
          </a:p>
        </p:txBody>
      </p:sp>
      <p:sp>
        <p:nvSpPr>
          <p:cNvPr id="60" name="Name Placeholder 6">
            <a:extLst>
              <a:ext uri="{FF2B5EF4-FFF2-40B4-BE49-F238E27FC236}">
                <a16:creationId xmlns:a16="http://schemas.microsoft.com/office/drawing/2014/main" id="{62BC04E0-B094-4F2E-A4D4-A68642592CB7}"/>
              </a:ext>
            </a:extLst>
          </p:cNvPr>
          <p:cNvSpPr>
            <a:spLocks noGrp="1"/>
          </p:cNvSpPr>
          <p:nvPr>
            <p:ph type="body" sz="quarter" idx="40" hasCustomPrompt="1"/>
          </p:nvPr>
        </p:nvSpPr>
        <p:spPr>
          <a:xfrm>
            <a:off x="8008939" y="5020381"/>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61" name="Job Title 6">
            <a:extLst>
              <a:ext uri="{FF2B5EF4-FFF2-40B4-BE49-F238E27FC236}">
                <a16:creationId xmlns:a16="http://schemas.microsoft.com/office/drawing/2014/main" id="{4CD61B50-A333-417F-AB60-C160340391A8}"/>
              </a:ext>
            </a:extLst>
          </p:cNvPr>
          <p:cNvSpPr>
            <a:spLocks noGrp="1"/>
          </p:cNvSpPr>
          <p:nvPr>
            <p:ph type="body" sz="quarter" idx="41" hasCustomPrompt="1"/>
          </p:nvPr>
        </p:nvSpPr>
        <p:spPr>
          <a:xfrm>
            <a:off x="8008939" y="5395823"/>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62" name="Contact Details 6">
            <a:extLst>
              <a:ext uri="{FF2B5EF4-FFF2-40B4-BE49-F238E27FC236}">
                <a16:creationId xmlns:a16="http://schemas.microsoft.com/office/drawing/2014/main" id="{1A05B0D5-0358-4010-BDE0-FFE7305E079B}"/>
              </a:ext>
            </a:extLst>
          </p:cNvPr>
          <p:cNvSpPr>
            <a:spLocks noGrp="1"/>
          </p:cNvSpPr>
          <p:nvPr>
            <p:ph type="body" sz="quarter" idx="42" hasCustomPrompt="1"/>
          </p:nvPr>
        </p:nvSpPr>
        <p:spPr>
          <a:xfrm>
            <a:off x="8008939" y="578107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5465762"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719137" y="1565375"/>
            <a:ext cx="1366200" cy="910800"/>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719137" y="2584175"/>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719137" y="2980175"/>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719137" y="338598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3" name="Picture Placeholder 2">
            <a:extLst>
              <a:ext uri="{FF2B5EF4-FFF2-40B4-BE49-F238E27FC236}">
                <a16:creationId xmlns:a16="http://schemas.microsoft.com/office/drawing/2014/main" id="{2C71EBB3-958B-46B2-B16A-D9A971CB5E21}"/>
              </a:ext>
            </a:extLst>
          </p:cNvPr>
          <p:cNvSpPr>
            <a:spLocks noGrp="1" noChangeAspect="1"/>
          </p:cNvSpPr>
          <p:nvPr>
            <p:ph type="pic" sz="quarter" idx="22"/>
          </p:nvPr>
        </p:nvSpPr>
        <p:spPr>
          <a:xfrm>
            <a:off x="4364038" y="1565375"/>
            <a:ext cx="1366200" cy="910800"/>
          </a:xfrm>
          <a:solidFill>
            <a:schemeClr val="bg2"/>
          </a:solidFill>
        </p:spPr>
        <p:txBody>
          <a:bodyPr/>
          <a:lstStyle/>
          <a:p>
            <a:r>
              <a:rPr lang="en-US"/>
              <a:t>Click icon to add picture</a:t>
            </a:r>
            <a:endParaRPr lang="en-GB" dirty="0"/>
          </a:p>
        </p:txBody>
      </p:sp>
      <p:sp>
        <p:nvSpPr>
          <p:cNvPr id="44" name="Name Placeholder 2">
            <a:extLst>
              <a:ext uri="{FF2B5EF4-FFF2-40B4-BE49-F238E27FC236}">
                <a16:creationId xmlns:a16="http://schemas.microsoft.com/office/drawing/2014/main" id="{D127DC27-338F-4B6A-987F-E7D622D13008}"/>
              </a:ext>
            </a:extLst>
          </p:cNvPr>
          <p:cNvSpPr>
            <a:spLocks noGrp="1"/>
          </p:cNvSpPr>
          <p:nvPr>
            <p:ph type="body" sz="quarter" idx="23" hasCustomPrompt="1"/>
          </p:nvPr>
        </p:nvSpPr>
        <p:spPr>
          <a:xfrm>
            <a:off x="4364038" y="2584175"/>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5" name="Job Title 2">
            <a:extLst>
              <a:ext uri="{FF2B5EF4-FFF2-40B4-BE49-F238E27FC236}">
                <a16:creationId xmlns:a16="http://schemas.microsoft.com/office/drawing/2014/main" id="{B788EC0D-1D8D-4859-B60F-E5B18534D185}"/>
              </a:ext>
            </a:extLst>
          </p:cNvPr>
          <p:cNvSpPr>
            <a:spLocks noGrp="1"/>
          </p:cNvSpPr>
          <p:nvPr>
            <p:ph type="body" sz="quarter" idx="24" hasCustomPrompt="1"/>
          </p:nvPr>
        </p:nvSpPr>
        <p:spPr>
          <a:xfrm>
            <a:off x="4364038" y="2980175"/>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46" name="Contact Details 2">
            <a:extLst>
              <a:ext uri="{FF2B5EF4-FFF2-40B4-BE49-F238E27FC236}">
                <a16:creationId xmlns:a16="http://schemas.microsoft.com/office/drawing/2014/main" id="{AEBC6940-689F-426A-81F4-5DFBF83B31F3}"/>
              </a:ext>
            </a:extLst>
          </p:cNvPr>
          <p:cNvSpPr>
            <a:spLocks noGrp="1"/>
          </p:cNvSpPr>
          <p:nvPr>
            <p:ph type="body" sz="quarter" idx="25" hasCustomPrompt="1"/>
          </p:nvPr>
        </p:nvSpPr>
        <p:spPr>
          <a:xfrm>
            <a:off x="4364038" y="338598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8" name="Picture Placeholder 3">
            <a:extLst>
              <a:ext uri="{FF2B5EF4-FFF2-40B4-BE49-F238E27FC236}">
                <a16:creationId xmlns:a16="http://schemas.microsoft.com/office/drawing/2014/main" id="{D376AA3C-4E82-4D08-9202-51469C989558}"/>
              </a:ext>
            </a:extLst>
          </p:cNvPr>
          <p:cNvSpPr>
            <a:spLocks noGrp="1" noChangeAspect="1"/>
          </p:cNvSpPr>
          <p:nvPr>
            <p:ph type="pic" sz="quarter" idx="27"/>
          </p:nvPr>
        </p:nvSpPr>
        <p:spPr>
          <a:xfrm>
            <a:off x="8008939" y="1565376"/>
            <a:ext cx="1366200" cy="910800"/>
          </a:xfrm>
          <a:solidFill>
            <a:schemeClr val="bg2"/>
          </a:solidFill>
        </p:spPr>
        <p:txBody>
          <a:bodyPr/>
          <a:lstStyle/>
          <a:p>
            <a:r>
              <a:rPr lang="en-US"/>
              <a:t>Click icon to add picture</a:t>
            </a:r>
            <a:endParaRPr lang="en-GB" dirty="0"/>
          </a:p>
        </p:txBody>
      </p:sp>
      <p:sp>
        <p:nvSpPr>
          <p:cNvPr id="49" name="Name Placeholder 3">
            <a:extLst>
              <a:ext uri="{FF2B5EF4-FFF2-40B4-BE49-F238E27FC236}">
                <a16:creationId xmlns:a16="http://schemas.microsoft.com/office/drawing/2014/main" id="{0B2DDA88-23CF-4A0E-BC64-8920EF581112}"/>
              </a:ext>
            </a:extLst>
          </p:cNvPr>
          <p:cNvSpPr>
            <a:spLocks noGrp="1"/>
          </p:cNvSpPr>
          <p:nvPr>
            <p:ph type="body" sz="quarter" idx="28" hasCustomPrompt="1"/>
          </p:nvPr>
        </p:nvSpPr>
        <p:spPr>
          <a:xfrm>
            <a:off x="8008939" y="2584602"/>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0" name="Job Title 3">
            <a:extLst>
              <a:ext uri="{FF2B5EF4-FFF2-40B4-BE49-F238E27FC236}">
                <a16:creationId xmlns:a16="http://schemas.microsoft.com/office/drawing/2014/main" id="{FF803BEF-346B-4A1E-9346-FD32D891CE7A}"/>
              </a:ext>
            </a:extLst>
          </p:cNvPr>
          <p:cNvSpPr>
            <a:spLocks noGrp="1"/>
          </p:cNvSpPr>
          <p:nvPr>
            <p:ph type="body" sz="quarter" idx="29" hasCustomPrompt="1"/>
          </p:nvPr>
        </p:nvSpPr>
        <p:spPr>
          <a:xfrm>
            <a:off x="8008939" y="2960044"/>
            <a:ext cx="1575730" cy="297809"/>
          </a:xfrm>
          <a:prstGeom prst="roundRect">
            <a:avLst>
              <a:gd name="adj" fmla="val 50000"/>
            </a:avLst>
          </a:prstGeom>
          <a:solidFill>
            <a:schemeClr val="accent3"/>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1" name="Contact Details 3">
            <a:extLst>
              <a:ext uri="{FF2B5EF4-FFF2-40B4-BE49-F238E27FC236}">
                <a16:creationId xmlns:a16="http://schemas.microsoft.com/office/drawing/2014/main" id="{39386C32-2455-497F-A545-94ED15C248D3}"/>
              </a:ext>
            </a:extLst>
          </p:cNvPr>
          <p:cNvSpPr>
            <a:spLocks noGrp="1"/>
          </p:cNvSpPr>
          <p:nvPr>
            <p:ph type="body" sz="quarter" idx="30" hasCustomPrompt="1"/>
          </p:nvPr>
        </p:nvSpPr>
        <p:spPr>
          <a:xfrm>
            <a:off x="8008939" y="334529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grpSp>
        <p:nvGrpSpPr>
          <p:cNvPr id="40" name="Group 39">
            <a:extLst>
              <a:ext uri="{FF2B5EF4-FFF2-40B4-BE49-F238E27FC236}">
                <a16:creationId xmlns:a16="http://schemas.microsoft.com/office/drawing/2014/main" id="{490D5149-31BE-41B9-A908-B92CCC4EFA13}"/>
              </a:ext>
            </a:extLst>
          </p:cNvPr>
          <p:cNvGrpSpPr/>
          <p:nvPr userDrawn="1"/>
        </p:nvGrpSpPr>
        <p:grpSpPr>
          <a:xfrm>
            <a:off x="6894610" y="0"/>
            <a:ext cx="5298532" cy="1803399"/>
            <a:chOff x="6894610" y="0"/>
            <a:chExt cx="5298532" cy="1803399"/>
          </a:xfrm>
        </p:grpSpPr>
        <p:sp>
          <p:nvSpPr>
            <p:cNvPr id="41" name="Freeform: Shape 40">
              <a:extLst>
                <a:ext uri="{FF2B5EF4-FFF2-40B4-BE49-F238E27FC236}">
                  <a16:creationId xmlns:a16="http://schemas.microsoft.com/office/drawing/2014/main" id="{3FA1111A-1FB1-4DAC-A008-B937A876EAB6}"/>
                </a:ext>
              </a:extLst>
            </p:cNvPr>
            <p:cNvSpPr/>
            <p:nvPr/>
          </p:nvSpPr>
          <p:spPr>
            <a:xfrm>
              <a:off x="10870623" y="834697"/>
              <a:ext cx="1322519" cy="968702"/>
            </a:xfrm>
            <a:custGeom>
              <a:avLst/>
              <a:gdLst>
                <a:gd name="connsiteX0" fmla="*/ 7815 w 1322519"/>
                <a:gd name="connsiteY0" fmla="*/ 88465 h 968702"/>
                <a:gd name="connsiteX1" fmla="*/ 88460 w 1322519"/>
                <a:gd name="connsiteY1" fmla="*/ 258899 h 968702"/>
                <a:gd name="connsiteX2" fmla="*/ 1322519 w 1322519"/>
                <a:gd name="connsiteY2" fmla="*/ 968702 h 968702"/>
                <a:gd name="connsiteX3" fmla="*/ 1322520 w 1322519"/>
                <a:gd name="connsiteY3" fmla="*/ 627707 h 968702"/>
                <a:gd name="connsiteX4" fmla="*/ 178376 w 1322519"/>
                <a:gd name="connsiteY4" fmla="*/ 7820 h 968702"/>
                <a:gd name="connsiteX5" fmla="*/ 7815 w 1322519"/>
                <a:gd name="connsiteY5" fmla="*/ 88465 h 9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9" h="968702">
                  <a:moveTo>
                    <a:pt x="7815" y="88465"/>
                  </a:moveTo>
                  <a:cubicBezTo>
                    <a:pt x="-16964" y="157798"/>
                    <a:pt x="19136" y="234094"/>
                    <a:pt x="88460" y="258899"/>
                  </a:cubicBezTo>
                  <a:cubicBezTo>
                    <a:pt x="538461" y="420858"/>
                    <a:pt x="956254" y="661163"/>
                    <a:pt x="1322519" y="968702"/>
                  </a:cubicBezTo>
                  <a:lnTo>
                    <a:pt x="1322520" y="627707"/>
                  </a:lnTo>
                  <a:cubicBezTo>
                    <a:pt x="974877" y="364105"/>
                    <a:pt x="589058" y="155072"/>
                    <a:pt x="178376" y="7820"/>
                  </a:cubicBezTo>
                  <a:cubicBezTo>
                    <a:pt x="109010" y="-16967"/>
                    <a:pt x="32676" y="19125"/>
                    <a:pt x="7815" y="88465"/>
                  </a:cubicBezTo>
                  <a:close/>
                </a:path>
              </a:pathLst>
            </a:custGeom>
            <a:solidFill>
              <a:srgbClr val="005C82"/>
            </a:solidFill>
            <a:ln w="12700"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E30CC355-5F57-48F1-B6A8-94BED44F0FF4}"/>
                </a:ext>
              </a:extLst>
            </p:cNvPr>
            <p:cNvSpPr/>
            <p:nvPr/>
          </p:nvSpPr>
          <p:spPr>
            <a:xfrm>
              <a:off x="6894610" y="0"/>
              <a:ext cx="4228218" cy="1354511"/>
            </a:xfrm>
            <a:custGeom>
              <a:avLst/>
              <a:gdLst>
                <a:gd name="connsiteX0" fmla="*/ 4918 w 4228218"/>
                <a:gd name="connsiteY0" fmla="*/ 1185545 h 1354511"/>
                <a:gd name="connsiteX1" fmla="*/ 97513 w 4228218"/>
                <a:gd name="connsiteY1" fmla="*/ 1349627 h 1354511"/>
                <a:gd name="connsiteX2" fmla="*/ 191989 w 4228218"/>
                <a:gd name="connsiteY2" fmla="*/ 1340866 h 1354511"/>
                <a:gd name="connsiteX3" fmla="*/ 1408141 w 4228218"/>
                <a:gd name="connsiteY3" fmla="*/ 956564 h 1354511"/>
                <a:gd name="connsiteX4" fmla="*/ 4050376 w 4228218"/>
                <a:gd name="connsiteY4" fmla="*/ 1085215 h 1354511"/>
                <a:gd name="connsiteX5" fmla="*/ 4220557 w 4228218"/>
                <a:gd name="connsiteY5" fmla="*/ 1003935 h 1354511"/>
                <a:gd name="connsiteX6" fmla="*/ 4139276 w 4228218"/>
                <a:gd name="connsiteY6" fmla="*/ 833755 h 1354511"/>
                <a:gd name="connsiteX7" fmla="*/ 1346292 w 4228218"/>
                <a:gd name="connsiteY7" fmla="*/ 696849 h 1354511"/>
                <a:gd name="connsiteX8" fmla="*/ 322799 w 4228218"/>
                <a:gd name="connsiteY8" fmla="*/ 995807 h 1354511"/>
                <a:gd name="connsiteX9" fmla="*/ 338547 w 4228218"/>
                <a:gd name="connsiteY9" fmla="*/ 0 h 1354511"/>
                <a:gd name="connsiteX10" fmla="*/ 69307 w 4228218"/>
                <a:gd name="connsiteY10" fmla="*/ 0 h 1354511"/>
                <a:gd name="connsiteX11" fmla="*/ 4918 w 4228218"/>
                <a:gd name="connsiteY11" fmla="*/ 1185545 h 135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28218" h="1354511">
                  <a:moveTo>
                    <a:pt x="4918" y="1185545"/>
                  </a:moveTo>
                  <a:cubicBezTo>
                    <a:pt x="-14822" y="1256425"/>
                    <a:pt x="26634" y="1329886"/>
                    <a:pt x="97513" y="1349627"/>
                  </a:cubicBezTo>
                  <a:cubicBezTo>
                    <a:pt x="129013" y="1358400"/>
                    <a:pt x="162640" y="1355282"/>
                    <a:pt x="191989" y="1340866"/>
                  </a:cubicBezTo>
                  <a:cubicBezTo>
                    <a:pt x="196942" y="1338453"/>
                    <a:pt x="687289" y="1103757"/>
                    <a:pt x="1408141" y="956564"/>
                  </a:cubicBezTo>
                  <a:cubicBezTo>
                    <a:pt x="2067398" y="821690"/>
                    <a:pt x="3061427" y="734441"/>
                    <a:pt x="4050376" y="1085215"/>
                  </a:cubicBezTo>
                  <a:cubicBezTo>
                    <a:pt x="4119815" y="1109764"/>
                    <a:pt x="4196007" y="1073374"/>
                    <a:pt x="4220557" y="1003935"/>
                  </a:cubicBezTo>
                  <a:cubicBezTo>
                    <a:pt x="4245106" y="934496"/>
                    <a:pt x="4208715" y="858304"/>
                    <a:pt x="4139276" y="833755"/>
                  </a:cubicBezTo>
                  <a:cubicBezTo>
                    <a:pt x="3089748" y="461645"/>
                    <a:pt x="2041109" y="554355"/>
                    <a:pt x="1346292" y="696849"/>
                  </a:cubicBezTo>
                  <a:cubicBezTo>
                    <a:pt x="997459" y="768073"/>
                    <a:pt x="655124" y="868067"/>
                    <a:pt x="322799" y="995807"/>
                  </a:cubicBezTo>
                  <a:cubicBezTo>
                    <a:pt x="389601" y="648462"/>
                    <a:pt x="395189" y="315341"/>
                    <a:pt x="338547" y="0"/>
                  </a:cubicBezTo>
                  <a:lnTo>
                    <a:pt x="69307" y="0"/>
                  </a:lnTo>
                  <a:cubicBezTo>
                    <a:pt x="140173" y="363220"/>
                    <a:pt x="120488" y="764159"/>
                    <a:pt x="4918" y="1185545"/>
                  </a:cubicBezTo>
                  <a:close/>
                </a:path>
              </a:pathLst>
            </a:custGeom>
            <a:solidFill>
              <a:schemeClr val="accent5"/>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81892274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Subtitle 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80184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8" y="666745"/>
            <a:ext cx="8018462" cy="720000"/>
          </a:xfrm>
        </p:spPr>
        <p:txBody>
          <a:bodyPr/>
          <a:lstStyle/>
          <a:p>
            <a:r>
              <a:rPr lang="en-US"/>
              <a:t>Click to edit Master title style</a:t>
            </a:r>
            <a:endParaRPr lang="en-GB" dirty="0"/>
          </a:p>
        </p:txBody>
      </p:sp>
      <p:sp>
        <p:nvSpPr>
          <p:cNvPr id="13" name="Freeform: Shape 12">
            <a:extLst>
              <a:ext uri="{FF2B5EF4-FFF2-40B4-BE49-F238E27FC236}">
                <a16:creationId xmlns:a16="http://schemas.microsoft.com/office/drawing/2014/main" id="{DE495F12-C76F-40C5-B5B5-64A9DE3DCDFF}"/>
              </a:ext>
            </a:extLst>
          </p:cNvPr>
          <p:cNvSpPr/>
          <p:nvPr/>
        </p:nvSpPr>
        <p:spPr>
          <a:xfrm>
            <a:off x="0" y="0"/>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9657328E-6812-414B-A3B7-E38242C70EA3}"/>
              </a:ext>
            </a:extLst>
          </p:cNvPr>
          <p:cNvSpPr/>
          <p:nvPr/>
        </p:nvSpPr>
        <p:spPr>
          <a:xfrm>
            <a:off x="3745977" y="0"/>
            <a:ext cx="6428373" cy="5597475"/>
          </a:xfrm>
          <a:custGeom>
            <a:avLst/>
            <a:gdLst>
              <a:gd name="connsiteX0" fmla="*/ 2795284 w 6428373"/>
              <a:gd name="connsiteY0" fmla="*/ 4502023 h 5597475"/>
              <a:gd name="connsiteX1" fmla="*/ 128919 w 6428373"/>
              <a:gd name="connsiteY1" fmla="*/ 5330698 h 5597475"/>
              <a:gd name="connsiteX2" fmla="*/ 78 w 6428373"/>
              <a:gd name="connsiteY2" fmla="*/ 5468557 h 5597475"/>
              <a:gd name="connsiteX3" fmla="*/ 137936 w 6428373"/>
              <a:gd name="connsiteY3" fmla="*/ 5597398 h 5597475"/>
              <a:gd name="connsiteX4" fmla="*/ 147207 w 6428373"/>
              <a:gd name="connsiteY4" fmla="*/ 5597398 h 5597475"/>
              <a:gd name="connsiteX5" fmla="*/ 2928507 w 6428373"/>
              <a:gd name="connsiteY5" fmla="*/ 4733798 h 5597475"/>
              <a:gd name="connsiteX6" fmla="*/ 5107066 w 6428373"/>
              <a:gd name="connsiteY6" fmla="*/ 2848991 h 5597475"/>
              <a:gd name="connsiteX7" fmla="*/ 6188597 w 6428373"/>
              <a:gd name="connsiteY7" fmla="*/ 840232 h 5597475"/>
              <a:gd name="connsiteX8" fmla="*/ 6428374 w 6428373"/>
              <a:gd name="connsiteY8" fmla="*/ 0 h 5597475"/>
              <a:gd name="connsiteX9" fmla="*/ 6154307 w 6428373"/>
              <a:gd name="connsiteY9" fmla="*/ 0 h 5597475"/>
              <a:gd name="connsiteX10" fmla="*/ 5936756 w 6428373"/>
              <a:gd name="connsiteY10" fmla="*/ 752348 h 5597475"/>
              <a:gd name="connsiteX11" fmla="*/ 2795284 w 6428373"/>
              <a:gd name="connsiteY11" fmla="*/ 4502023 h 559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28373" h="5597475">
                <a:moveTo>
                  <a:pt x="2795284" y="4502023"/>
                </a:moveTo>
                <a:cubicBezTo>
                  <a:pt x="1951750" y="4988052"/>
                  <a:pt x="1054622" y="5266944"/>
                  <a:pt x="128919" y="5330698"/>
                </a:cubicBezTo>
                <a:cubicBezTo>
                  <a:pt x="55272" y="5333188"/>
                  <a:pt x="-2412" y="5394909"/>
                  <a:pt x="78" y="5468557"/>
                </a:cubicBezTo>
                <a:cubicBezTo>
                  <a:pt x="2568" y="5542204"/>
                  <a:pt x="64289" y="5599888"/>
                  <a:pt x="137936" y="5597398"/>
                </a:cubicBezTo>
                <a:cubicBezTo>
                  <a:pt x="140984" y="5597398"/>
                  <a:pt x="144032" y="5597398"/>
                  <a:pt x="147207" y="5597398"/>
                </a:cubicBezTo>
                <a:cubicBezTo>
                  <a:pt x="1113677" y="5530850"/>
                  <a:pt x="2049540" y="5240274"/>
                  <a:pt x="2928507" y="4733798"/>
                </a:cubicBezTo>
                <a:cubicBezTo>
                  <a:pt x="3796553" y="4233545"/>
                  <a:pt x="4529596" y="3599434"/>
                  <a:pt x="5107066" y="2848991"/>
                </a:cubicBezTo>
                <a:cubicBezTo>
                  <a:pt x="5572820" y="2241642"/>
                  <a:pt x="5937983" y="1563415"/>
                  <a:pt x="6188597" y="840232"/>
                </a:cubicBezTo>
                <a:cubicBezTo>
                  <a:pt x="6284668" y="565016"/>
                  <a:pt x="6364727" y="284469"/>
                  <a:pt x="6428374" y="0"/>
                </a:cubicBezTo>
                <a:lnTo>
                  <a:pt x="6154307" y="0"/>
                </a:lnTo>
                <a:cubicBezTo>
                  <a:pt x="6095493" y="254544"/>
                  <a:pt x="6022869" y="505698"/>
                  <a:pt x="5936756" y="752348"/>
                </a:cubicBezTo>
                <a:cubicBezTo>
                  <a:pt x="5550422" y="1859915"/>
                  <a:pt x="4691267" y="3409442"/>
                  <a:pt x="2795284" y="4502023"/>
                </a:cubicBezTo>
                <a:close/>
              </a:path>
            </a:pathLst>
          </a:custGeom>
          <a:solidFill>
            <a:schemeClr val="tx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2A558014-1610-414C-BB1A-A38E64AE4FA5}"/>
              </a:ext>
            </a:extLst>
          </p:cNvPr>
          <p:cNvSpPr/>
          <p:nvPr/>
        </p:nvSpPr>
        <p:spPr>
          <a:xfrm>
            <a:off x="0" y="4447921"/>
            <a:ext cx="3996047" cy="1168934"/>
          </a:xfrm>
          <a:custGeom>
            <a:avLst/>
            <a:gdLst>
              <a:gd name="connsiteX0" fmla="*/ 3868674 w 3996047"/>
              <a:gd name="connsiteY0" fmla="*/ 1155192 h 1168934"/>
              <a:gd name="connsiteX1" fmla="*/ 3995911 w 3996047"/>
              <a:gd name="connsiteY1" fmla="*/ 1015997 h 1168934"/>
              <a:gd name="connsiteX2" fmla="*/ 3856717 w 3996047"/>
              <a:gd name="connsiteY2" fmla="*/ 888760 h 1168934"/>
              <a:gd name="connsiteX3" fmla="*/ 3851148 w 3996047"/>
              <a:gd name="connsiteY3" fmla="*/ 889127 h 1168934"/>
              <a:gd name="connsiteX4" fmla="*/ 8255 w 3996047"/>
              <a:gd name="connsiteY4" fmla="*/ 4318 h 1168934"/>
              <a:gd name="connsiteX5" fmla="*/ 0 w 3996047"/>
              <a:gd name="connsiteY5" fmla="*/ 0 h 1168934"/>
              <a:gd name="connsiteX6" fmla="*/ 0 w 3996047"/>
              <a:gd name="connsiteY6" fmla="*/ 299212 h 1168934"/>
              <a:gd name="connsiteX7" fmla="*/ 1660144 w 3996047"/>
              <a:gd name="connsiteY7" fmla="*/ 931037 h 1168934"/>
              <a:gd name="connsiteX8" fmla="*/ 3868674 w 3996047"/>
              <a:gd name="connsiteY8" fmla="*/ 1155192 h 1168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96047" h="1168934">
                <a:moveTo>
                  <a:pt x="3868674" y="1155192"/>
                </a:moveTo>
                <a:cubicBezTo>
                  <a:pt x="3942247" y="1151890"/>
                  <a:pt x="3999213" y="1089570"/>
                  <a:pt x="3995911" y="1015997"/>
                </a:cubicBezTo>
                <a:cubicBezTo>
                  <a:pt x="3992610" y="942424"/>
                  <a:pt x="3930290" y="885458"/>
                  <a:pt x="3856717" y="888760"/>
                </a:cubicBezTo>
                <a:cubicBezTo>
                  <a:pt x="3854858" y="888843"/>
                  <a:pt x="3853001" y="888966"/>
                  <a:pt x="3851148" y="889127"/>
                </a:cubicBezTo>
                <a:cubicBezTo>
                  <a:pt x="2289048" y="991997"/>
                  <a:pt x="899414" y="464820"/>
                  <a:pt x="8255" y="4318"/>
                </a:cubicBezTo>
                <a:lnTo>
                  <a:pt x="0" y="0"/>
                </a:lnTo>
                <a:lnTo>
                  <a:pt x="0" y="299212"/>
                </a:lnTo>
                <a:cubicBezTo>
                  <a:pt x="530207" y="566292"/>
                  <a:pt x="1086527" y="778019"/>
                  <a:pt x="1660144" y="931037"/>
                </a:cubicBezTo>
                <a:cubicBezTo>
                  <a:pt x="2406904" y="1127379"/>
                  <a:pt x="3149600" y="1202563"/>
                  <a:pt x="3868674" y="1155192"/>
                </a:cubicBez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288792572"/>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4"/>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57355E78-E0F2-42FF-BDE9-9CC7C36E4A1A}"/>
              </a:ext>
            </a:extLst>
          </p:cNvPr>
          <p:cNvGrpSpPr/>
          <p:nvPr userDrawn="1"/>
        </p:nvGrpSpPr>
        <p:grpSpPr>
          <a:xfrm>
            <a:off x="5267706" y="0"/>
            <a:ext cx="6012052" cy="6857999"/>
            <a:chOff x="5267706" y="0"/>
            <a:chExt cx="6012052" cy="6857999"/>
          </a:xfrm>
        </p:grpSpPr>
        <p:sp>
          <p:nvSpPr>
            <p:cNvPr id="13" name="Freeform: Shape 12">
              <a:extLst>
                <a:ext uri="{FF2B5EF4-FFF2-40B4-BE49-F238E27FC236}">
                  <a16:creationId xmlns:a16="http://schemas.microsoft.com/office/drawing/2014/main" id="{28A40671-E776-46D6-86BE-DB1FE2B7BFED}"/>
                </a:ext>
              </a:extLst>
            </p:cNvPr>
            <p:cNvSpPr/>
            <p:nvPr/>
          </p:nvSpPr>
          <p:spPr>
            <a:xfrm>
              <a:off x="8913557" y="0"/>
              <a:ext cx="2366201" cy="1903292"/>
            </a:xfrm>
            <a:custGeom>
              <a:avLst/>
              <a:gdLst>
                <a:gd name="connsiteX0" fmla="*/ 18734 w 2366201"/>
                <a:gd name="connsiteY0" fmla="*/ 1701800 h 1903292"/>
                <a:gd name="connsiteX1" fmla="*/ 65249 w 2366201"/>
                <a:gd name="connsiteY1" fmla="*/ 1884559 h 1903292"/>
                <a:gd name="connsiteX2" fmla="*/ 248008 w 2366201"/>
                <a:gd name="connsiteY2" fmla="*/ 1838044 h 1903292"/>
                <a:gd name="connsiteX3" fmla="*/ 250381 w 2366201"/>
                <a:gd name="connsiteY3" fmla="*/ 1833880 h 1903292"/>
                <a:gd name="connsiteX4" fmla="*/ 1527621 w 2366201"/>
                <a:gd name="connsiteY4" fmla="*/ 465074 h 1903292"/>
                <a:gd name="connsiteX5" fmla="*/ 2366202 w 2366201"/>
                <a:gd name="connsiteY5" fmla="*/ 0 h 1903292"/>
                <a:gd name="connsiteX6" fmla="*/ 1770190 w 2366201"/>
                <a:gd name="connsiteY6" fmla="*/ 0 h 1903292"/>
                <a:gd name="connsiteX7" fmla="*/ 1377252 w 2366201"/>
                <a:gd name="connsiteY7" fmla="*/ 244348 h 1903292"/>
                <a:gd name="connsiteX8" fmla="*/ 18734 w 2366201"/>
                <a:gd name="connsiteY8" fmla="*/ 1701800 h 190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6201" h="1903292">
                  <a:moveTo>
                    <a:pt x="18734" y="1701800"/>
                  </a:moveTo>
                  <a:cubicBezTo>
                    <a:pt x="-18889" y="1765112"/>
                    <a:pt x="1937" y="1846936"/>
                    <a:pt x="65249" y="1884559"/>
                  </a:cubicBezTo>
                  <a:cubicBezTo>
                    <a:pt x="128562" y="1922181"/>
                    <a:pt x="210385" y="1901356"/>
                    <a:pt x="248008" y="1838044"/>
                  </a:cubicBezTo>
                  <a:cubicBezTo>
                    <a:pt x="248824" y="1836670"/>
                    <a:pt x="249616" y="1835282"/>
                    <a:pt x="250381" y="1833880"/>
                  </a:cubicBezTo>
                  <a:cubicBezTo>
                    <a:pt x="558484" y="1293622"/>
                    <a:pt x="988124" y="832993"/>
                    <a:pt x="1527621" y="465074"/>
                  </a:cubicBezTo>
                  <a:cubicBezTo>
                    <a:pt x="1791749" y="283777"/>
                    <a:pt x="2072543" y="128049"/>
                    <a:pt x="2366202" y="0"/>
                  </a:cubicBezTo>
                  <a:lnTo>
                    <a:pt x="1770190" y="0"/>
                  </a:lnTo>
                  <a:cubicBezTo>
                    <a:pt x="1637263" y="75099"/>
                    <a:pt x="1506285" y="156549"/>
                    <a:pt x="1377252" y="244348"/>
                  </a:cubicBezTo>
                  <a:cubicBezTo>
                    <a:pt x="804101" y="635000"/>
                    <a:pt x="347028" y="1125474"/>
                    <a:pt x="18734" y="1701800"/>
                  </a:cubicBez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B10E5586-8A0A-48DB-92FC-522751AB95CC}"/>
                </a:ext>
              </a:extLst>
            </p:cNvPr>
            <p:cNvSpPr/>
            <p:nvPr/>
          </p:nvSpPr>
          <p:spPr>
            <a:xfrm>
              <a:off x="5267706" y="1648458"/>
              <a:ext cx="3901887" cy="5209541"/>
            </a:xfrm>
            <a:custGeom>
              <a:avLst/>
              <a:gdLst>
                <a:gd name="connsiteX0" fmla="*/ 797179 w 3901887"/>
                <a:gd name="connsiteY0" fmla="*/ 4469132 h 5209541"/>
                <a:gd name="connsiteX1" fmla="*/ 3281807 w 3901887"/>
                <a:gd name="connsiteY1" fmla="*/ 4198876 h 5209541"/>
                <a:gd name="connsiteX2" fmla="*/ 3459460 w 3901887"/>
                <a:gd name="connsiteY2" fmla="*/ 4135066 h 5209541"/>
                <a:gd name="connsiteX3" fmla="*/ 3467226 w 3901887"/>
                <a:gd name="connsiteY3" fmla="*/ 4042031 h 5209541"/>
                <a:gd name="connsiteX4" fmla="*/ 3299841 w 3901887"/>
                <a:gd name="connsiteY4" fmla="*/ 2777619 h 5209541"/>
                <a:gd name="connsiteX5" fmla="*/ 3885437 w 3901887"/>
                <a:gd name="connsiteY5" fmla="*/ 197487 h 5209541"/>
                <a:gd name="connsiteX6" fmla="*/ 3832628 w 3901887"/>
                <a:gd name="connsiteY6" fmla="*/ 16447 h 5209541"/>
                <a:gd name="connsiteX7" fmla="*/ 3653409 w 3901887"/>
                <a:gd name="connsiteY7" fmla="*/ 66042 h 5209541"/>
                <a:gd name="connsiteX8" fmla="*/ 3033395 w 3901887"/>
                <a:gd name="connsiteY8" fmla="*/ 2792859 h 5209541"/>
                <a:gd name="connsiteX9" fmla="*/ 3150235 w 3901887"/>
                <a:gd name="connsiteY9" fmla="*/ 3852801 h 5209541"/>
                <a:gd name="connsiteX10" fmla="*/ 1829435 w 3901887"/>
                <a:gd name="connsiteY10" fmla="*/ 3689479 h 5209541"/>
                <a:gd name="connsiteX11" fmla="*/ 615950 w 3901887"/>
                <a:gd name="connsiteY11" fmla="*/ 4273679 h 5209541"/>
                <a:gd name="connsiteX12" fmla="*/ 0 w 3901887"/>
                <a:gd name="connsiteY12" fmla="*/ 5209542 h 5209541"/>
                <a:gd name="connsiteX13" fmla="*/ 286258 w 3901887"/>
                <a:gd name="connsiteY13" fmla="*/ 5209542 h 5209541"/>
                <a:gd name="connsiteX14" fmla="*/ 797179 w 3901887"/>
                <a:gd name="connsiteY14" fmla="*/ 4469132 h 5209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01887" h="5209541">
                  <a:moveTo>
                    <a:pt x="797179" y="4469132"/>
                  </a:moveTo>
                  <a:cubicBezTo>
                    <a:pt x="1451863" y="3859532"/>
                    <a:pt x="2357500" y="3761107"/>
                    <a:pt x="3281807" y="4198876"/>
                  </a:cubicBezTo>
                  <a:cubicBezTo>
                    <a:pt x="3348485" y="4230313"/>
                    <a:pt x="3428023" y="4201744"/>
                    <a:pt x="3459460" y="4135066"/>
                  </a:cubicBezTo>
                  <a:cubicBezTo>
                    <a:pt x="3473163" y="4106000"/>
                    <a:pt x="3475921" y="4072967"/>
                    <a:pt x="3467226" y="4042031"/>
                  </a:cubicBezTo>
                  <a:cubicBezTo>
                    <a:pt x="3465703" y="4036824"/>
                    <a:pt x="3319780" y="3512695"/>
                    <a:pt x="3299841" y="2777619"/>
                  </a:cubicBezTo>
                  <a:cubicBezTo>
                    <a:pt x="3281553" y="2104519"/>
                    <a:pt x="3368421" y="1110490"/>
                    <a:pt x="3885437" y="197487"/>
                  </a:cubicBezTo>
                  <a:cubicBezTo>
                    <a:pt x="3920848" y="132911"/>
                    <a:pt x="3897204" y="51856"/>
                    <a:pt x="3832628" y="16447"/>
                  </a:cubicBezTo>
                  <a:cubicBezTo>
                    <a:pt x="3769313" y="-18272"/>
                    <a:pt x="3689867" y="3713"/>
                    <a:pt x="3653409" y="66042"/>
                  </a:cubicBezTo>
                  <a:cubicBezTo>
                    <a:pt x="3104642" y="1035052"/>
                    <a:pt x="3013329" y="2083691"/>
                    <a:pt x="3033395" y="2792859"/>
                  </a:cubicBezTo>
                  <a:cubicBezTo>
                    <a:pt x="3043054" y="3148790"/>
                    <a:pt x="3082134" y="3503312"/>
                    <a:pt x="3150235" y="3852801"/>
                  </a:cubicBezTo>
                  <a:cubicBezTo>
                    <a:pt x="2700655" y="3681224"/>
                    <a:pt x="2257298" y="3626360"/>
                    <a:pt x="1829435" y="3689479"/>
                  </a:cubicBezTo>
                  <a:cubicBezTo>
                    <a:pt x="1374903" y="3756149"/>
                    <a:pt x="951548" y="3959962"/>
                    <a:pt x="615950" y="4273679"/>
                  </a:cubicBezTo>
                  <a:cubicBezTo>
                    <a:pt x="338451" y="4531638"/>
                    <a:pt x="127176" y="4852646"/>
                    <a:pt x="0" y="5209542"/>
                  </a:cubicBezTo>
                  <a:lnTo>
                    <a:pt x="286258" y="5209542"/>
                  </a:lnTo>
                  <a:cubicBezTo>
                    <a:pt x="400867" y="4928613"/>
                    <a:pt x="575203" y="4675972"/>
                    <a:pt x="797179" y="4469132"/>
                  </a:cubicBezTo>
                  <a:close/>
                </a:path>
              </a:pathLst>
            </a:custGeom>
            <a:solidFill>
              <a:srgbClr val="FFFFFF"/>
            </a:solidFill>
            <a:ln w="12700" cap="flat">
              <a:noFill/>
              <a:prstDash val="solid"/>
              <a:miter/>
            </a:ln>
          </p:spPr>
          <p:txBody>
            <a:bodyPr rtlCol="0" anchor="ctr"/>
            <a:lstStyle/>
            <a:p>
              <a:endParaRPr lang="en-GB"/>
            </a:p>
          </p:txBody>
        </p:sp>
      </p:grpSp>
      <p:sp>
        <p:nvSpPr>
          <p:cNvPr id="11" name="Section Number 1">
            <a:extLst>
              <a:ext uri="{FF2B5EF4-FFF2-40B4-BE49-F238E27FC236}">
                <a16:creationId xmlns:a16="http://schemas.microsoft.com/office/drawing/2014/main" id="{814A3C02-7035-49AB-B7ED-455C3FD72429}"/>
              </a:ext>
            </a:extLst>
          </p:cNvPr>
          <p:cNvSpPr>
            <a:spLocks noGrp="1" noChangeAspect="1"/>
          </p:cNvSpPr>
          <p:nvPr userDrawn="1">
            <p:ph type="body" sz="quarter" idx="10" hasCustomPrompt="1"/>
          </p:nvPr>
        </p:nvSpPr>
        <p:spPr>
          <a:xfrm>
            <a:off x="719138" y="720000"/>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userDrawn="1">
            <p:ph type="body" idx="1"/>
          </p:nvPr>
        </p:nvSpPr>
        <p:spPr>
          <a:xfrm>
            <a:off x="719139" y="4032000"/>
            <a:ext cx="6197600"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userDrawn="1">
            <p:ph type="title"/>
          </p:nvPr>
        </p:nvSpPr>
        <p:spPr>
          <a:xfrm>
            <a:off x="719138" y="2340000"/>
            <a:ext cx="6197600"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solidFill>
                  <a:schemeClr val="tx1"/>
                </a:solidFill>
              </a:defRPr>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335856977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solidFill>
          <a:schemeClr val="accent1"/>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B89C16A-6873-4ED1-BBBE-86292872B1C9}"/>
              </a:ext>
            </a:extLst>
          </p:cNvPr>
          <p:cNvGrpSpPr/>
          <p:nvPr userDrawn="1"/>
        </p:nvGrpSpPr>
        <p:grpSpPr>
          <a:xfrm>
            <a:off x="4497704" y="0"/>
            <a:ext cx="7695438" cy="6857999"/>
            <a:chOff x="4497704" y="0"/>
            <a:chExt cx="7695438" cy="6857999"/>
          </a:xfrm>
        </p:grpSpPr>
        <p:sp>
          <p:nvSpPr>
            <p:cNvPr id="12" name="Freeform: Shape 11">
              <a:extLst>
                <a:ext uri="{FF2B5EF4-FFF2-40B4-BE49-F238E27FC236}">
                  <a16:creationId xmlns:a16="http://schemas.microsoft.com/office/drawing/2014/main" id="{A47784D4-F394-4298-980B-E1F707F7A347}"/>
                </a:ext>
              </a:extLst>
            </p:cNvPr>
            <p:cNvSpPr/>
            <p:nvPr/>
          </p:nvSpPr>
          <p:spPr>
            <a:xfrm>
              <a:off x="7431342" y="0"/>
              <a:ext cx="4761800" cy="4407534"/>
            </a:xfrm>
            <a:custGeom>
              <a:avLst/>
              <a:gdLst>
                <a:gd name="connsiteX0" fmla="*/ 443801 w 4761800"/>
                <a:gd name="connsiteY0" fmla="*/ 1671701 h 4407534"/>
                <a:gd name="connsiteX1" fmla="*/ 521905 w 4761800"/>
                <a:gd name="connsiteY1" fmla="*/ 2415540 h 4407534"/>
                <a:gd name="connsiteX2" fmla="*/ 16700 w 4761800"/>
                <a:gd name="connsiteY2" fmla="*/ 4209542 h 4407534"/>
                <a:gd name="connsiteX3" fmla="*/ 68833 w 4761800"/>
                <a:gd name="connsiteY3" fmla="*/ 4390835 h 4407534"/>
                <a:gd name="connsiteX4" fmla="*/ 250126 w 4761800"/>
                <a:gd name="connsiteY4" fmla="*/ 4338701 h 4407534"/>
                <a:gd name="connsiteX5" fmla="*/ 788860 w 4761800"/>
                <a:gd name="connsiteY5" fmla="*/ 2408301 h 4407534"/>
                <a:gd name="connsiteX6" fmla="*/ 728408 w 4761800"/>
                <a:gd name="connsiteY6" fmla="*/ 1713103 h 4407534"/>
                <a:gd name="connsiteX7" fmla="*/ 4761801 w 4761800"/>
                <a:gd name="connsiteY7" fmla="*/ 98806 h 4407534"/>
                <a:gd name="connsiteX8" fmla="*/ 4761801 w 4761800"/>
                <a:gd name="connsiteY8" fmla="*/ 0 h 4407534"/>
                <a:gd name="connsiteX9" fmla="*/ 4290758 w 4761800"/>
                <a:gd name="connsiteY9" fmla="*/ 0 h 4407534"/>
                <a:gd name="connsiteX10" fmla="*/ 521651 w 4761800"/>
                <a:gd name="connsiteY10" fmla="*/ 1508252 h 4407534"/>
                <a:gd name="connsiteX11" fmla="*/ 443800 w 4761800"/>
                <a:gd name="connsiteY11" fmla="*/ 1671701 h 440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61800" h="4407534">
                  <a:moveTo>
                    <a:pt x="443801" y="1671701"/>
                  </a:moveTo>
                  <a:cubicBezTo>
                    <a:pt x="444689" y="1674495"/>
                    <a:pt x="531558" y="1961134"/>
                    <a:pt x="521905" y="2415540"/>
                  </a:cubicBezTo>
                  <a:cubicBezTo>
                    <a:pt x="513142" y="2833751"/>
                    <a:pt x="418274" y="3484499"/>
                    <a:pt x="16700" y="4209542"/>
                  </a:cubicBezTo>
                  <a:cubicBezTo>
                    <a:pt x="-18966" y="4274001"/>
                    <a:pt x="4374" y="4355169"/>
                    <a:pt x="68833" y="4390835"/>
                  </a:cubicBezTo>
                  <a:cubicBezTo>
                    <a:pt x="133292" y="4426501"/>
                    <a:pt x="214459" y="4403160"/>
                    <a:pt x="250126" y="4338701"/>
                  </a:cubicBezTo>
                  <a:cubicBezTo>
                    <a:pt x="681164" y="3560445"/>
                    <a:pt x="780986" y="2859151"/>
                    <a:pt x="788860" y="2408301"/>
                  </a:cubicBezTo>
                  <a:cubicBezTo>
                    <a:pt x="794555" y="2175044"/>
                    <a:pt x="774280" y="1941876"/>
                    <a:pt x="728408" y="1713103"/>
                  </a:cubicBezTo>
                  <a:lnTo>
                    <a:pt x="4761801" y="98806"/>
                  </a:lnTo>
                  <a:lnTo>
                    <a:pt x="4761801" y="0"/>
                  </a:lnTo>
                  <a:lnTo>
                    <a:pt x="4290758" y="0"/>
                  </a:lnTo>
                  <a:lnTo>
                    <a:pt x="521651" y="1508252"/>
                  </a:lnTo>
                  <a:cubicBezTo>
                    <a:pt x="457116" y="1534169"/>
                    <a:pt x="423255" y="1605260"/>
                    <a:pt x="443800" y="1671701"/>
                  </a:cubicBezTo>
                  <a:close/>
                </a:path>
              </a:pathLst>
            </a:custGeom>
            <a:solidFill>
              <a:srgbClr val="FFFFFF"/>
            </a:solidFill>
            <a:ln w="1270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3A0E4423-80C1-414C-BACB-F7E2E50EDCA4}"/>
                </a:ext>
              </a:extLst>
            </p:cNvPr>
            <p:cNvSpPr/>
            <p:nvPr/>
          </p:nvSpPr>
          <p:spPr>
            <a:xfrm>
              <a:off x="6216310" y="4138867"/>
              <a:ext cx="1482415" cy="1748472"/>
            </a:xfrm>
            <a:custGeom>
              <a:avLst/>
              <a:gdLst>
                <a:gd name="connsiteX0" fmla="*/ 133689 w 1482415"/>
                <a:gd name="connsiteY0" fmla="*/ 1748471 h 1748472"/>
                <a:gd name="connsiteX1" fmla="*/ 0 w 1482415"/>
                <a:gd name="connsiteY1" fmla="*/ 1615461 h 1748472"/>
                <a:gd name="connsiteX2" fmla="*/ 44789 w 1482415"/>
                <a:gd name="connsiteY2" fmla="*/ 1515426 h 1748472"/>
                <a:gd name="connsiteX3" fmla="*/ 1231350 w 1482415"/>
                <a:gd name="connsiteY3" fmla="*/ 70674 h 1748472"/>
                <a:gd name="connsiteX4" fmla="*/ 1411741 w 1482415"/>
                <a:gd name="connsiteY4" fmla="*/ 15688 h 1748472"/>
                <a:gd name="connsiteX5" fmla="*/ 1466728 w 1482415"/>
                <a:gd name="connsiteY5" fmla="*/ 196079 h 1748472"/>
                <a:gd name="connsiteX6" fmla="*/ 1464649 w 1482415"/>
                <a:gd name="connsiteY6" fmla="*/ 199833 h 1748472"/>
                <a:gd name="connsiteX7" fmla="*/ 222589 w 1482415"/>
                <a:gd name="connsiteY7" fmla="*/ 1714817 h 1748472"/>
                <a:gd name="connsiteX8" fmla="*/ 133689 w 1482415"/>
                <a:gd name="connsiteY8" fmla="*/ 1748471 h 1748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2415" h="1748472">
                  <a:moveTo>
                    <a:pt x="133689" y="1748471"/>
                  </a:moveTo>
                  <a:cubicBezTo>
                    <a:pt x="60042" y="1748659"/>
                    <a:pt x="188" y="1689108"/>
                    <a:pt x="0" y="1615461"/>
                  </a:cubicBezTo>
                  <a:cubicBezTo>
                    <a:pt x="-97" y="1577238"/>
                    <a:pt x="16213" y="1540811"/>
                    <a:pt x="44789" y="1515426"/>
                  </a:cubicBezTo>
                  <a:cubicBezTo>
                    <a:pt x="549614" y="1066736"/>
                    <a:pt x="948902" y="580579"/>
                    <a:pt x="1231350" y="70674"/>
                  </a:cubicBezTo>
                  <a:cubicBezTo>
                    <a:pt x="1265980" y="5677"/>
                    <a:pt x="1346743" y="-18942"/>
                    <a:pt x="1411741" y="15688"/>
                  </a:cubicBezTo>
                  <a:cubicBezTo>
                    <a:pt x="1476739" y="50317"/>
                    <a:pt x="1501358" y="131081"/>
                    <a:pt x="1466728" y="196079"/>
                  </a:cubicBezTo>
                  <a:cubicBezTo>
                    <a:pt x="1466055" y="197341"/>
                    <a:pt x="1465362" y="198593"/>
                    <a:pt x="1464649" y="199833"/>
                  </a:cubicBezTo>
                  <a:cubicBezTo>
                    <a:pt x="1167977" y="736281"/>
                    <a:pt x="749893" y="1245932"/>
                    <a:pt x="222589" y="1714817"/>
                  </a:cubicBezTo>
                  <a:cubicBezTo>
                    <a:pt x="198134" y="1736637"/>
                    <a:pt x="166464" y="1748626"/>
                    <a:pt x="133689" y="1748471"/>
                  </a:cubicBezTo>
                  <a:close/>
                </a:path>
              </a:pathLst>
            </a:custGeom>
            <a:solidFill>
              <a:schemeClr val="accent3"/>
            </a:solidFill>
            <a:ln w="12700"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3A4B46DE-4394-48C9-B305-66DE751E2BD2}"/>
                </a:ext>
              </a:extLst>
            </p:cNvPr>
            <p:cNvSpPr/>
            <p:nvPr/>
          </p:nvSpPr>
          <p:spPr>
            <a:xfrm>
              <a:off x="4497704" y="5625924"/>
              <a:ext cx="1986201" cy="1232075"/>
            </a:xfrm>
            <a:custGeom>
              <a:avLst/>
              <a:gdLst>
                <a:gd name="connsiteX0" fmla="*/ 1952752 w 1986201"/>
                <a:gd name="connsiteY0" fmla="*/ 45006 h 1232075"/>
                <a:gd name="connsiteX1" fmla="*/ 1764538 w 1986201"/>
                <a:gd name="connsiteY1" fmla="*/ 33449 h 1232075"/>
                <a:gd name="connsiteX2" fmla="*/ 0 w 1986201"/>
                <a:gd name="connsiteY2" fmla="*/ 1232075 h 1232075"/>
                <a:gd name="connsiteX3" fmla="*/ 545211 w 1986201"/>
                <a:gd name="connsiteY3" fmla="*/ 1232075 h 1232075"/>
                <a:gd name="connsiteX4" fmla="*/ 1941195 w 1986201"/>
                <a:gd name="connsiteY4" fmla="*/ 233220 h 1232075"/>
                <a:gd name="connsiteX5" fmla="*/ 1952752 w 1986201"/>
                <a:gd name="connsiteY5" fmla="*/ 45006 h 123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6201" h="1232075">
                  <a:moveTo>
                    <a:pt x="1952752" y="45006"/>
                  </a:moveTo>
                  <a:cubicBezTo>
                    <a:pt x="1903966" y="-10152"/>
                    <a:pt x="1819706" y="-15327"/>
                    <a:pt x="1764538" y="33449"/>
                  </a:cubicBezTo>
                  <a:cubicBezTo>
                    <a:pt x="1275715" y="465249"/>
                    <a:pt x="685673" y="865934"/>
                    <a:pt x="0" y="1232075"/>
                  </a:cubicBezTo>
                  <a:lnTo>
                    <a:pt x="545211" y="1232075"/>
                  </a:lnTo>
                  <a:cubicBezTo>
                    <a:pt x="1073700" y="921179"/>
                    <a:pt x="1539029" y="588228"/>
                    <a:pt x="1941195" y="233220"/>
                  </a:cubicBezTo>
                  <a:cubicBezTo>
                    <a:pt x="1996354" y="184434"/>
                    <a:pt x="2001528" y="100174"/>
                    <a:pt x="1952752" y="45006"/>
                  </a:cubicBezTo>
                  <a:close/>
                </a:path>
              </a:pathLst>
            </a:custGeom>
            <a:solidFill>
              <a:srgbClr val="005C82"/>
            </a:solidFill>
            <a:ln w="12700" cap="flat">
              <a:noFill/>
              <a:prstDash val="solid"/>
              <a:miter/>
            </a:ln>
          </p:spPr>
          <p:txBody>
            <a:bodyPr rtlCol="0" anchor="ctr"/>
            <a:lstStyle/>
            <a:p>
              <a:endParaRPr lang="en-GB"/>
            </a:p>
          </p:txBody>
        </p:sp>
      </p:grpSp>
      <p:sp>
        <p:nvSpPr>
          <p:cNvPr id="11" name="Section Number 1">
            <a:extLst>
              <a:ext uri="{FF2B5EF4-FFF2-40B4-BE49-F238E27FC236}">
                <a16:creationId xmlns:a16="http://schemas.microsoft.com/office/drawing/2014/main" id="{814A3C02-7035-49AB-B7ED-455C3FD72429}"/>
              </a:ext>
            </a:extLst>
          </p:cNvPr>
          <p:cNvSpPr>
            <a:spLocks noGrp="1" noChangeAspect="1"/>
          </p:cNvSpPr>
          <p:nvPr userDrawn="1">
            <p:ph type="body" sz="quarter" idx="10" hasCustomPrompt="1"/>
          </p:nvPr>
        </p:nvSpPr>
        <p:spPr>
          <a:xfrm>
            <a:off x="719138" y="720000"/>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userDrawn="1">
            <p:ph type="body" idx="1"/>
          </p:nvPr>
        </p:nvSpPr>
        <p:spPr>
          <a:xfrm>
            <a:off x="719139" y="4032000"/>
            <a:ext cx="6197600"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userDrawn="1">
            <p:ph type="title"/>
          </p:nvPr>
        </p:nvSpPr>
        <p:spPr>
          <a:xfrm>
            <a:off x="719138" y="2340000"/>
            <a:ext cx="6197600"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i="0">
                <a:solidFill>
                  <a:schemeClr val="tx2"/>
                </a:solidFill>
              </a:defRPr>
            </a:lvl7pPr>
            <a:lvl8pPr>
              <a:defRPr sz="3600" i="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217569839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Section Header 3">
    <p:bg>
      <p:bgPr>
        <a:solidFill>
          <a:schemeClr val="accent5"/>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1B9A1C00-161F-4335-AD8A-90DFCB913095}"/>
              </a:ext>
            </a:extLst>
          </p:cNvPr>
          <p:cNvGrpSpPr/>
          <p:nvPr userDrawn="1"/>
        </p:nvGrpSpPr>
        <p:grpSpPr>
          <a:xfrm>
            <a:off x="0" y="3125464"/>
            <a:ext cx="12193143" cy="3180212"/>
            <a:chOff x="0" y="3125464"/>
            <a:chExt cx="12193143" cy="3180212"/>
          </a:xfrm>
        </p:grpSpPr>
        <p:sp>
          <p:nvSpPr>
            <p:cNvPr id="17" name="Freeform: Shape 16">
              <a:extLst>
                <a:ext uri="{FF2B5EF4-FFF2-40B4-BE49-F238E27FC236}">
                  <a16:creationId xmlns:a16="http://schemas.microsoft.com/office/drawing/2014/main" id="{42A97C56-4CF8-437C-A770-3ADADCEF832F}"/>
                </a:ext>
              </a:extLst>
            </p:cNvPr>
            <p:cNvSpPr/>
            <p:nvPr/>
          </p:nvSpPr>
          <p:spPr>
            <a:xfrm>
              <a:off x="5410804" y="3125464"/>
              <a:ext cx="6782339" cy="2336074"/>
            </a:xfrm>
            <a:custGeom>
              <a:avLst/>
              <a:gdLst>
                <a:gd name="connsiteX0" fmla="*/ 1703989 w 6782339"/>
                <a:gd name="connsiteY0" fmla="*/ 104018 h 2336074"/>
                <a:gd name="connsiteX1" fmla="*/ 1399189 w 6782339"/>
                <a:gd name="connsiteY1" fmla="*/ 787278 h 2336074"/>
                <a:gd name="connsiteX2" fmla="*/ 64674 w 6782339"/>
                <a:gd name="connsiteY2" fmla="*/ 2088393 h 2336074"/>
                <a:gd name="connsiteX3" fmla="*/ 19081 w 6782339"/>
                <a:gd name="connsiteY3" fmla="*/ 2271400 h 2336074"/>
                <a:gd name="connsiteX4" fmla="*/ 202088 w 6782339"/>
                <a:gd name="connsiteY4" fmla="*/ 2316993 h 2336074"/>
                <a:gd name="connsiteX5" fmla="*/ 1634139 w 6782339"/>
                <a:gd name="connsiteY5" fmla="*/ 914151 h 2336074"/>
                <a:gd name="connsiteX6" fmla="*/ 1929796 w 6782339"/>
                <a:gd name="connsiteY6" fmla="*/ 282072 h 2336074"/>
                <a:gd name="connsiteX7" fmla="*/ 6782339 w 6782339"/>
                <a:gd name="connsiteY7" fmla="*/ 989335 h 2336074"/>
                <a:gd name="connsiteX8" fmla="*/ 6782339 w 6782339"/>
                <a:gd name="connsiteY8" fmla="*/ 719714 h 2336074"/>
                <a:gd name="connsiteX9" fmla="*/ 1853596 w 6782339"/>
                <a:gd name="connsiteY9" fmla="*/ 1402 h 2336074"/>
                <a:gd name="connsiteX10" fmla="*/ 1703989 w 6782339"/>
                <a:gd name="connsiteY10" fmla="*/ 104018 h 233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82339" h="2336074">
                  <a:moveTo>
                    <a:pt x="1703989" y="104018"/>
                  </a:moveTo>
                  <a:cubicBezTo>
                    <a:pt x="1703355" y="106939"/>
                    <a:pt x="1635283" y="398658"/>
                    <a:pt x="1399189" y="787278"/>
                  </a:cubicBezTo>
                  <a:cubicBezTo>
                    <a:pt x="1182401" y="1145164"/>
                    <a:pt x="774985" y="1661292"/>
                    <a:pt x="64674" y="2088393"/>
                  </a:cubicBezTo>
                  <a:cubicBezTo>
                    <a:pt x="1548" y="2126339"/>
                    <a:pt x="-18865" y="2208274"/>
                    <a:pt x="19081" y="2271400"/>
                  </a:cubicBezTo>
                  <a:cubicBezTo>
                    <a:pt x="57027" y="2334526"/>
                    <a:pt x="138962" y="2354939"/>
                    <a:pt x="202088" y="2316993"/>
                  </a:cubicBezTo>
                  <a:cubicBezTo>
                    <a:pt x="964088" y="1858523"/>
                    <a:pt x="1401602" y="1300993"/>
                    <a:pt x="1634139" y="914151"/>
                  </a:cubicBezTo>
                  <a:cubicBezTo>
                    <a:pt x="1755840" y="715081"/>
                    <a:pt x="1855003" y="503083"/>
                    <a:pt x="1929796" y="282072"/>
                  </a:cubicBezTo>
                  <a:lnTo>
                    <a:pt x="6782339" y="989335"/>
                  </a:lnTo>
                  <a:lnTo>
                    <a:pt x="6782339" y="719714"/>
                  </a:lnTo>
                  <a:lnTo>
                    <a:pt x="1853596" y="1402"/>
                  </a:lnTo>
                  <a:cubicBezTo>
                    <a:pt x="1784603" y="-8618"/>
                    <a:pt x="1719487" y="36046"/>
                    <a:pt x="1703989" y="104018"/>
                  </a:cubicBezTo>
                  <a:close/>
                </a:path>
              </a:pathLst>
            </a:custGeom>
            <a:solidFill>
              <a:srgbClr val="005C8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ECB47735-8911-46C6-8029-E5AC6A0462C5}"/>
                </a:ext>
              </a:extLst>
            </p:cNvPr>
            <p:cNvSpPr/>
            <p:nvPr/>
          </p:nvSpPr>
          <p:spPr>
            <a:xfrm>
              <a:off x="0" y="5874198"/>
              <a:ext cx="3882431" cy="431478"/>
            </a:xfrm>
            <a:custGeom>
              <a:avLst/>
              <a:gdLst>
                <a:gd name="connsiteX0" fmla="*/ 3777234 w 3882431"/>
                <a:gd name="connsiteY0" fmla="*/ 263711 h 431478"/>
                <a:gd name="connsiteX1" fmla="*/ 3879392 w 3882431"/>
                <a:gd name="connsiteY1" fmla="*/ 105192 h 431478"/>
                <a:gd name="connsiteX2" fmla="*/ 3724275 w 3882431"/>
                <a:gd name="connsiteY2" fmla="*/ 2345 h 431478"/>
                <a:gd name="connsiteX3" fmla="*/ 0 w 3882431"/>
                <a:gd name="connsiteY3" fmla="*/ 9584 h 431478"/>
                <a:gd name="connsiteX4" fmla="*/ 0 w 3882431"/>
                <a:gd name="connsiteY4" fmla="*/ 279078 h 431478"/>
                <a:gd name="connsiteX5" fmla="*/ 1977390 w 3882431"/>
                <a:gd name="connsiteY5" fmla="*/ 431478 h 431478"/>
                <a:gd name="connsiteX6" fmla="*/ 3777234 w 3882431"/>
                <a:gd name="connsiteY6" fmla="*/ 263711 h 431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2431" h="431478">
                  <a:moveTo>
                    <a:pt x="3777234" y="263711"/>
                  </a:moveTo>
                  <a:cubicBezTo>
                    <a:pt x="3849218" y="248147"/>
                    <a:pt x="3894956" y="177176"/>
                    <a:pt x="3879392" y="105192"/>
                  </a:cubicBezTo>
                  <a:cubicBezTo>
                    <a:pt x="3864114" y="34530"/>
                    <a:pt x="3795311" y="-11089"/>
                    <a:pt x="3724275" y="2345"/>
                  </a:cubicBezTo>
                  <a:cubicBezTo>
                    <a:pt x="2669159" y="216467"/>
                    <a:pt x="1418844" y="218245"/>
                    <a:pt x="0" y="9584"/>
                  </a:cubicBezTo>
                  <a:lnTo>
                    <a:pt x="0" y="279078"/>
                  </a:lnTo>
                  <a:cubicBezTo>
                    <a:pt x="699685" y="380678"/>
                    <a:pt x="1358815" y="431478"/>
                    <a:pt x="1977390" y="431478"/>
                  </a:cubicBezTo>
                  <a:cubicBezTo>
                    <a:pt x="2625344" y="431224"/>
                    <a:pt x="3226562" y="375471"/>
                    <a:pt x="3777234" y="263711"/>
                  </a:cubicBezTo>
                  <a:close/>
                </a:path>
              </a:pathLst>
            </a:custGeom>
            <a:solidFill>
              <a:srgbClr val="FFE84C"/>
            </a:solidFill>
            <a:ln w="1270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6585E64C-C0BE-48E1-97AE-3D8C96A7F8EF}"/>
                </a:ext>
              </a:extLst>
            </p:cNvPr>
            <p:cNvSpPr/>
            <p:nvPr/>
          </p:nvSpPr>
          <p:spPr>
            <a:xfrm>
              <a:off x="3619238" y="5194777"/>
              <a:ext cx="2058962" cy="941101"/>
            </a:xfrm>
            <a:custGeom>
              <a:avLst/>
              <a:gdLst>
                <a:gd name="connsiteX0" fmla="*/ 133612 w 2058962"/>
                <a:gd name="connsiteY0" fmla="*/ 941101 h 941101"/>
                <a:gd name="connsiteX1" fmla="*/ 0 w 2058962"/>
                <a:gd name="connsiteY1" fmla="*/ 808013 h 941101"/>
                <a:gd name="connsiteX2" fmla="*/ 106815 w 2058962"/>
                <a:gd name="connsiteY2" fmla="*/ 677068 h 941101"/>
                <a:gd name="connsiteX3" fmla="*/ 1856875 w 2058962"/>
                <a:gd name="connsiteY3" fmla="*/ 19081 h 941101"/>
                <a:gd name="connsiteX4" fmla="*/ 2039882 w 2058962"/>
                <a:gd name="connsiteY4" fmla="*/ 64674 h 941101"/>
                <a:gd name="connsiteX5" fmla="*/ 1994289 w 2058962"/>
                <a:gd name="connsiteY5" fmla="*/ 247681 h 941101"/>
                <a:gd name="connsiteX6" fmla="*/ 160663 w 2058962"/>
                <a:gd name="connsiteY6" fmla="*/ 938307 h 941101"/>
                <a:gd name="connsiteX7" fmla="*/ 133612 w 2058962"/>
                <a:gd name="connsiteY7" fmla="*/ 941101 h 941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8962" h="941101">
                  <a:moveTo>
                    <a:pt x="133612" y="941101"/>
                  </a:moveTo>
                  <a:cubicBezTo>
                    <a:pt x="59965" y="941246"/>
                    <a:pt x="145" y="881660"/>
                    <a:pt x="0" y="808013"/>
                  </a:cubicBezTo>
                  <a:cubicBezTo>
                    <a:pt x="-125" y="744496"/>
                    <a:pt x="44568" y="689707"/>
                    <a:pt x="106815" y="677068"/>
                  </a:cubicBezTo>
                  <a:cubicBezTo>
                    <a:pt x="768485" y="540924"/>
                    <a:pt x="1357257" y="319563"/>
                    <a:pt x="1856875" y="19081"/>
                  </a:cubicBezTo>
                  <a:cubicBezTo>
                    <a:pt x="1920001" y="-18865"/>
                    <a:pt x="2001936" y="1548"/>
                    <a:pt x="2039882" y="64674"/>
                  </a:cubicBezTo>
                  <a:cubicBezTo>
                    <a:pt x="2077828" y="127800"/>
                    <a:pt x="2057415" y="209735"/>
                    <a:pt x="1994289" y="247681"/>
                  </a:cubicBezTo>
                  <a:cubicBezTo>
                    <a:pt x="1468763" y="563657"/>
                    <a:pt x="851924" y="796067"/>
                    <a:pt x="160663" y="938307"/>
                  </a:cubicBezTo>
                  <a:cubicBezTo>
                    <a:pt x="151766" y="940166"/>
                    <a:pt x="142701" y="941102"/>
                    <a:pt x="133612" y="941101"/>
                  </a:cubicBezTo>
                  <a:close/>
                </a:path>
              </a:pathLst>
            </a:custGeom>
            <a:solidFill>
              <a:srgbClr val="FFE84C"/>
            </a:solidFill>
            <a:ln w="12700" cap="flat">
              <a:noFill/>
              <a:prstDash val="solid"/>
              <a:miter/>
            </a:ln>
          </p:spPr>
          <p:txBody>
            <a:bodyPr rtlCol="0" anchor="ctr"/>
            <a:lstStyle/>
            <a:p>
              <a:endParaRPr lang="en-GB"/>
            </a:p>
          </p:txBody>
        </p:sp>
      </p:grpSp>
      <p:sp>
        <p:nvSpPr>
          <p:cNvPr id="5" name="Picture Placeholder 4">
            <a:extLst>
              <a:ext uri="{FF2B5EF4-FFF2-40B4-BE49-F238E27FC236}">
                <a16:creationId xmlns:a16="http://schemas.microsoft.com/office/drawing/2014/main" id="{1D0CB51F-FB93-44E1-8529-723507996C9D}"/>
              </a:ext>
            </a:extLst>
          </p:cNvPr>
          <p:cNvSpPr>
            <a:spLocks noGrp="1"/>
          </p:cNvSpPr>
          <p:nvPr>
            <p:ph type="pic" sz="quarter" idx="11"/>
          </p:nvPr>
        </p:nvSpPr>
        <p:spPr>
          <a:xfrm>
            <a:off x="8007349" y="719137"/>
            <a:ext cx="3463925" cy="5418137"/>
          </a:xfrm>
        </p:spPr>
        <p:txBody>
          <a:bodyPr/>
          <a:lstStyle/>
          <a:p>
            <a:r>
              <a:rPr lang="en-US"/>
              <a:t>Click icon to add picture</a:t>
            </a:r>
            <a:endParaRPr lang="en-GB" dirty="0"/>
          </a:p>
        </p:txBody>
      </p:sp>
      <p:sp>
        <p:nvSpPr>
          <p:cNvPr id="11" name="Section Number 1">
            <a:extLst>
              <a:ext uri="{FF2B5EF4-FFF2-40B4-BE49-F238E27FC236}">
                <a16:creationId xmlns:a16="http://schemas.microsoft.com/office/drawing/2014/main" id="{814A3C02-7035-49AB-B7ED-455C3FD72429}"/>
              </a:ext>
            </a:extLst>
          </p:cNvPr>
          <p:cNvSpPr>
            <a:spLocks noGrp="1" noChangeAspect="1"/>
          </p:cNvSpPr>
          <p:nvPr>
            <p:ph type="body" sz="quarter" idx="10" hasCustomPrompt="1"/>
          </p:nvPr>
        </p:nvSpPr>
        <p:spPr>
          <a:xfrm>
            <a:off x="719138" y="719138"/>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p:ph type="body" idx="1"/>
          </p:nvPr>
        </p:nvSpPr>
        <p:spPr>
          <a:xfrm>
            <a:off x="719139" y="4031138"/>
            <a:ext cx="5286374"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p:ph type="title"/>
          </p:nvPr>
        </p:nvSpPr>
        <p:spPr>
          <a:xfrm>
            <a:off x="719138" y="2339138"/>
            <a:ext cx="5286375"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28193124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Section Header 4">
    <p:bg>
      <p:bgPr>
        <a:solidFill>
          <a:schemeClr val="accent2"/>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6DEAB736-E5C7-4F8A-BC12-AD7CF2D2FA68}"/>
              </a:ext>
            </a:extLst>
          </p:cNvPr>
          <p:cNvGrpSpPr/>
          <p:nvPr userDrawn="1"/>
        </p:nvGrpSpPr>
        <p:grpSpPr>
          <a:xfrm>
            <a:off x="2475589" y="1650880"/>
            <a:ext cx="9717299" cy="5207761"/>
            <a:chOff x="2475589" y="1650880"/>
            <a:chExt cx="9717299" cy="5207761"/>
          </a:xfrm>
        </p:grpSpPr>
        <p:sp>
          <p:nvSpPr>
            <p:cNvPr id="9" name="Freeform: Shape 8">
              <a:extLst>
                <a:ext uri="{FF2B5EF4-FFF2-40B4-BE49-F238E27FC236}">
                  <a16:creationId xmlns:a16="http://schemas.microsoft.com/office/drawing/2014/main" id="{DF2E4789-30CF-4562-AC1B-EA9FDF4414BC}"/>
                </a:ext>
              </a:extLst>
            </p:cNvPr>
            <p:cNvSpPr/>
            <p:nvPr/>
          </p:nvSpPr>
          <p:spPr>
            <a:xfrm>
              <a:off x="8234448" y="1650880"/>
              <a:ext cx="3958440" cy="1200309"/>
            </a:xfrm>
            <a:custGeom>
              <a:avLst/>
              <a:gdLst>
                <a:gd name="connsiteX0" fmla="*/ 1853218 w 3958440"/>
                <a:gd name="connsiteY0" fmla="*/ 122840 h 1200309"/>
                <a:gd name="connsiteX1" fmla="*/ 47617 w 3958440"/>
                <a:gd name="connsiteY1" fmla="*/ 964802 h 1200309"/>
                <a:gd name="connsiteX2" fmla="*/ 31225 w 3958440"/>
                <a:gd name="connsiteY2" fmla="*/ 1152691 h 1200309"/>
                <a:gd name="connsiteX3" fmla="*/ 212732 w 3958440"/>
                <a:gd name="connsiteY3" fmla="*/ 1174117 h 1200309"/>
                <a:gd name="connsiteX4" fmla="*/ 1909866 w 3958440"/>
                <a:gd name="connsiteY4" fmla="*/ 383341 h 1200309"/>
                <a:gd name="connsiteX5" fmla="*/ 3958441 w 3958440"/>
                <a:gd name="connsiteY5" fmla="*/ 373180 h 1200309"/>
                <a:gd name="connsiteX6" fmla="*/ 3958441 w 3958440"/>
                <a:gd name="connsiteY6" fmla="*/ 101883 h 1200309"/>
                <a:gd name="connsiteX7" fmla="*/ 3820760 w 3958440"/>
                <a:gd name="connsiteY7" fmla="*/ 74829 h 1200309"/>
                <a:gd name="connsiteX8" fmla="*/ 1853218 w 3958440"/>
                <a:gd name="connsiteY8" fmla="*/ 122840 h 1200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8440" h="1200309">
                  <a:moveTo>
                    <a:pt x="1853218" y="122840"/>
                  </a:moveTo>
                  <a:cubicBezTo>
                    <a:pt x="1175229" y="270555"/>
                    <a:pt x="567731" y="553918"/>
                    <a:pt x="47617" y="964802"/>
                  </a:cubicBezTo>
                  <a:cubicBezTo>
                    <a:pt x="-8794" y="1012159"/>
                    <a:pt x="-16133" y="1096280"/>
                    <a:pt x="31225" y="1152691"/>
                  </a:cubicBezTo>
                  <a:cubicBezTo>
                    <a:pt x="76553" y="1206685"/>
                    <a:pt x="156077" y="1216073"/>
                    <a:pt x="212732" y="1174117"/>
                  </a:cubicBezTo>
                  <a:cubicBezTo>
                    <a:pt x="700840" y="788509"/>
                    <a:pt x="1271758" y="522419"/>
                    <a:pt x="1909866" y="383341"/>
                  </a:cubicBezTo>
                  <a:cubicBezTo>
                    <a:pt x="2616687" y="229276"/>
                    <a:pt x="3301916" y="226354"/>
                    <a:pt x="3958441" y="373180"/>
                  </a:cubicBezTo>
                  <a:lnTo>
                    <a:pt x="3958441" y="101883"/>
                  </a:lnTo>
                  <a:cubicBezTo>
                    <a:pt x="3912716" y="92230"/>
                    <a:pt x="3866865" y="83085"/>
                    <a:pt x="3820760" y="74829"/>
                  </a:cubicBezTo>
                  <a:cubicBezTo>
                    <a:pt x="3184049" y="-38973"/>
                    <a:pt x="2522317" y="-22970"/>
                    <a:pt x="1853218" y="122840"/>
                  </a:cubicBezTo>
                  <a:close/>
                </a:path>
              </a:pathLst>
            </a:custGeom>
            <a:solidFill>
              <a:srgbClr val="005C82"/>
            </a:solidFill>
            <a:ln w="12700"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CDA31254-47BB-4C08-A50F-3432F5F43124}"/>
                </a:ext>
              </a:extLst>
            </p:cNvPr>
            <p:cNvSpPr/>
            <p:nvPr/>
          </p:nvSpPr>
          <p:spPr>
            <a:xfrm>
              <a:off x="2475589" y="2588626"/>
              <a:ext cx="6015363" cy="4270015"/>
            </a:xfrm>
            <a:custGeom>
              <a:avLst/>
              <a:gdLst>
                <a:gd name="connsiteX0" fmla="*/ 1493152 w 6015363"/>
                <a:gd name="connsiteY0" fmla="*/ 3047907 h 4270015"/>
                <a:gd name="connsiteX1" fmla="*/ 3898250 w 6015363"/>
                <a:gd name="connsiteY1" fmla="*/ 3728183 h 4270015"/>
                <a:gd name="connsiteX2" fmla="*/ 4086697 w 6015363"/>
                <a:gd name="connsiteY2" fmla="*/ 3735832 h 4270015"/>
                <a:gd name="connsiteX3" fmla="*/ 4128903 w 6015363"/>
                <a:gd name="connsiteY3" fmla="*/ 3651976 h 4270015"/>
                <a:gd name="connsiteX4" fmla="*/ 4444782 w 6015363"/>
                <a:gd name="connsiteY4" fmla="*/ 2424152 h 4270015"/>
                <a:gd name="connsiteX5" fmla="*/ 5956858 w 6015363"/>
                <a:gd name="connsiteY5" fmla="*/ 243738 h 4270015"/>
                <a:gd name="connsiteX6" fmla="*/ 5992350 w 6015363"/>
                <a:gd name="connsiteY6" fmla="*/ 58505 h 4270015"/>
                <a:gd name="connsiteX7" fmla="*/ 5807117 w 6015363"/>
                <a:gd name="connsiteY7" fmla="*/ 23013 h 4270015"/>
                <a:gd name="connsiteX8" fmla="*/ 5791743 w 6015363"/>
                <a:gd name="connsiteY8" fmla="*/ 35185 h 4270015"/>
                <a:gd name="connsiteX9" fmla="*/ 4194695 w 6015363"/>
                <a:gd name="connsiteY9" fmla="*/ 2331433 h 4270015"/>
                <a:gd name="connsiteX10" fmla="*/ 3905870 w 6015363"/>
                <a:gd name="connsiteY10" fmla="*/ 3357944 h 4270015"/>
                <a:gd name="connsiteX11" fmla="*/ 2741933 w 6015363"/>
                <a:gd name="connsiteY11" fmla="*/ 2711453 h 4270015"/>
                <a:gd name="connsiteX12" fmla="*/ 1397766 w 6015363"/>
                <a:gd name="connsiteY12" fmla="*/ 2798837 h 4270015"/>
                <a:gd name="connsiteX13" fmla="*/ 334549 w 6015363"/>
                <a:gd name="connsiteY13" fmla="*/ 3611713 h 4270015"/>
                <a:gd name="connsiteX14" fmla="*/ 0 w 6015363"/>
                <a:gd name="connsiteY14" fmla="*/ 4270016 h 4270015"/>
                <a:gd name="connsiteX15" fmla="*/ 283109 w 6015363"/>
                <a:gd name="connsiteY15" fmla="*/ 4270016 h 4270015"/>
                <a:gd name="connsiteX16" fmla="*/ 1493152 w 6015363"/>
                <a:gd name="connsiteY16" fmla="*/ 3047907 h 427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15363" h="4270015">
                  <a:moveTo>
                    <a:pt x="1493152" y="3047907"/>
                  </a:moveTo>
                  <a:cubicBezTo>
                    <a:pt x="2328509" y="2728092"/>
                    <a:pt x="3205145" y="2976019"/>
                    <a:pt x="3898250" y="3728183"/>
                  </a:cubicBezTo>
                  <a:cubicBezTo>
                    <a:pt x="3948176" y="3782334"/>
                    <a:pt x="4032547" y="3785758"/>
                    <a:pt x="4086697" y="3735832"/>
                  </a:cubicBezTo>
                  <a:cubicBezTo>
                    <a:pt x="4110464" y="3713919"/>
                    <a:pt x="4125463" y="3684120"/>
                    <a:pt x="4128903" y="3651976"/>
                  </a:cubicBezTo>
                  <a:cubicBezTo>
                    <a:pt x="4128903" y="3646642"/>
                    <a:pt x="4189234" y="3112175"/>
                    <a:pt x="4444782" y="2424152"/>
                  </a:cubicBezTo>
                  <a:cubicBezTo>
                    <a:pt x="4680007" y="1790998"/>
                    <a:pt x="5133313" y="898612"/>
                    <a:pt x="5956858" y="243738"/>
                  </a:cubicBezTo>
                  <a:cubicBezTo>
                    <a:pt x="6017810" y="202388"/>
                    <a:pt x="6033701" y="119457"/>
                    <a:pt x="5992350" y="58505"/>
                  </a:cubicBezTo>
                  <a:cubicBezTo>
                    <a:pt x="5951000" y="-2447"/>
                    <a:pt x="5868069" y="-18337"/>
                    <a:pt x="5807117" y="23013"/>
                  </a:cubicBezTo>
                  <a:cubicBezTo>
                    <a:pt x="5801701" y="26687"/>
                    <a:pt x="5796562" y="30756"/>
                    <a:pt x="5791743" y="35185"/>
                  </a:cubicBezTo>
                  <a:cubicBezTo>
                    <a:pt x="4919298" y="728035"/>
                    <a:pt x="4441734" y="1666272"/>
                    <a:pt x="4194695" y="2331433"/>
                  </a:cubicBezTo>
                  <a:cubicBezTo>
                    <a:pt x="4070316" y="2665066"/>
                    <a:pt x="3973713" y="3008403"/>
                    <a:pt x="3905870" y="3357944"/>
                  </a:cubicBezTo>
                  <a:cubicBezTo>
                    <a:pt x="3553285" y="3030507"/>
                    <a:pt x="3162724" y="2813444"/>
                    <a:pt x="2741933" y="2711453"/>
                  </a:cubicBezTo>
                  <a:cubicBezTo>
                    <a:pt x="2295429" y="2603066"/>
                    <a:pt x="1826479" y="2633553"/>
                    <a:pt x="1397766" y="2798837"/>
                  </a:cubicBezTo>
                  <a:cubicBezTo>
                    <a:pt x="972378" y="2961580"/>
                    <a:pt x="603137" y="3243881"/>
                    <a:pt x="334549" y="3611713"/>
                  </a:cubicBezTo>
                  <a:cubicBezTo>
                    <a:pt x="187824" y="3811401"/>
                    <a:pt x="74810" y="4033781"/>
                    <a:pt x="0" y="4270016"/>
                  </a:cubicBezTo>
                  <a:lnTo>
                    <a:pt x="283109" y="4270016"/>
                  </a:lnTo>
                  <a:cubicBezTo>
                    <a:pt x="482645" y="3723865"/>
                    <a:pt x="921471" y="3266622"/>
                    <a:pt x="1493152" y="3047907"/>
                  </a:cubicBezTo>
                  <a:close/>
                </a:path>
              </a:pathLst>
            </a:custGeom>
            <a:solidFill>
              <a:srgbClr val="85ABE3"/>
            </a:solidFill>
            <a:ln w="12700" cap="flat">
              <a:noFill/>
              <a:prstDash val="solid"/>
              <a:miter/>
            </a:ln>
          </p:spPr>
          <p:txBody>
            <a:bodyPr rtlCol="0" anchor="ctr"/>
            <a:lstStyle/>
            <a:p>
              <a:endParaRPr lang="en-GB"/>
            </a:p>
          </p:txBody>
        </p:sp>
      </p:grpSp>
      <p:sp>
        <p:nvSpPr>
          <p:cNvPr id="5" name="Picture Placeholder 4">
            <a:extLst>
              <a:ext uri="{FF2B5EF4-FFF2-40B4-BE49-F238E27FC236}">
                <a16:creationId xmlns:a16="http://schemas.microsoft.com/office/drawing/2014/main" id="{1D0CB51F-FB93-44E1-8529-723507996C9D}"/>
              </a:ext>
            </a:extLst>
          </p:cNvPr>
          <p:cNvSpPr>
            <a:spLocks noGrp="1"/>
          </p:cNvSpPr>
          <p:nvPr>
            <p:ph type="pic" sz="quarter" idx="11"/>
          </p:nvPr>
        </p:nvSpPr>
        <p:spPr>
          <a:xfrm>
            <a:off x="8007349" y="719137"/>
            <a:ext cx="3463925" cy="5418137"/>
          </a:xfrm>
        </p:spPr>
        <p:txBody>
          <a:bodyPr/>
          <a:lstStyle/>
          <a:p>
            <a:r>
              <a:rPr lang="en-US"/>
              <a:t>Click icon to add picture</a:t>
            </a:r>
            <a:endParaRPr lang="en-GB" dirty="0"/>
          </a:p>
        </p:txBody>
      </p:sp>
      <p:sp>
        <p:nvSpPr>
          <p:cNvPr id="11" name="Section Number 1">
            <a:extLst>
              <a:ext uri="{FF2B5EF4-FFF2-40B4-BE49-F238E27FC236}">
                <a16:creationId xmlns:a16="http://schemas.microsoft.com/office/drawing/2014/main" id="{814A3C02-7035-49AB-B7ED-455C3FD72429}"/>
              </a:ext>
            </a:extLst>
          </p:cNvPr>
          <p:cNvSpPr>
            <a:spLocks noGrp="1" noChangeAspect="1"/>
          </p:cNvSpPr>
          <p:nvPr>
            <p:ph type="body" sz="quarter" idx="10" hasCustomPrompt="1"/>
          </p:nvPr>
        </p:nvSpPr>
        <p:spPr>
          <a:xfrm>
            <a:off x="719138" y="719138"/>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p:ph type="body" idx="1"/>
          </p:nvPr>
        </p:nvSpPr>
        <p:spPr>
          <a:xfrm>
            <a:off x="719139" y="4031138"/>
            <a:ext cx="5286374"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p:ph type="title"/>
          </p:nvPr>
        </p:nvSpPr>
        <p:spPr>
          <a:xfrm>
            <a:off x="719138" y="2339138"/>
            <a:ext cx="5286375"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97925652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Quote Left">
    <p:bg>
      <p:bgPr>
        <a:solidFill>
          <a:schemeClr val="accent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26" name="Text Placeholder 1">
            <a:extLst>
              <a:ext uri="{FF2B5EF4-FFF2-40B4-BE49-F238E27FC236}">
                <a16:creationId xmlns:a16="http://schemas.microsoft.com/office/drawing/2014/main" id="{EF86E853-2DAA-4563-A8E4-4FD02470765E}"/>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Quote Icon / Statistic">
            <a:extLst>
              <a:ext uri="{FF2B5EF4-FFF2-40B4-BE49-F238E27FC236}">
                <a16:creationId xmlns:a16="http://schemas.microsoft.com/office/drawing/2014/main" id="{0A708DFA-732A-4146-B4DA-F773CB057914}"/>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376164915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Statistic Left">
    <p:bg>
      <p:bgPr>
        <a:solidFill>
          <a:schemeClr val="accent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26" name="Text Placeholder 1">
            <a:extLst>
              <a:ext uri="{FF2B5EF4-FFF2-40B4-BE49-F238E27FC236}">
                <a16:creationId xmlns:a16="http://schemas.microsoft.com/office/drawing/2014/main" id="{EF86E853-2DAA-4563-A8E4-4FD02470765E}"/>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Quote Icon / Statistic">
            <a:extLst>
              <a:ext uri="{FF2B5EF4-FFF2-40B4-BE49-F238E27FC236}">
                <a16:creationId xmlns:a16="http://schemas.microsoft.com/office/drawing/2014/main" id="{0A708DFA-732A-4146-B4DA-F773CB057914}"/>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3"/>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spTree>
    <p:extLst>
      <p:ext uri="{BB962C8B-B14F-4D97-AF65-F5344CB8AC3E}">
        <p14:creationId xmlns:p14="http://schemas.microsoft.com/office/powerpoint/2010/main" val="194237674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Quote Right">
    <p:bg>
      <p:bgPr>
        <a:solidFill>
          <a:schemeClr val="accent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6184900"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Quote Icon">
            <a:extLst>
              <a:ext uri="{FF2B5EF4-FFF2-40B4-BE49-F238E27FC236}">
                <a16:creationId xmlns:a16="http://schemas.microsoft.com/office/drawing/2014/main" id="{AE908A02-8ECE-4103-A82B-C66FB3871F13}"/>
              </a:ext>
            </a:extLst>
          </p:cNvPr>
          <p:cNvSpPr>
            <a:spLocks noGrp="1" noChangeAspect="1"/>
          </p:cNvSpPr>
          <p:nvPr>
            <p:ph type="body" sz="quarter" idx="23" hasCustomPrompt="1"/>
          </p:nvPr>
        </p:nvSpPr>
        <p:spPr>
          <a:xfrm>
            <a:off x="6184900"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118801720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Statistic Right">
    <p:bg>
      <p:bgPr>
        <a:solidFill>
          <a:schemeClr val="accent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6184900"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Quote Icon / Statistic">
            <a:extLst>
              <a:ext uri="{FF2B5EF4-FFF2-40B4-BE49-F238E27FC236}">
                <a16:creationId xmlns:a16="http://schemas.microsoft.com/office/drawing/2014/main" id="{32ED2ED7-DFF0-490A-B1BF-4CFE506929CE}"/>
              </a:ext>
            </a:extLst>
          </p:cNvPr>
          <p:cNvSpPr>
            <a:spLocks noGrp="1" noChangeAspect="1"/>
          </p:cNvSpPr>
          <p:nvPr>
            <p:ph type="body" sz="quarter" idx="24" hasCustomPrompt="1"/>
          </p:nvPr>
        </p:nvSpPr>
        <p:spPr>
          <a:xfrm>
            <a:off x="6184900"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spTree>
    <p:extLst>
      <p:ext uri="{BB962C8B-B14F-4D97-AF65-F5344CB8AC3E}">
        <p14:creationId xmlns:p14="http://schemas.microsoft.com/office/powerpoint/2010/main" val="161439555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 Left 1">
    <p:bg>
      <p:bgPr>
        <a:solidFill>
          <a:schemeClr val="accent3"/>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24" name="Quote Icon">
            <a:extLst>
              <a:ext uri="{FF2B5EF4-FFF2-40B4-BE49-F238E27FC236}">
                <a16:creationId xmlns:a16="http://schemas.microsoft.com/office/drawing/2014/main" id="{66346173-DA66-4D9F-9D8B-CA03323AD95F}"/>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6" name="Group 15">
            <a:extLst>
              <a:ext uri="{FF2B5EF4-FFF2-40B4-BE49-F238E27FC236}">
                <a16:creationId xmlns:a16="http://schemas.microsoft.com/office/drawing/2014/main" id="{74580E24-C8C1-44DD-9DAF-8C9F2AB5AEE9}"/>
              </a:ext>
            </a:extLst>
          </p:cNvPr>
          <p:cNvGrpSpPr/>
          <p:nvPr userDrawn="1"/>
        </p:nvGrpSpPr>
        <p:grpSpPr>
          <a:xfrm>
            <a:off x="7547448" y="0"/>
            <a:ext cx="4612546" cy="6857999"/>
            <a:chOff x="7547448" y="0"/>
            <a:chExt cx="4612546" cy="6857999"/>
          </a:xfrm>
        </p:grpSpPr>
        <p:sp>
          <p:nvSpPr>
            <p:cNvPr id="15" name="Freeform: Shape 14">
              <a:extLst>
                <a:ext uri="{FF2B5EF4-FFF2-40B4-BE49-F238E27FC236}">
                  <a16:creationId xmlns:a16="http://schemas.microsoft.com/office/drawing/2014/main" id="{DC30B9A7-E7FE-4E69-BB7A-2A29A20473C1}"/>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6330B80F-5F39-4055-89EE-8B57F2F12126}"/>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620777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 Statistic Left 1">
    <p:bg>
      <p:bgPr>
        <a:solidFill>
          <a:schemeClr val="accent3"/>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1" name="Quote Icon / Statistic">
            <a:extLst>
              <a:ext uri="{FF2B5EF4-FFF2-40B4-BE49-F238E27FC236}">
                <a16:creationId xmlns:a16="http://schemas.microsoft.com/office/drawing/2014/main" id="{17551C48-C61C-47BF-A013-FC9EF9B355CD}"/>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2" name="Group 11">
            <a:extLst>
              <a:ext uri="{FF2B5EF4-FFF2-40B4-BE49-F238E27FC236}">
                <a16:creationId xmlns:a16="http://schemas.microsoft.com/office/drawing/2014/main" id="{A165A3F0-D5F1-4661-94DA-81733AD3F528}"/>
              </a:ext>
            </a:extLst>
          </p:cNvPr>
          <p:cNvGrpSpPr/>
          <p:nvPr userDrawn="1"/>
        </p:nvGrpSpPr>
        <p:grpSpPr>
          <a:xfrm>
            <a:off x="7547448" y="0"/>
            <a:ext cx="4612546" cy="6857999"/>
            <a:chOff x="7547448" y="0"/>
            <a:chExt cx="4612546" cy="6857999"/>
          </a:xfrm>
        </p:grpSpPr>
        <p:sp>
          <p:nvSpPr>
            <p:cNvPr id="13" name="Freeform: Shape 12">
              <a:extLst>
                <a:ext uri="{FF2B5EF4-FFF2-40B4-BE49-F238E27FC236}">
                  <a16:creationId xmlns:a16="http://schemas.microsoft.com/office/drawing/2014/main" id="{C8083FC4-7BEB-4F09-BB31-D538ADC67860}"/>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43CDC7C8-1F1E-4C25-8520-49CC1BBB6E55}"/>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728138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Subtitle 4">
    <p:bg>
      <p:bgPr>
        <a:solidFill>
          <a:schemeClr val="accent2"/>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8E843608-B7C7-4107-B438-6B64438AA4B9}"/>
              </a:ext>
            </a:extLst>
          </p:cNvPr>
          <p:cNvSpPr/>
          <p:nvPr userDrawn="1"/>
        </p:nvSpPr>
        <p:spPr>
          <a:xfrm>
            <a:off x="0" y="4830317"/>
            <a:ext cx="2965628" cy="2027809"/>
          </a:xfrm>
          <a:custGeom>
            <a:avLst/>
            <a:gdLst>
              <a:gd name="connsiteX0" fmla="*/ 2862200 w 2965628"/>
              <a:gd name="connsiteY0" fmla="*/ 990092 h 2027809"/>
              <a:gd name="connsiteX1" fmla="*/ 2427986 w 2965628"/>
              <a:gd name="connsiteY1" fmla="*/ 922655 h 2027809"/>
              <a:gd name="connsiteX2" fmla="*/ 0 w 2965628"/>
              <a:gd name="connsiteY2" fmla="*/ 0 h 2027809"/>
              <a:gd name="connsiteX3" fmla="*/ 0 w 2965628"/>
              <a:gd name="connsiteY3" fmla="*/ 336804 h 2027809"/>
              <a:gd name="connsiteX4" fmla="*/ 612775 w 2965628"/>
              <a:gd name="connsiteY4" fmla="*/ 712216 h 2027809"/>
              <a:gd name="connsiteX5" fmla="*/ 2394332 w 2965628"/>
              <a:gd name="connsiteY5" fmla="*/ 1187196 h 2027809"/>
              <a:gd name="connsiteX6" fmla="*/ 2687321 w 2965628"/>
              <a:gd name="connsiteY6" fmla="*/ 1227709 h 2027809"/>
              <a:gd name="connsiteX7" fmla="*/ 2606802 w 2965628"/>
              <a:gd name="connsiteY7" fmla="*/ 2027810 h 2027809"/>
              <a:gd name="connsiteX8" fmla="*/ 2874900 w 2965628"/>
              <a:gd name="connsiteY8" fmla="*/ 2027810 h 2027809"/>
              <a:gd name="connsiteX9" fmla="*/ 2964943 w 2965628"/>
              <a:gd name="connsiteY9" fmla="*/ 1133475 h 2027809"/>
              <a:gd name="connsiteX10" fmla="*/ 2862200 w 2965628"/>
              <a:gd name="connsiteY10" fmla="*/ 990092 h 202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5628" h="2027809">
                <a:moveTo>
                  <a:pt x="2862200" y="990092"/>
                </a:moveTo>
                <a:cubicBezTo>
                  <a:pt x="2742820" y="962533"/>
                  <a:pt x="2596896" y="943991"/>
                  <a:pt x="2427986" y="922655"/>
                </a:cubicBezTo>
                <a:cubicBezTo>
                  <a:pt x="1797939" y="842645"/>
                  <a:pt x="875411" y="725424"/>
                  <a:pt x="0" y="0"/>
                </a:cubicBezTo>
                <a:lnTo>
                  <a:pt x="0" y="336804"/>
                </a:lnTo>
                <a:cubicBezTo>
                  <a:pt x="192630" y="480000"/>
                  <a:pt x="397710" y="605640"/>
                  <a:pt x="612775" y="712216"/>
                </a:cubicBezTo>
                <a:cubicBezTo>
                  <a:pt x="1289558" y="1046988"/>
                  <a:pt x="1928114" y="1128014"/>
                  <a:pt x="2394332" y="1187196"/>
                </a:cubicBezTo>
                <a:cubicBezTo>
                  <a:pt x="2503171" y="1201039"/>
                  <a:pt x="2601977" y="1213485"/>
                  <a:pt x="2687321" y="1227709"/>
                </a:cubicBezTo>
                <a:lnTo>
                  <a:pt x="2606802" y="2027810"/>
                </a:lnTo>
                <a:lnTo>
                  <a:pt x="2874900" y="2027810"/>
                </a:lnTo>
                <a:lnTo>
                  <a:pt x="2964943" y="1133475"/>
                </a:lnTo>
                <a:cubicBezTo>
                  <a:pt x="2971713" y="1066621"/>
                  <a:pt x="2927682" y="1005173"/>
                  <a:pt x="2862200" y="990092"/>
                </a:cubicBezTo>
                <a:close/>
              </a:path>
            </a:pathLst>
          </a:custGeom>
          <a:solidFill>
            <a:schemeClr val="accent1"/>
          </a:solidFill>
          <a:ln w="12700" cap="flat">
            <a:noFill/>
            <a:prstDash val="solid"/>
            <a:miter/>
          </a:ln>
        </p:spPr>
        <p:txBody>
          <a:bodyPr rtlCol="0" anchor="ctr"/>
          <a:lstStyle/>
          <a:p>
            <a:endParaRPr lang="en-GB"/>
          </a:p>
        </p:txBody>
      </p:sp>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2140498"/>
            <a:ext cx="4375151" cy="3274782"/>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
        <p:nvSpPr>
          <p:cNvPr id="12" name="Freeform: Shape 11">
            <a:extLst>
              <a:ext uri="{FF2B5EF4-FFF2-40B4-BE49-F238E27FC236}">
                <a16:creationId xmlns:a16="http://schemas.microsoft.com/office/drawing/2014/main" id="{36075CDD-4EB1-4BFB-AA85-64FE04774B5F}"/>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407860235"/>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Quote Left 2">
    <p:bg>
      <p:bgPr>
        <a:solidFill>
          <a:schemeClr val="accent5"/>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7" name="Quote Icon">
            <a:extLst>
              <a:ext uri="{FF2B5EF4-FFF2-40B4-BE49-F238E27FC236}">
                <a16:creationId xmlns:a16="http://schemas.microsoft.com/office/drawing/2014/main" id="{4AC0413B-EA74-4917-8C17-0F00279AD384}"/>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6" name="Group 15">
            <a:extLst>
              <a:ext uri="{FF2B5EF4-FFF2-40B4-BE49-F238E27FC236}">
                <a16:creationId xmlns:a16="http://schemas.microsoft.com/office/drawing/2014/main" id="{F1F66A29-ED93-4687-9E8C-29DF508B4ECC}"/>
              </a:ext>
            </a:extLst>
          </p:cNvPr>
          <p:cNvGrpSpPr/>
          <p:nvPr userDrawn="1"/>
        </p:nvGrpSpPr>
        <p:grpSpPr>
          <a:xfrm>
            <a:off x="7042973" y="0"/>
            <a:ext cx="2774698" cy="6857999"/>
            <a:chOff x="7042973" y="0"/>
            <a:chExt cx="2774698" cy="6857999"/>
          </a:xfrm>
        </p:grpSpPr>
        <p:sp>
          <p:nvSpPr>
            <p:cNvPr id="15" name="Freeform: Shape 14">
              <a:extLst>
                <a:ext uri="{FF2B5EF4-FFF2-40B4-BE49-F238E27FC236}">
                  <a16:creationId xmlns:a16="http://schemas.microsoft.com/office/drawing/2014/main" id="{CA8CC906-BC20-46AD-BB60-C5A23A3250EF}"/>
                </a:ext>
              </a:extLst>
            </p:cNvPr>
            <p:cNvSpPr/>
            <p:nvPr/>
          </p:nvSpPr>
          <p:spPr>
            <a:xfrm>
              <a:off x="8232873" y="0"/>
              <a:ext cx="1584798" cy="3989070"/>
            </a:xfrm>
            <a:custGeom>
              <a:avLst/>
              <a:gdLst>
                <a:gd name="connsiteX0" fmla="*/ 326927 w 1584798"/>
                <a:gd name="connsiteY0" fmla="*/ 2041525 h 3989070"/>
                <a:gd name="connsiteX1" fmla="*/ 1184177 w 1584798"/>
                <a:gd name="connsiteY1" fmla="*/ 3653536 h 3989070"/>
                <a:gd name="connsiteX2" fmla="*/ 688877 w 1584798"/>
                <a:gd name="connsiteY2" fmla="*/ 3725799 h 3989070"/>
                <a:gd name="connsiteX3" fmla="*/ 589001 w 1584798"/>
                <a:gd name="connsiteY3" fmla="*/ 3885766 h 3989070"/>
                <a:gd name="connsiteX4" fmla="*/ 718976 w 1584798"/>
                <a:gd name="connsiteY4" fmla="*/ 3989070 h 3989070"/>
                <a:gd name="connsiteX5" fmla="*/ 749329 w 1584798"/>
                <a:gd name="connsiteY5" fmla="*/ 3985641 h 3989070"/>
                <a:gd name="connsiteX6" fmla="*/ 1449607 w 1584798"/>
                <a:gd name="connsiteY6" fmla="*/ 3912997 h 3989070"/>
                <a:gd name="connsiteX7" fmla="*/ 1451131 w 1584798"/>
                <a:gd name="connsiteY7" fmla="*/ 3912997 h 3989070"/>
                <a:gd name="connsiteX8" fmla="*/ 1584798 w 1584798"/>
                <a:gd name="connsiteY8" fmla="*/ 3779965 h 3989070"/>
                <a:gd name="connsiteX9" fmla="*/ 1552731 w 1584798"/>
                <a:gd name="connsiteY9" fmla="*/ 3692906 h 3989070"/>
                <a:gd name="connsiteX10" fmla="*/ 574831 w 1584798"/>
                <a:gd name="connsiteY10" fmla="*/ 1942465 h 3989070"/>
                <a:gd name="connsiteX11" fmla="*/ 272063 w 1584798"/>
                <a:gd name="connsiteY11" fmla="*/ 0 h 3989070"/>
                <a:gd name="connsiteX12" fmla="*/ 7903 w 1584798"/>
                <a:gd name="connsiteY12" fmla="*/ 0 h 3989070"/>
                <a:gd name="connsiteX13" fmla="*/ 1553 w 1584798"/>
                <a:gd name="connsiteY13" fmla="*/ 148463 h 3989070"/>
                <a:gd name="connsiteX14" fmla="*/ 326927 w 1584798"/>
                <a:gd name="connsiteY14" fmla="*/ 2041525 h 398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4798" h="3989070">
                  <a:moveTo>
                    <a:pt x="326927" y="2041525"/>
                  </a:moveTo>
                  <a:cubicBezTo>
                    <a:pt x="537001" y="2615810"/>
                    <a:pt x="825483" y="3158285"/>
                    <a:pt x="1184177" y="3653536"/>
                  </a:cubicBezTo>
                  <a:cubicBezTo>
                    <a:pt x="1017388" y="3664129"/>
                    <a:pt x="851740" y="3688296"/>
                    <a:pt x="688877" y="3725799"/>
                  </a:cubicBezTo>
                  <a:cubicBezTo>
                    <a:pt x="617123" y="3742393"/>
                    <a:pt x="572408" y="3814013"/>
                    <a:pt x="589001" y="3885766"/>
                  </a:cubicBezTo>
                  <a:cubicBezTo>
                    <a:pt x="602992" y="3946261"/>
                    <a:pt x="656884" y="3989095"/>
                    <a:pt x="718976" y="3989070"/>
                  </a:cubicBezTo>
                  <a:cubicBezTo>
                    <a:pt x="729189" y="3989052"/>
                    <a:pt x="739369" y="3987902"/>
                    <a:pt x="749329" y="3985641"/>
                  </a:cubicBezTo>
                  <a:cubicBezTo>
                    <a:pt x="979011" y="3933517"/>
                    <a:pt x="1214116" y="3909128"/>
                    <a:pt x="1449607" y="3912997"/>
                  </a:cubicBezTo>
                  <a:lnTo>
                    <a:pt x="1451131" y="3912997"/>
                  </a:lnTo>
                  <a:cubicBezTo>
                    <a:pt x="1524778" y="3913172"/>
                    <a:pt x="1584623" y="3853612"/>
                    <a:pt x="1584798" y="3779965"/>
                  </a:cubicBezTo>
                  <a:cubicBezTo>
                    <a:pt x="1584874" y="3748042"/>
                    <a:pt x="1573496" y="3717152"/>
                    <a:pt x="1552731" y="3692906"/>
                  </a:cubicBezTo>
                  <a:cubicBezTo>
                    <a:pt x="1546762" y="3685921"/>
                    <a:pt x="951640" y="2984246"/>
                    <a:pt x="574831" y="1942465"/>
                  </a:cubicBezTo>
                  <a:cubicBezTo>
                    <a:pt x="333404" y="1273556"/>
                    <a:pt x="232566" y="624713"/>
                    <a:pt x="272063" y="0"/>
                  </a:cubicBezTo>
                  <a:lnTo>
                    <a:pt x="7903" y="0"/>
                  </a:lnTo>
                  <a:cubicBezTo>
                    <a:pt x="4939" y="49445"/>
                    <a:pt x="2822" y="98933"/>
                    <a:pt x="1553" y="148463"/>
                  </a:cubicBezTo>
                  <a:cubicBezTo>
                    <a:pt x="-14576" y="764794"/>
                    <a:pt x="95025" y="1401699"/>
                    <a:pt x="326927" y="2041525"/>
                  </a:cubicBezTo>
                  <a:close/>
                </a:path>
              </a:pathLst>
            </a:custGeom>
            <a:solidFill>
              <a:srgbClr val="FFFFFF"/>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63E154F5-6119-49F9-8212-0598FE4464EE}"/>
                </a:ext>
              </a:extLst>
            </p:cNvPr>
            <p:cNvSpPr/>
            <p:nvPr/>
          </p:nvSpPr>
          <p:spPr>
            <a:xfrm>
              <a:off x="7042973" y="3722299"/>
              <a:ext cx="2042296" cy="3135700"/>
            </a:xfrm>
            <a:custGeom>
              <a:avLst/>
              <a:gdLst>
                <a:gd name="connsiteX0" fmla="*/ 345633 w 2042296"/>
                <a:gd name="connsiteY0" fmla="*/ 1755972 h 3135700"/>
                <a:gd name="connsiteX1" fmla="*/ 1939102 w 2042296"/>
                <a:gd name="connsiteY1" fmla="*/ 263341 h 3135700"/>
                <a:gd name="connsiteX2" fmla="*/ 2038797 w 2042296"/>
                <a:gd name="connsiteY2" fmla="*/ 103194 h 3135700"/>
                <a:gd name="connsiteX3" fmla="*/ 1878650 w 2042296"/>
                <a:gd name="connsiteY3" fmla="*/ 3499 h 3135700"/>
                <a:gd name="connsiteX4" fmla="*/ 699836 w 2042296"/>
                <a:gd name="connsiteY4" fmla="*/ 638499 h 3135700"/>
                <a:gd name="connsiteX5" fmla="*/ 88585 w 2042296"/>
                <a:gd name="connsiteY5" fmla="*/ 1685615 h 3135700"/>
                <a:gd name="connsiteX6" fmla="*/ 137606 w 2042296"/>
                <a:gd name="connsiteY6" fmla="*/ 3135701 h 3135700"/>
                <a:gd name="connsiteX7" fmla="*/ 422849 w 2042296"/>
                <a:gd name="connsiteY7" fmla="*/ 3135701 h 3135700"/>
                <a:gd name="connsiteX8" fmla="*/ 345632 w 2042296"/>
                <a:gd name="connsiteY8" fmla="*/ 1755972 h 31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2296" h="3135700">
                  <a:moveTo>
                    <a:pt x="345633" y="1755972"/>
                  </a:moveTo>
                  <a:cubicBezTo>
                    <a:pt x="555691" y="993972"/>
                    <a:pt x="1136589" y="450285"/>
                    <a:pt x="1939102" y="263341"/>
                  </a:cubicBezTo>
                  <a:cubicBezTo>
                    <a:pt x="2010856" y="246648"/>
                    <a:pt x="2055490" y="174948"/>
                    <a:pt x="2038797" y="103194"/>
                  </a:cubicBezTo>
                  <a:cubicBezTo>
                    <a:pt x="2022103" y="31441"/>
                    <a:pt x="1950403" y="-13194"/>
                    <a:pt x="1878650" y="3499"/>
                  </a:cubicBezTo>
                  <a:cubicBezTo>
                    <a:pt x="1413830" y="111830"/>
                    <a:pt x="1017209" y="325317"/>
                    <a:pt x="699836" y="638499"/>
                  </a:cubicBezTo>
                  <a:cubicBezTo>
                    <a:pt x="407812" y="927915"/>
                    <a:pt x="197014" y="1289025"/>
                    <a:pt x="88585" y="1685615"/>
                  </a:cubicBezTo>
                  <a:cubicBezTo>
                    <a:pt x="-44422" y="2162536"/>
                    <a:pt x="-27305" y="2668851"/>
                    <a:pt x="137606" y="3135701"/>
                  </a:cubicBezTo>
                  <a:lnTo>
                    <a:pt x="422849" y="3135701"/>
                  </a:lnTo>
                  <a:cubicBezTo>
                    <a:pt x="245142" y="2697007"/>
                    <a:pt x="217986" y="2211755"/>
                    <a:pt x="345632" y="1755972"/>
                  </a:cubicBezTo>
                  <a:close/>
                </a:path>
              </a:pathLst>
            </a:custGeom>
            <a:solidFill>
              <a:srgbClr val="005C8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40276013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Quote Statistic Left 2">
    <p:bg>
      <p:bgPr>
        <a:solidFill>
          <a:schemeClr val="accent5"/>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4" name="Quote Icon / Statistic">
            <a:extLst>
              <a:ext uri="{FF2B5EF4-FFF2-40B4-BE49-F238E27FC236}">
                <a16:creationId xmlns:a16="http://schemas.microsoft.com/office/drawing/2014/main" id="{F933B12E-A112-4D42-93D5-2D38F7861927}"/>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tx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5" name="Group 14">
            <a:extLst>
              <a:ext uri="{FF2B5EF4-FFF2-40B4-BE49-F238E27FC236}">
                <a16:creationId xmlns:a16="http://schemas.microsoft.com/office/drawing/2014/main" id="{2F50FD1A-8E23-4EE9-9FA6-0FDE4E1D85ED}"/>
              </a:ext>
            </a:extLst>
          </p:cNvPr>
          <p:cNvGrpSpPr/>
          <p:nvPr userDrawn="1"/>
        </p:nvGrpSpPr>
        <p:grpSpPr>
          <a:xfrm>
            <a:off x="7042973" y="0"/>
            <a:ext cx="2774698" cy="6857999"/>
            <a:chOff x="7042973" y="0"/>
            <a:chExt cx="2774698" cy="6857999"/>
          </a:xfrm>
        </p:grpSpPr>
        <p:sp>
          <p:nvSpPr>
            <p:cNvPr id="16" name="Freeform: Shape 15">
              <a:extLst>
                <a:ext uri="{FF2B5EF4-FFF2-40B4-BE49-F238E27FC236}">
                  <a16:creationId xmlns:a16="http://schemas.microsoft.com/office/drawing/2014/main" id="{4E6D31F4-C91C-43CC-85F5-A530E3101F3A}"/>
                </a:ext>
              </a:extLst>
            </p:cNvPr>
            <p:cNvSpPr/>
            <p:nvPr/>
          </p:nvSpPr>
          <p:spPr>
            <a:xfrm>
              <a:off x="8232873" y="0"/>
              <a:ext cx="1584798" cy="3989070"/>
            </a:xfrm>
            <a:custGeom>
              <a:avLst/>
              <a:gdLst>
                <a:gd name="connsiteX0" fmla="*/ 326927 w 1584798"/>
                <a:gd name="connsiteY0" fmla="*/ 2041525 h 3989070"/>
                <a:gd name="connsiteX1" fmla="*/ 1184177 w 1584798"/>
                <a:gd name="connsiteY1" fmla="*/ 3653536 h 3989070"/>
                <a:gd name="connsiteX2" fmla="*/ 688877 w 1584798"/>
                <a:gd name="connsiteY2" fmla="*/ 3725799 h 3989070"/>
                <a:gd name="connsiteX3" fmla="*/ 589001 w 1584798"/>
                <a:gd name="connsiteY3" fmla="*/ 3885766 h 3989070"/>
                <a:gd name="connsiteX4" fmla="*/ 718976 w 1584798"/>
                <a:gd name="connsiteY4" fmla="*/ 3989070 h 3989070"/>
                <a:gd name="connsiteX5" fmla="*/ 749329 w 1584798"/>
                <a:gd name="connsiteY5" fmla="*/ 3985641 h 3989070"/>
                <a:gd name="connsiteX6" fmla="*/ 1449607 w 1584798"/>
                <a:gd name="connsiteY6" fmla="*/ 3912997 h 3989070"/>
                <a:gd name="connsiteX7" fmla="*/ 1451131 w 1584798"/>
                <a:gd name="connsiteY7" fmla="*/ 3912997 h 3989070"/>
                <a:gd name="connsiteX8" fmla="*/ 1584798 w 1584798"/>
                <a:gd name="connsiteY8" fmla="*/ 3779965 h 3989070"/>
                <a:gd name="connsiteX9" fmla="*/ 1552731 w 1584798"/>
                <a:gd name="connsiteY9" fmla="*/ 3692906 h 3989070"/>
                <a:gd name="connsiteX10" fmla="*/ 574831 w 1584798"/>
                <a:gd name="connsiteY10" fmla="*/ 1942465 h 3989070"/>
                <a:gd name="connsiteX11" fmla="*/ 272063 w 1584798"/>
                <a:gd name="connsiteY11" fmla="*/ 0 h 3989070"/>
                <a:gd name="connsiteX12" fmla="*/ 7903 w 1584798"/>
                <a:gd name="connsiteY12" fmla="*/ 0 h 3989070"/>
                <a:gd name="connsiteX13" fmla="*/ 1553 w 1584798"/>
                <a:gd name="connsiteY13" fmla="*/ 148463 h 3989070"/>
                <a:gd name="connsiteX14" fmla="*/ 326927 w 1584798"/>
                <a:gd name="connsiteY14" fmla="*/ 2041525 h 398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4798" h="3989070">
                  <a:moveTo>
                    <a:pt x="326927" y="2041525"/>
                  </a:moveTo>
                  <a:cubicBezTo>
                    <a:pt x="537001" y="2615810"/>
                    <a:pt x="825483" y="3158285"/>
                    <a:pt x="1184177" y="3653536"/>
                  </a:cubicBezTo>
                  <a:cubicBezTo>
                    <a:pt x="1017388" y="3664129"/>
                    <a:pt x="851740" y="3688296"/>
                    <a:pt x="688877" y="3725799"/>
                  </a:cubicBezTo>
                  <a:cubicBezTo>
                    <a:pt x="617123" y="3742393"/>
                    <a:pt x="572408" y="3814013"/>
                    <a:pt x="589001" y="3885766"/>
                  </a:cubicBezTo>
                  <a:cubicBezTo>
                    <a:pt x="602992" y="3946261"/>
                    <a:pt x="656884" y="3989095"/>
                    <a:pt x="718976" y="3989070"/>
                  </a:cubicBezTo>
                  <a:cubicBezTo>
                    <a:pt x="729189" y="3989052"/>
                    <a:pt x="739369" y="3987902"/>
                    <a:pt x="749329" y="3985641"/>
                  </a:cubicBezTo>
                  <a:cubicBezTo>
                    <a:pt x="979011" y="3933517"/>
                    <a:pt x="1214116" y="3909128"/>
                    <a:pt x="1449607" y="3912997"/>
                  </a:cubicBezTo>
                  <a:lnTo>
                    <a:pt x="1451131" y="3912997"/>
                  </a:lnTo>
                  <a:cubicBezTo>
                    <a:pt x="1524778" y="3913172"/>
                    <a:pt x="1584623" y="3853612"/>
                    <a:pt x="1584798" y="3779965"/>
                  </a:cubicBezTo>
                  <a:cubicBezTo>
                    <a:pt x="1584874" y="3748042"/>
                    <a:pt x="1573496" y="3717152"/>
                    <a:pt x="1552731" y="3692906"/>
                  </a:cubicBezTo>
                  <a:cubicBezTo>
                    <a:pt x="1546762" y="3685921"/>
                    <a:pt x="951640" y="2984246"/>
                    <a:pt x="574831" y="1942465"/>
                  </a:cubicBezTo>
                  <a:cubicBezTo>
                    <a:pt x="333404" y="1273556"/>
                    <a:pt x="232566" y="624713"/>
                    <a:pt x="272063" y="0"/>
                  </a:cubicBezTo>
                  <a:lnTo>
                    <a:pt x="7903" y="0"/>
                  </a:lnTo>
                  <a:cubicBezTo>
                    <a:pt x="4939" y="49445"/>
                    <a:pt x="2822" y="98933"/>
                    <a:pt x="1553" y="148463"/>
                  </a:cubicBezTo>
                  <a:cubicBezTo>
                    <a:pt x="-14576" y="764794"/>
                    <a:pt x="95025" y="1401699"/>
                    <a:pt x="326927" y="2041525"/>
                  </a:cubicBezTo>
                  <a:close/>
                </a:path>
              </a:pathLst>
            </a:custGeom>
            <a:solidFill>
              <a:srgbClr val="FFFFFF"/>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C4F38E0F-7CD5-4BBA-95D9-8369C9118A80}"/>
                </a:ext>
              </a:extLst>
            </p:cNvPr>
            <p:cNvSpPr/>
            <p:nvPr/>
          </p:nvSpPr>
          <p:spPr>
            <a:xfrm>
              <a:off x="7042973" y="3722299"/>
              <a:ext cx="2042296" cy="3135700"/>
            </a:xfrm>
            <a:custGeom>
              <a:avLst/>
              <a:gdLst>
                <a:gd name="connsiteX0" fmla="*/ 345633 w 2042296"/>
                <a:gd name="connsiteY0" fmla="*/ 1755972 h 3135700"/>
                <a:gd name="connsiteX1" fmla="*/ 1939102 w 2042296"/>
                <a:gd name="connsiteY1" fmla="*/ 263341 h 3135700"/>
                <a:gd name="connsiteX2" fmla="*/ 2038797 w 2042296"/>
                <a:gd name="connsiteY2" fmla="*/ 103194 h 3135700"/>
                <a:gd name="connsiteX3" fmla="*/ 1878650 w 2042296"/>
                <a:gd name="connsiteY3" fmla="*/ 3499 h 3135700"/>
                <a:gd name="connsiteX4" fmla="*/ 699836 w 2042296"/>
                <a:gd name="connsiteY4" fmla="*/ 638499 h 3135700"/>
                <a:gd name="connsiteX5" fmla="*/ 88585 w 2042296"/>
                <a:gd name="connsiteY5" fmla="*/ 1685615 h 3135700"/>
                <a:gd name="connsiteX6" fmla="*/ 137606 w 2042296"/>
                <a:gd name="connsiteY6" fmla="*/ 3135701 h 3135700"/>
                <a:gd name="connsiteX7" fmla="*/ 422849 w 2042296"/>
                <a:gd name="connsiteY7" fmla="*/ 3135701 h 3135700"/>
                <a:gd name="connsiteX8" fmla="*/ 345632 w 2042296"/>
                <a:gd name="connsiteY8" fmla="*/ 1755972 h 31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2296" h="3135700">
                  <a:moveTo>
                    <a:pt x="345633" y="1755972"/>
                  </a:moveTo>
                  <a:cubicBezTo>
                    <a:pt x="555691" y="993972"/>
                    <a:pt x="1136589" y="450285"/>
                    <a:pt x="1939102" y="263341"/>
                  </a:cubicBezTo>
                  <a:cubicBezTo>
                    <a:pt x="2010856" y="246648"/>
                    <a:pt x="2055490" y="174948"/>
                    <a:pt x="2038797" y="103194"/>
                  </a:cubicBezTo>
                  <a:cubicBezTo>
                    <a:pt x="2022103" y="31441"/>
                    <a:pt x="1950403" y="-13194"/>
                    <a:pt x="1878650" y="3499"/>
                  </a:cubicBezTo>
                  <a:cubicBezTo>
                    <a:pt x="1413830" y="111830"/>
                    <a:pt x="1017209" y="325317"/>
                    <a:pt x="699836" y="638499"/>
                  </a:cubicBezTo>
                  <a:cubicBezTo>
                    <a:pt x="407812" y="927915"/>
                    <a:pt x="197014" y="1289025"/>
                    <a:pt x="88585" y="1685615"/>
                  </a:cubicBezTo>
                  <a:cubicBezTo>
                    <a:pt x="-44422" y="2162536"/>
                    <a:pt x="-27305" y="2668851"/>
                    <a:pt x="137606" y="3135701"/>
                  </a:cubicBezTo>
                  <a:lnTo>
                    <a:pt x="422849" y="3135701"/>
                  </a:lnTo>
                  <a:cubicBezTo>
                    <a:pt x="245142" y="2697007"/>
                    <a:pt x="217986" y="2211755"/>
                    <a:pt x="345632" y="1755972"/>
                  </a:cubicBezTo>
                  <a:close/>
                </a:path>
              </a:pathLst>
            </a:custGeom>
            <a:solidFill>
              <a:srgbClr val="005C8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58535462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Quote Left 3">
    <p:bg>
      <p:bgPr>
        <a:solidFill>
          <a:schemeClr val="accent6"/>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8" name="Quote Icon">
            <a:extLst>
              <a:ext uri="{FF2B5EF4-FFF2-40B4-BE49-F238E27FC236}">
                <a16:creationId xmlns:a16="http://schemas.microsoft.com/office/drawing/2014/main" id="{ED1ABE6B-EC7D-43C9-97DF-9A881CF6739C}"/>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7" name="Group 16">
            <a:extLst>
              <a:ext uri="{FF2B5EF4-FFF2-40B4-BE49-F238E27FC236}">
                <a16:creationId xmlns:a16="http://schemas.microsoft.com/office/drawing/2014/main" id="{29BB6CF9-9291-4113-A7AC-4C75F2D6CF55}"/>
              </a:ext>
            </a:extLst>
          </p:cNvPr>
          <p:cNvGrpSpPr/>
          <p:nvPr userDrawn="1"/>
        </p:nvGrpSpPr>
        <p:grpSpPr>
          <a:xfrm>
            <a:off x="7547448" y="0"/>
            <a:ext cx="4612546" cy="6857999"/>
            <a:chOff x="7547448" y="0"/>
            <a:chExt cx="4612546" cy="6857999"/>
          </a:xfrm>
        </p:grpSpPr>
        <p:sp>
          <p:nvSpPr>
            <p:cNvPr id="19" name="Freeform: Shape 18">
              <a:extLst>
                <a:ext uri="{FF2B5EF4-FFF2-40B4-BE49-F238E27FC236}">
                  <a16:creationId xmlns:a16="http://schemas.microsoft.com/office/drawing/2014/main" id="{4DB04BF7-DF39-4EBE-9D44-70C135CBB8DA}"/>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rgbClr val="005C82"/>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5BFFD33-2B54-4619-9C49-49884BA7763F}"/>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235737705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Quote Statistic Left 3">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1" name="Quote Icon / Statistic">
            <a:extLst>
              <a:ext uri="{FF2B5EF4-FFF2-40B4-BE49-F238E27FC236}">
                <a16:creationId xmlns:a16="http://schemas.microsoft.com/office/drawing/2014/main" id="{BA592EBC-D3FD-4F62-A485-627134BEB78E}"/>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2" name="Group 11">
            <a:extLst>
              <a:ext uri="{FF2B5EF4-FFF2-40B4-BE49-F238E27FC236}">
                <a16:creationId xmlns:a16="http://schemas.microsoft.com/office/drawing/2014/main" id="{B48C54C2-4F86-454E-82F5-80FF402FD3C9}"/>
              </a:ext>
            </a:extLst>
          </p:cNvPr>
          <p:cNvGrpSpPr/>
          <p:nvPr userDrawn="1"/>
        </p:nvGrpSpPr>
        <p:grpSpPr>
          <a:xfrm>
            <a:off x="7547448" y="0"/>
            <a:ext cx="4612546" cy="6857999"/>
            <a:chOff x="7547448" y="0"/>
            <a:chExt cx="4612546" cy="6857999"/>
          </a:xfrm>
        </p:grpSpPr>
        <p:sp>
          <p:nvSpPr>
            <p:cNvPr id="13" name="Freeform: Shape 12">
              <a:extLst>
                <a:ext uri="{FF2B5EF4-FFF2-40B4-BE49-F238E27FC236}">
                  <a16:creationId xmlns:a16="http://schemas.microsoft.com/office/drawing/2014/main" id="{DE469C0B-9D89-40AC-92A1-CE734F755744}"/>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rgbClr val="005C82"/>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2C34488E-32D2-4934-A141-CD80F55CEE6E}"/>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85355242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ccolades">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BE949CFC-1E62-4DFE-9903-0273E5EB21CA}"/>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5"/>
          </a:solidFill>
          <a:ln w="12700" cap="flat">
            <a:noFill/>
            <a:prstDash val="solid"/>
            <a:miter/>
          </a:ln>
        </p:spPr>
        <p:txBody>
          <a:bodyPr rtlCol="0" anchor="ctr"/>
          <a:lstStyle/>
          <a:p>
            <a:endParaRPr lang="en-GB"/>
          </a:p>
        </p:txBody>
      </p:sp>
      <p:sp>
        <p:nvSpPr>
          <p:cNvPr id="30" name="Text Placeholder 2">
            <a:extLst>
              <a:ext uri="{FF2B5EF4-FFF2-40B4-BE49-F238E27FC236}">
                <a16:creationId xmlns:a16="http://schemas.microsoft.com/office/drawing/2014/main" id="{E2A2A036-A8C1-4410-8C99-D7E221447D29}"/>
              </a:ext>
            </a:extLst>
          </p:cNvPr>
          <p:cNvSpPr>
            <a:spLocks noGrp="1"/>
          </p:cNvSpPr>
          <p:nvPr>
            <p:ph type="body" sz="quarter" idx="14"/>
          </p:nvPr>
        </p:nvSpPr>
        <p:spPr>
          <a:xfrm>
            <a:off x="8008939" y="3138500"/>
            <a:ext cx="3463924" cy="1394780"/>
          </a:xfrm>
          <a:solidFill>
            <a:schemeClr val="accent1"/>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840912" cy="720000"/>
          </a:xfrm>
        </p:spPr>
        <p:txBody>
          <a:bodyPr/>
          <a:lstStyle/>
          <a:p>
            <a:pPr lvl="0"/>
            <a:r>
              <a:rPr lang="en-US"/>
              <a:t>Click to edit Master title style</a:t>
            </a:r>
            <a:endParaRPr lang="en-GB" dirty="0"/>
          </a:p>
        </p:txBody>
      </p:sp>
      <p:sp>
        <p:nvSpPr>
          <p:cNvPr id="3" name="Text Placeholder 2">
            <a:extLst>
              <a:ext uri="{FF2B5EF4-FFF2-40B4-BE49-F238E27FC236}">
                <a16:creationId xmlns:a16="http://schemas.microsoft.com/office/drawing/2014/main" id="{3E4CD5E2-EBB2-4FA3-A395-9363F30B1E9D}"/>
              </a:ext>
            </a:extLst>
          </p:cNvPr>
          <p:cNvSpPr>
            <a:spLocks noGrp="1"/>
          </p:cNvSpPr>
          <p:nvPr userDrawn="1">
            <p:ph type="body" sz="quarter" idx="12"/>
          </p:nvPr>
        </p:nvSpPr>
        <p:spPr>
          <a:xfrm>
            <a:off x="719113" y="3138499"/>
            <a:ext cx="2552724" cy="2998776"/>
          </a:xfrm>
          <a:solidFill>
            <a:schemeClr val="tx2"/>
          </a:solidFill>
        </p:spPr>
        <p:txBody>
          <a:bodyPr lIns="108000" tIns="72000" rIns="108000" bIns="720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spcBef>
                <a:spcPts val="600"/>
              </a:spcBef>
              <a:spcAft>
                <a:spcPts val="6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9" name="Text Placeholder 2">
            <a:extLst>
              <a:ext uri="{FF2B5EF4-FFF2-40B4-BE49-F238E27FC236}">
                <a16:creationId xmlns:a16="http://schemas.microsoft.com/office/drawing/2014/main" id="{6D941C59-34BD-41A3-AF7D-C23C0260892E}"/>
              </a:ext>
            </a:extLst>
          </p:cNvPr>
          <p:cNvSpPr>
            <a:spLocks noGrp="1"/>
          </p:cNvSpPr>
          <p:nvPr>
            <p:ph type="body" sz="quarter" idx="13"/>
          </p:nvPr>
        </p:nvSpPr>
        <p:spPr>
          <a:xfrm>
            <a:off x="3452813" y="3138499"/>
            <a:ext cx="4375150" cy="2998776"/>
          </a:xfrm>
          <a:solidFill>
            <a:schemeClr val="accent2"/>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Picture Placeholder 8">
            <a:extLst>
              <a:ext uri="{FF2B5EF4-FFF2-40B4-BE49-F238E27FC236}">
                <a16:creationId xmlns:a16="http://schemas.microsoft.com/office/drawing/2014/main" id="{55C70207-70D8-41B5-841A-D7F3BD5D4EDD}"/>
              </a:ext>
            </a:extLst>
          </p:cNvPr>
          <p:cNvSpPr>
            <a:spLocks noGrp="1"/>
          </p:cNvSpPr>
          <p:nvPr>
            <p:ph type="pic" sz="quarter" idx="16"/>
          </p:nvPr>
        </p:nvSpPr>
        <p:spPr>
          <a:xfrm>
            <a:off x="719138" y="1565275"/>
            <a:ext cx="1641475" cy="1393224"/>
          </a:xfrm>
        </p:spPr>
        <p:txBody>
          <a:bodyPr/>
          <a:lstStyle/>
          <a:p>
            <a:r>
              <a:rPr lang="en-US"/>
              <a:t>Click icon to add picture</a:t>
            </a:r>
            <a:endParaRPr lang="en-GB" dirty="0"/>
          </a:p>
        </p:txBody>
      </p:sp>
      <p:sp>
        <p:nvSpPr>
          <p:cNvPr id="33" name="Picture Placeholder 8">
            <a:extLst>
              <a:ext uri="{FF2B5EF4-FFF2-40B4-BE49-F238E27FC236}">
                <a16:creationId xmlns:a16="http://schemas.microsoft.com/office/drawing/2014/main" id="{52707F8D-3492-47D7-AF94-97ADA4F892BB}"/>
              </a:ext>
            </a:extLst>
          </p:cNvPr>
          <p:cNvSpPr>
            <a:spLocks noGrp="1"/>
          </p:cNvSpPr>
          <p:nvPr>
            <p:ph type="pic" sz="quarter" idx="17"/>
          </p:nvPr>
        </p:nvSpPr>
        <p:spPr>
          <a:xfrm>
            <a:off x="3452813" y="1565275"/>
            <a:ext cx="1641475" cy="1393224"/>
          </a:xfrm>
        </p:spPr>
        <p:txBody>
          <a:bodyPr/>
          <a:lstStyle/>
          <a:p>
            <a:r>
              <a:rPr lang="en-US"/>
              <a:t>Click icon to add picture</a:t>
            </a:r>
            <a:endParaRPr lang="en-GB" dirty="0"/>
          </a:p>
        </p:txBody>
      </p:sp>
      <p:sp>
        <p:nvSpPr>
          <p:cNvPr id="34" name="Picture Placeholder 8">
            <a:extLst>
              <a:ext uri="{FF2B5EF4-FFF2-40B4-BE49-F238E27FC236}">
                <a16:creationId xmlns:a16="http://schemas.microsoft.com/office/drawing/2014/main" id="{BD8F2EF5-333B-4333-A8B8-E1FC40862BB1}"/>
              </a:ext>
            </a:extLst>
          </p:cNvPr>
          <p:cNvSpPr>
            <a:spLocks noGrp="1"/>
          </p:cNvSpPr>
          <p:nvPr>
            <p:ph type="pic" sz="quarter" idx="18"/>
          </p:nvPr>
        </p:nvSpPr>
        <p:spPr>
          <a:xfrm>
            <a:off x="8008939" y="1565275"/>
            <a:ext cx="1641475" cy="1393224"/>
          </a:xfrm>
        </p:spPr>
        <p:txBody>
          <a:bodyPr/>
          <a:lstStyle/>
          <a:p>
            <a:r>
              <a:rPr lang="en-US"/>
              <a:t>Click icon to add picture</a:t>
            </a:r>
            <a:endParaRPr lang="en-GB" dirty="0"/>
          </a:p>
        </p:txBody>
      </p:sp>
      <p:sp>
        <p:nvSpPr>
          <p:cNvPr id="35" name="Text Placeholder 2">
            <a:extLst>
              <a:ext uri="{FF2B5EF4-FFF2-40B4-BE49-F238E27FC236}">
                <a16:creationId xmlns:a16="http://schemas.microsoft.com/office/drawing/2014/main" id="{4621DBA4-C41D-4040-B6F9-D89D8DCF338F}"/>
              </a:ext>
            </a:extLst>
          </p:cNvPr>
          <p:cNvSpPr>
            <a:spLocks noGrp="1"/>
          </p:cNvSpPr>
          <p:nvPr>
            <p:ph type="body" sz="quarter" idx="19"/>
          </p:nvPr>
        </p:nvSpPr>
        <p:spPr>
          <a:xfrm>
            <a:off x="8008939" y="4742495"/>
            <a:ext cx="3463924" cy="1394780"/>
          </a:xfrm>
          <a:solidFill>
            <a:schemeClr val="accent1"/>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430554792"/>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5"/>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65489D85-D0F9-4009-B631-1A6B5A0B087B}"/>
              </a:ext>
            </a:extLst>
          </p:cNvPr>
          <p:cNvGrpSpPr/>
          <p:nvPr userDrawn="1"/>
        </p:nvGrpSpPr>
        <p:grpSpPr>
          <a:xfrm>
            <a:off x="4244705" y="1244483"/>
            <a:ext cx="7948563" cy="5612872"/>
            <a:chOff x="4244705" y="1244483"/>
            <a:chExt cx="7948563" cy="5612872"/>
          </a:xfrm>
        </p:grpSpPr>
        <p:sp>
          <p:nvSpPr>
            <p:cNvPr id="10" name="Freeform: Shape 9">
              <a:extLst>
                <a:ext uri="{FF2B5EF4-FFF2-40B4-BE49-F238E27FC236}">
                  <a16:creationId xmlns:a16="http://schemas.microsoft.com/office/drawing/2014/main" id="{62BD671C-1B9C-4960-A042-4A14DEB69BFA}"/>
                </a:ext>
              </a:extLst>
            </p:cNvPr>
            <p:cNvSpPr/>
            <p:nvPr/>
          </p:nvSpPr>
          <p:spPr>
            <a:xfrm>
              <a:off x="10117025" y="1244483"/>
              <a:ext cx="2076243" cy="1114055"/>
            </a:xfrm>
            <a:custGeom>
              <a:avLst/>
              <a:gdLst>
                <a:gd name="connsiteX0" fmla="*/ 51038 w 2076243"/>
                <a:gd name="connsiteY0" fmla="*/ 875456 h 1114055"/>
                <a:gd name="connsiteX1" fmla="*/ 28561 w 2076243"/>
                <a:gd name="connsiteY1" fmla="*/ 1063017 h 1114055"/>
                <a:gd name="connsiteX2" fmla="*/ 216123 w 2076243"/>
                <a:gd name="connsiteY2" fmla="*/ 1085494 h 1114055"/>
                <a:gd name="connsiteX3" fmla="*/ 1916366 w 2076243"/>
                <a:gd name="connsiteY3" fmla="*/ 302359 h 1114055"/>
                <a:gd name="connsiteX4" fmla="*/ 2076244 w 2076243"/>
                <a:gd name="connsiteY4" fmla="*/ 270993 h 1114055"/>
                <a:gd name="connsiteX5" fmla="*/ 2076244 w 2076243"/>
                <a:gd name="connsiteY5" fmla="*/ 0 h 1114055"/>
                <a:gd name="connsiteX6" fmla="*/ 1860364 w 2076243"/>
                <a:gd name="connsiteY6" fmla="*/ 41525 h 1114055"/>
                <a:gd name="connsiteX7" fmla="*/ 51038 w 2076243"/>
                <a:gd name="connsiteY7" fmla="*/ 875456 h 1114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243" h="1114055">
                  <a:moveTo>
                    <a:pt x="51038" y="875456"/>
                  </a:moveTo>
                  <a:cubicBezTo>
                    <a:pt x="-6962" y="921043"/>
                    <a:pt x="-17026" y="1005017"/>
                    <a:pt x="28561" y="1063017"/>
                  </a:cubicBezTo>
                  <a:cubicBezTo>
                    <a:pt x="74148" y="1121018"/>
                    <a:pt x="158122" y="1131081"/>
                    <a:pt x="216123" y="1085494"/>
                  </a:cubicBezTo>
                  <a:cubicBezTo>
                    <a:pt x="705789" y="701990"/>
                    <a:pt x="1277870" y="438490"/>
                    <a:pt x="1916366" y="302359"/>
                  </a:cubicBezTo>
                  <a:cubicBezTo>
                    <a:pt x="1969828" y="290930"/>
                    <a:pt x="2023036" y="280644"/>
                    <a:pt x="2076244" y="270993"/>
                  </a:cubicBezTo>
                  <a:lnTo>
                    <a:pt x="2076244" y="0"/>
                  </a:lnTo>
                  <a:cubicBezTo>
                    <a:pt x="2004538" y="12445"/>
                    <a:pt x="1932579" y="26287"/>
                    <a:pt x="1860364" y="41525"/>
                  </a:cubicBezTo>
                  <a:cubicBezTo>
                    <a:pt x="1181614" y="186291"/>
                    <a:pt x="572959" y="466935"/>
                    <a:pt x="51038" y="875456"/>
                  </a:cubicBezTo>
                  <a:close/>
                </a:path>
              </a:pathLst>
            </a:custGeom>
            <a:solidFill>
              <a:srgbClr val="FFFFFF"/>
            </a:solidFill>
            <a:ln w="1269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71775B54-885A-4778-A047-973BA88B55AB}"/>
                </a:ext>
              </a:extLst>
            </p:cNvPr>
            <p:cNvSpPr/>
            <p:nvPr/>
          </p:nvSpPr>
          <p:spPr>
            <a:xfrm>
              <a:off x="4244705" y="2099323"/>
              <a:ext cx="6124043" cy="4758032"/>
            </a:xfrm>
            <a:custGeom>
              <a:avLst/>
              <a:gdLst>
                <a:gd name="connsiteX0" fmla="*/ 1597891 w 6124043"/>
                <a:gd name="connsiteY0" fmla="*/ 3022105 h 4758032"/>
                <a:gd name="connsiteX1" fmla="*/ 3999490 w 6124043"/>
                <a:gd name="connsiteY1" fmla="*/ 3712667 h 4758032"/>
                <a:gd name="connsiteX2" fmla="*/ 4187860 w 6124043"/>
                <a:gd name="connsiteY2" fmla="*/ 3721286 h 4758032"/>
                <a:gd name="connsiteX3" fmla="*/ 4230481 w 6124043"/>
                <a:gd name="connsiteY3" fmla="*/ 3637744 h 4758032"/>
                <a:gd name="connsiteX4" fmla="*/ 4554301 w 6124043"/>
                <a:gd name="connsiteY4" fmla="*/ 2404308 h 4758032"/>
                <a:gd name="connsiteX5" fmla="*/ 6073205 w 6124043"/>
                <a:gd name="connsiteY5" fmla="*/ 238146 h 4758032"/>
                <a:gd name="connsiteX6" fmla="*/ 6095428 w 6124043"/>
                <a:gd name="connsiteY6" fmla="*/ 50839 h 4758032"/>
                <a:gd name="connsiteX7" fmla="*/ 5908120 w 6124043"/>
                <a:gd name="connsiteY7" fmla="*/ 28616 h 4758032"/>
                <a:gd name="connsiteX8" fmla="*/ 4301975 w 6124043"/>
                <a:gd name="connsiteY8" fmla="*/ 2317449 h 4758032"/>
                <a:gd name="connsiteX9" fmla="*/ 4008633 w 6124043"/>
                <a:gd name="connsiteY9" fmla="*/ 3342624 h 4758032"/>
                <a:gd name="connsiteX10" fmla="*/ 2847708 w 6124043"/>
                <a:gd name="connsiteY10" fmla="*/ 2691174 h 4758032"/>
                <a:gd name="connsiteX11" fmla="*/ 1503412 w 6124043"/>
                <a:gd name="connsiteY11" fmla="*/ 2772574 h 4758032"/>
                <a:gd name="connsiteX12" fmla="*/ 436712 w 6124043"/>
                <a:gd name="connsiteY12" fmla="*/ 3580726 h 4758032"/>
                <a:gd name="connsiteX13" fmla="*/ 0 w 6124043"/>
                <a:gd name="connsiteY13" fmla="*/ 4758033 h 4758032"/>
                <a:gd name="connsiteX14" fmla="*/ 267437 w 6124043"/>
                <a:gd name="connsiteY14" fmla="*/ 4758033 h 4758032"/>
                <a:gd name="connsiteX15" fmla="*/ 1597891 w 6124043"/>
                <a:gd name="connsiteY15" fmla="*/ 3022105 h 475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24043" h="4758032">
                  <a:moveTo>
                    <a:pt x="1597891" y="3022105"/>
                  </a:moveTo>
                  <a:cubicBezTo>
                    <a:pt x="2434489" y="2705905"/>
                    <a:pt x="3309945" y="2957596"/>
                    <a:pt x="3999490" y="3712667"/>
                  </a:cubicBezTo>
                  <a:cubicBezTo>
                    <a:pt x="4049127" y="3767064"/>
                    <a:pt x="4133463" y="3770923"/>
                    <a:pt x="4187860" y="3721286"/>
                  </a:cubicBezTo>
                  <a:cubicBezTo>
                    <a:pt x="4211716" y="3699519"/>
                    <a:pt x="4226860" y="3669833"/>
                    <a:pt x="4230481" y="3637744"/>
                  </a:cubicBezTo>
                  <a:cubicBezTo>
                    <a:pt x="4231116" y="3632410"/>
                    <a:pt x="4293975" y="3091695"/>
                    <a:pt x="4554301" y="2404308"/>
                  </a:cubicBezTo>
                  <a:cubicBezTo>
                    <a:pt x="4792276" y="1774447"/>
                    <a:pt x="5249053" y="887309"/>
                    <a:pt x="6073205" y="238146"/>
                  </a:cubicBezTo>
                  <a:cubicBezTo>
                    <a:pt x="6131065" y="192559"/>
                    <a:pt x="6141014" y="108699"/>
                    <a:pt x="6095428" y="50839"/>
                  </a:cubicBezTo>
                  <a:cubicBezTo>
                    <a:pt x="6049841" y="-7022"/>
                    <a:pt x="5965980" y="-16971"/>
                    <a:pt x="5908120" y="28616"/>
                  </a:cubicBezTo>
                  <a:cubicBezTo>
                    <a:pt x="5033300" y="717653"/>
                    <a:pt x="4551888" y="1654063"/>
                    <a:pt x="4301975" y="2317449"/>
                  </a:cubicBezTo>
                  <a:cubicBezTo>
                    <a:pt x="4176116" y="2650508"/>
                    <a:pt x="4078001" y="2993400"/>
                    <a:pt x="4008633" y="3342624"/>
                  </a:cubicBezTo>
                  <a:cubicBezTo>
                    <a:pt x="3657638" y="3013725"/>
                    <a:pt x="3268039" y="2794924"/>
                    <a:pt x="2847708" y="2691174"/>
                  </a:cubicBezTo>
                  <a:cubicBezTo>
                    <a:pt x="2401767" y="2580866"/>
                    <a:pt x="1932784" y="2609264"/>
                    <a:pt x="1503412" y="2772574"/>
                  </a:cubicBezTo>
                  <a:cubicBezTo>
                    <a:pt x="1077314" y="2933386"/>
                    <a:pt x="706849" y="3214057"/>
                    <a:pt x="436712" y="3580726"/>
                  </a:cubicBezTo>
                  <a:cubicBezTo>
                    <a:pt x="181480" y="3923286"/>
                    <a:pt x="29911" y="4331892"/>
                    <a:pt x="0" y="4758033"/>
                  </a:cubicBezTo>
                  <a:lnTo>
                    <a:pt x="267437" y="4758033"/>
                  </a:lnTo>
                  <a:cubicBezTo>
                    <a:pt x="328010" y="3992421"/>
                    <a:pt x="850821" y="3304400"/>
                    <a:pt x="1597891" y="3022105"/>
                  </a:cubicBezTo>
                  <a:close/>
                </a:path>
              </a:pathLst>
            </a:custGeom>
            <a:solidFill>
              <a:srgbClr val="005C82"/>
            </a:solidFill>
            <a:ln w="12690" cap="flat">
              <a:noFill/>
              <a:prstDash val="solid"/>
              <a:miter/>
            </a:ln>
          </p:spPr>
          <p:txBody>
            <a:bodyPr rtlCol="0" anchor="ctr"/>
            <a:lstStyle/>
            <a:p>
              <a:endParaRPr lang="en-GB"/>
            </a:p>
          </p:txBody>
        </p:sp>
      </p:grpSp>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9138" y="719138"/>
            <a:ext cx="1822450" cy="321910"/>
          </a:xfrm>
          <a:prstGeom prst="rect">
            <a:avLst/>
          </a:prstGeom>
        </p:spPr>
      </p:pic>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7817089" y="719138"/>
            <a:ext cx="4376737" cy="5418137"/>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48859677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58921" y="5825325"/>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2541588" y="3028139"/>
            <a:ext cx="1660897"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2541588" y="2344139"/>
            <a:ext cx="6197600" cy="50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2541588" y="719138"/>
            <a:ext cx="8018462" cy="1444979"/>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grpSp>
        <p:nvGrpSpPr>
          <p:cNvPr id="40" name="Group 39">
            <a:extLst>
              <a:ext uri="{FF2B5EF4-FFF2-40B4-BE49-F238E27FC236}">
                <a16:creationId xmlns:a16="http://schemas.microsoft.com/office/drawing/2014/main" id="{EDF663FA-9A4B-4327-BA90-F0E24E7DEF24}"/>
              </a:ext>
            </a:extLst>
          </p:cNvPr>
          <p:cNvGrpSpPr/>
          <p:nvPr userDrawn="1"/>
        </p:nvGrpSpPr>
        <p:grpSpPr>
          <a:xfrm>
            <a:off x="454409" y="2997467"/>
            <a:ext cx="11748559" cy="3159175"/>
            <a:chOff x="454409" y="2997467"/>
            <a:chExt cx="11748559" cy="3159175"/>
          </a:xfrm>
        </p:grpSpPr>
        <p:sp>
          <p:nvSpPr>
            <p:cNvPr id="41" name="Freeform: Shape 40">
              <a:extLst>
                <a:ext uri="{FF2B5EF4-FFF2-40B4-BE49-F238E27FC236}">
                  <a16:creationId xmlns:a16="http://schemas.microsoft.com/office/drawing/2014/main" id="{CFBF558B-3C16-43E7-870C-049168C25D2B}"/>
                </a:ext>
              </a:extLst>
            </p:cNvPr>
            <p:cNvSpPr/>
            <p:nvPr userDrawn="1"/>
          </p:nvSpPr>
          <p:spPr>
            <a:xfrm>
              <a:off x="2917671" y="3567419"/>
              <a:ext cx="9285297" cy="1230491"/>
            </a:xfrm>
            <a:custGeom>
              <a:avLst/>
              <a:gdLst>
                <a:gd name="connsiteX0" fmla="*/ 9285297 w 9285297"/>
                <a:gd name="connsiteY0" fmla="*/ 0 h 1230491"/>
                <a:gd name="connsiteX1" fmla="*/ 9285297 w 9285297"/>
                <a:gd name="connsiteY1" fmla="*/ 248666 h 1230491"/>
                <a:gd name="connsiteX2" fmla="*/ 9179918 w 9285297"/>
                <a:gd name="connsiteY2" fmla="*/ 272756 h 1230491"/>
                <a:gd name="connsiteX3" fmla="*/ 3039595 w 9285297"/>
                <a:gd name="connsiteY3" fmla="*/ 1146580 h 1230491"/>
                <a:gd name="connsiteX4" fmla="*/ 662859 w 9285297"/>
                <a:gd name="connsiteY4" fmla="*/ 1230491 h 1230491"/>
                <a:gd name="connsiteX5" fmla="*/ 0 w 9285297"/>
                <a:gd name="connsiteY5" fmla="*/ 1220449 h 1230491"/>
                <a:gd name="connsiteX6" fmla="*/ 10388 w 9285297"/>
                <a:gd name="connsiteY6" fmla="*/ 978067 h 1230491"/>
                <a:gd name="connsiteX7" fmla="*/ 3029669 w 9285297"/>
                <a:gd name="connsiteY7" fmla="*/ 904082 h 1230491"/>
                <a:gd name="connsiteX8" fmla="*/ 9133527 w 9285297"/>
                <a:gd name="connsiteY8" fmla="*/ 34712 h 1230491"/>
                <a:gd name="connsiteX9" fmla="*/ 9285297 w 9285297"/>
                <a:gd name="connsiteY9" fmla="*/ 0 h 123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85297" h="1230491">
                  <a:moveTo>
                    <a:pt x="9285297" y="0"/>
                  </a:moveTo>
                  <a:lnTo>
                    <a:pt x="9285297" y="248666"/>
                  </a:lnTo>
                  <a:lnTo>
                    <a:pt x="9179918" y="272756"/>
                  </a:lnTo>
                  <a:cubicBezTo>
                    <a:pt x="6729077" y="814541"/>
                    <a:pt x="4528431" y="1047102"/>
                    <a:pt x="3039595" y="1146580"/>
                  </a:cubicBezTo>
                  <a:cubicBezTo>
                    <a:pt x="2013277" y="1215140"/>
                    <a:pt x="1191831" y="1230491"/>
                    <a:pt x="662859" y="1230491"/>
                  </a:cubicBezTo>
                  <a:cubicBezTo>
                    <a:pt x="240882" y="1230491"/>
                    <a:pt x="4963" y="1220680"/>
                    <a:pt x="0" y="1220449"/>
                  </a:cubicBezTo>
                  <a:lnTo>
                    <a:pt x="10388" y="978067"/>
                  </a:lnTo>
                  <a:cubicBezTo>
                    <a:pt x="21930" y="978644"/>
                    <a:pt x="1195755" y="1026889"/>
                    <a:pt x="3029669" y="904082"/>
                  </a:cubicBezTo>
                  <a:cubicBezTo>
                    <a:pt x="4510022" y="804907"/>
                    <a:pt x="6697766" y="573444"/>
                    <a:pt x="9133527" y="34712"/>
                  </a:cubicBezTo>
                  <a:lnTo>
                    <a:pt x="928529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oAutofit/>
            </a:bodyPr>
            <a:lstStyle/>
            <a:p>
              <a:pPr algn="ctr"/>
              <a:endParaRPr lang="en-GB" sz="1400" dirty="0">
                <a:solidFill>
                  <a:schemeClr val="tx1"/>
                </a:solidFill>
              </a:endParaRPr>
            </a:p>
          </p:txBody>
        </p:sp>
        <p:sp>
          <p:nvSpPr>
            <p:cNvPr id="42" name="Freeform: Shape 41">
              <a:extLst>
                <a:ext uri="{FF2B5EF4-FFF2-40B4-BE49-F238E27FC236}">
                  <a16:creationId xmlns:a16="http://schemas.microsoft.com/office/drawing/2014/main" id="{CB6E0637-89BF-4A6E-AA34-59E5F0C809D4}"/>
                </a:ext>
              </a:extLst>
            </p:cNvPr>
            <p:cNvSpPr/>
            <p:nvPr/>
          </p:nvSpPr>
          <p:spPr>
            <a:xfrm>
              <a:off x="2801559" y="4334337"/>
              <a:ext cx="4861221" cy="463340"/>
            </a:xfrm>
            <a:custGeom>
              <a:avLst/>
              <a:gdLst>
                <a:gd name="connsiteX0" fmla="*/ 848866 w 5348927"/>
                <a:gd name="connsiteY0" fmla="*/ 509825 h 509825"/>
                <a:gd name="connsiteX1" fmla="*/ 127760 w 5348927"/>
                <a:gd name="connsiteY1" fmla="*/ 499030 h 509825"/>
                <a:gd name="connsiteX2" fmla="*/ 125 w 5348927"/>
                <a:gd name="connsiteY2" fmla="*/ 359965 h 509825"/>
                <a:gd name="connsiteX3" fmla="*/ 139190 w 5348927"/>
                <a:gd name="connsiteY3" fmla="*/ 232330 h 509825"/>
                <a:gd name="connsiteX4" fmla="*/ 5198870 w 5348927"/>
                <a:gd name="connsiteY4" fmla="*/ 1063 h 509825"/>
                <a:gd name="connsiteX5" fmla="*/ 5347866 w 5348927"/>
                <a:gd name="connsiteY5" fmla="*/ 116671 h 509825"/>
                <a:gd name="connsiteX6" fmla="*/ 5232246 w 5348927"/>
                <a:gd name="connsiteY6" fmla="*/ 265668 h 509825"/>
                <a:gd name="connsiteX7" fmla="*/ 5226810 w 5348927"/>
                <a:gd name="connsiteY7" fmla="*/ 266239 h 509825"/>
                <a:gd name="connsiteX8" fmla="*/ 848866 w 5348927"/>
                <a:gd name="connsiteY8" fmla="*/ 509825 h 50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8927" h="509825">
                  <a:moveTo>
                    <a:pt x="848866" y="509825"/>
                  </a:moveTo>
                  <a:cubicBezTo>
                    <a:pt x="390650" y="509825"/>
                    <a:pt x="134872" y="499411"/>
                    <a:pt x="127760" y="499030"/>
                  </a:cubicBezTo>
                  <a:cubicBezTo>
                    <a:pt x="54113" y="495868"/>
                    <a:pt x="-3037" y="433613"/>
                    <a:pt x="125" y="359965"/>
                  </a:cubicBezTo>
                  <a:cubicBezTo>
                    <a:pt x="3287" y="286318"/>
                    <a:pt x="65543" y="229168"/>
                    <a:pt x="139190" y="232330"/>
                  </a:cubicBezTo>
                  <a:cubicBezTo>
                    <a:pt x="159510" y="233219"/>
                    <a:pt x="2207512" y="316404"/>
                    <a:pt x="5198870" y="1063"/>
                  </a:cubicBezTo>
                  <a:cubicBezTo>
                    <a:pt x="5271934" y="-8157"/>
                    <a:pt x="5338647" y="43608"/>
                    <a:pt x="5347866" y="116671"/>
                  </a:cubicBezTo>
                  <a:cubicBezTo>
                    <a:pt x="5357074" y="189747"/>
                    <a:pt x="5305322" y="256448"/>
                    <a:pt x="5232246" y="265668"/>
                  </a:cubicBezTo>
                  <a:cubicBezTo>
                    <a:pt x="5230443" y="265896"/>
                    <a:pt x="5228626" y="266087"/>
                    <a:pt x="5226810" y="266239"/>
                  </a:cubicBezTo>
                  <a:cubicBezTo>
                    <a:pt x="3264914" y="473376"/>
                    <a:pt x="1704338" y="509825"/>
                    <a:pt x="848866" y="509825"/>
                  </a:cubicBezTo>
                  <a:close/>
                </a:path>
              </a:pathLst>
            </a:custGeom>
            <a:solidFill>
              <a:schemeClr val="tx1"/>
            </a:solidFill>
            <a:ln w="12700"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C40811AF-25EF-4CC1-9D75-C9F00AA24E84}"/>
                </a:ext>
              </a:extLst>
            </p:cNvPr>
            <p:cNvSpPr/>
            <p:nvPr/>
          </p:nvSpPr>
          <p:spPr>
            <a:xfrm>
              <a:off x="454409" y="2997467"/>
              <a:ext cx="2589647" cy="3159175"/>
            </a:xfrm>
            <a:custGeom>
              <a:avLst/>
              <a:gdLst>
                <a:gd name="connsiteX0" fmla="*/ 1040975 w 2849455"/>
                <a:gd name="connsiteY0" fmla="*/ 3476117 h 3476122"/>
                <a:gd name="connsiteX1" fmla="*/ 992588 w 2849455"/>
                <a:gd name="connsiteY1" fmla="*/ 3475228 h 3476122"/>
                <a:gd name="connsiteX2" fmla="*/ 264370 w 2849455"/>
                <a:gd name="connsiteY2" fmla="*/ 3111754 h 3476122"/>
                <a:gd name="connsiteX3" fmla="*/ 3766 w 2849455"/>
                <a:gd name="connsiteY3" fmla="*/ 2333625 h 3476122"/>
                <a:gd name="connsiteX4" fmla="*/ 324568 w 2849455"/>
                <a:gd name="connsiteY4" fmla="*/ 1650238 h 3476122"/>
                <a:gd name="connsiteX5" fmla="*/ 830282 w 2849455"/>
                <a:gd name="connsiteY5" fmla="*/ 1345438 h 3476122"/>
                <a:gd name="connsiteX6" fmla="*/ 806406 w 2849455"/>
                <a:gd name="connsiteY6" fmla="*/ 1315212 h 3476122"/>
                <a:gd name="connsiteX7" fmla="*/ 804882 w 2849455"/>
                <a:gd name="connsiteY7" fmla="*/ 1313307 h 3476122"/>
                <a:gd name="connsiteX8" fmla="*/ 529927 w 2849455"/>
                <a:gd name="connsiteY8" fmla="*/ 772033 h 3476122"/>
                <a:gd name="connsiteX9" fmla="*/ 738842 w 2849455"/>
                <a:gd name="connsiteY9" fmla="*/ 211201 h 3476122"/>
                <a:gd name="connsiteX10" fmla="*/ 1265257 w 2849455"/>
                <a:gd name="connsiteY10" fmla="*/ 0 h 3476122"/>
                <a:gd name="connsiteX11" fmla="*/ 1332440 w 2849455"/>
                <a:gd name="connsiteY11" fmla="*/ 2667 h 3476122"/>
                <a:gd name="connsiteX12" fmla="*/ 1956899 w 2849455"/>
                <a:gd name="connsiteY12" fmla="*/ 646557 h 3476122"/>
                <a:gd name="connsiteX13" fmla="*/ 1664799 w 2849455"/>
                <a:gd name="connsiteY13" fmla="*/ 1206246 h 3476122"/>
                <a:gd name="connsiteX14" fmla="*/ 1254843 w 2849455"/>
                <a:gd name="connsiteY14" fmla="*/ 1460246 h 3476122"/>
                <a:gd name="connsiteX15" fmla="*/ 2175466 w 2849455"/>
                <a:gd name="connsiteY15" fmla="*/ 2641981 h 3476122"/>
                <a:gd name="connsiteX16" fmla="*/ 2295608 w 2849455"/>
                <a:gd name="connsiteY16" fmla="*/ 2789555 h 3476122"/>
                <a:gd name="connsiteX17" fmla="*/ 2594058 w 2849455"/>
                <a:gd name="connsiteY17" fmla="*/ 3109214 h 3476122"/>
                <a:gd name="connsiteX18" fmla="*/ 2621998 w 2849455"/>
                <a:gd name="connsiteY18" fmla="*/ 3131947 h 3476122"/>
                <a:gd name="connsiteX19" fmla="*/ 2627840 w 2849455"/>
                <a:gd name="connsiteY19" fmla="*/ 3136900 h 3476122"/>
                <a:gd name="connsiteX20" fmla="*/ 2715343 w 2849455"/>
                <a:gd name="connsiteY20" fmla="*/ 3142361 h 3476122"/>
                <a:gd name="connsiteX21" fmla="*/ 2848693 w 2849455"/>
                <a:gd name="connsiteY21" fmla="*/ 3142361 h 3476122"/>
                <a:gd name="connsiteX22" fmla="*/ 2849455 w 2849455"/>
                <a:gd name="connsiteY22" fmla="*/ 3409061 h 3476122"/>
                <a:gd name="connsiteX23" fmla="*/ 2716105 w 2849455"/>
                <a:gd name="connsiteY23" fmla="*/ 3409061 h 3476122"/>
                <a:gd name="connsiteX24" fmla="*/ 2448008 w 2849455"/>
                <a:gd name="connsiteY24" fmla="*/ 3334131 h 3476122"/>
                <a:gd name="connsiteX25" fmla="*/ 2435308 w 2849455"/>
                <a:gd name="connsiteY25" fmla="*/ 3323336 h 3476122"/>
                <a:gd name="connsiteX26" fmla="*/ 2103203 w 2849455"/>
                <a:gd name="connsiteY26" fmla="*/ 2974340 h 3476122"/>
                <a:gd name="connsiteX27" fmla="*/ 1642066 w 2849455"/>
                <a:gd name="connsiteY27" fmla="*/ 3332734 h 3476122"/>
                <a:gd name="connsiteX28" fmla="*/ 1040975 w 2849455"/>
                <a:gd name="connsiteY28" fmla="*/ 3476117 h 3476122"/>
                <a:gd name="connsiteX29" fmla="*/ 931755 w 2849455"/>
                <a:gd name="connsiteY29" fmla="*/ 1591945 h 3476122"/>
                <a:gd name="connsiteX30" fmla="*/ 506686 w 2849455"/>
                <a:gd name="connsiteY30" fmla="*/ 1844929 h 3476122"/>
                <a:gd name="connsiteX31" fmla="*/ 269704 w 2849455"/>
                <a:gd name="connsiteY31" fmla="*/ 2354326 h 3476122"/>
                <a:gd name="connsiteX32" fmla="*/ 463506 w 2849455"/>
                <a:gd name="connsiteY32" fmla="*/ 2934335 h 3476122"/>
                <a:gd name="connsiteX33" fmla="*/ 1001478 w 2849455"/>
                <a:gd name="connsiteY33" fmla="*/ 3208655 h 3476122"/>
                <a:gd name="connsiteX34" fmla="*/ 1521543 w 2849455"/>
                <a:gd name="connsiteY34" fmla="*/ 3094990 h 3476122"/>
                <a:gd name="connsiteX35" fmla="*/ 1932515 w 2849455"/>
                <a:gd name="connsiteY35" fmla="*/ 2765552 h 3476122"/>
                <a:gd name="connsiteX36" fmla="*/ 1884382 w 2849455"/>
                <a:gd name="connsiteY36" fmla="*/ 2706370 h 3476122"/>
                <a:gd name="connsiteX37" fmla="*/ 1886541 w 2849455"/>
                <a:gd name="connsiteY37" fmla="*/ 2704592 h 3476122"/>
                <a:gd name="connsiteX38" fmla="*/ 1000462 w 2849455"/>
                <a:gd name="connsiteY38" fmla="*/ 1567307 h 3476122"/>
                <a:gd name="connsiteX39" fmla="*/ 2593042 w 2849455"/>
                <a:gd name="connsiteY39" fmla="*/ 3108198 h 3476122"/>
                <a:gd name="connsiteX40" fmla="*/ 2593677 w 2849455"/>
                <a:gd name="connsiteY40" fmla="*/ 3108198 h 3476122"/>
                <a:gd name="connsiteX41" fmla="*/ 1265892 w 2849455"/>
                <a:gd name="connsiteY41" fmla="*/ 266700 h 3476122"/>
                <a:gd name="connsiteX42" fmla="*/ 929088 w 2849455"/>
                <a:gd name="connsiteY42" fmla="*/ 398780 h 3476122"/>
                <a:gd name="connsiteX43" fmla="*/ 796246 w 2849455"/>
                <a:gd name="connsiteY43" fmla="*/ 748284 h 3476122"/>
                <a:gd name="connsiteX44" fmla="*/ 1013543 w 2849455"/>
                <a:gd name="connsiteY44" fmla="*/ 1146429 h 3476122"/>
                <a:gd name="connsiteX45" fmla="*/ 1014813 w 2849455"/>
                <a:gd name="connsiteY45" fmla="*/ 1147953 h 3476122"/>
                <a:gd name="connsiteX46" fmla="*/ 1015575 w 2849455"/>
                <a:gd name="connsiteY46" fmla="*/ 1148969 h 3476122"/>
                <a:gd name="connsiteX47" fmla="*/ 1088981 w 2849455"/>
                <a:gd name="connsiteY47" fmla="*/ 1243076 h 3476122"/>
                <a:gd name="connsiteX48" fmla="*/ 1088981 w 2849455"/>
                <a:gd name="connsiteY48" fmla="*/ 1243076 h 3476122"/>
                <a:gd name="connsiteX49" fmla="*/ 1088981 w 2849455"/>
                <a:gd name="connsiteY49" fmla="*/ 1243076 h 3476122"/>
                <a:gd name="connsiteX50" fmla="*/ 1088981 w 2849455"/>
                <a:gd name="connsiteY50" fmla="*/ 1243076 h 3476122"/>
                <a:gd name="connsiteX51" fmla="*/ 1492333 w 2849455"/>
                <a:gd name="connsiteY51" fmla="*/ 1002665 h 3476122"/>
                <a:gd name="connsiteX52" fmla="*/ 1689945 w 2849455"/>
                <a:gd name="connsiteY52" fmla="*/ 647065 h 3476122"/>
                <a:gd name="connsiteX53" fmla="*/ 1311612 w 2849455"/>
                <a:gd name="connsiteY53" fmla="*/ 267589 h 3476122"/>
                <a:gd name="connsiteX54" fmla="*/ 1265892 w 2849455"/>
                <a:gd name="connsiteY54" fmla="*/ 266700 h 34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49455" h="3476122">
                  <a:moveTo>
                    <a:pt x="1040975" y="3476117"/>
                  </a:moveTo>
                  <a:cubicBezTo>
                    <a:pt x="1024973" y="3476117"/>
                    <a:pt x="1008717" y="3476117"/>
                    <a:pt x="992588" y="3475228"/>
                  </a:cubicBezTo>
                  <a:cubicBezTo>
                    <a:pt x="727666" y="3466465"/>
                    <a:pt x="462236" y="3333877"/>
                    <a:pt x="264370" y="3111754"/>
                  </a:cubicBezTo>
                  <a:cubicBezTo>
                    <a:pt x="73761" y="2899499"/>
                    <a:pt x="-20564" y="2617864"/>
                    <a:pt x="3766" y="2333625"/>
                  </a:cubicBezTo>
                  <a:cubicBezTo>
                    <a:pt x="24594" y="2056511"/>
                    <a:pt x="129496" y="1832610"/>
                    <a:pt x="324568" y="1650238"/>
                  </a:cubicBezTo>
                  <a:cubicBezTo>
                    <a:pt x="493986" y="1491615"/>
                    <a:pt x="692868" y="1400429"/>
                    <a:pt x="830282" y="1345438"/>
                  </a:cubicBezTo>
                  <a:lnTo>
                    <a:pt x="806406" y="1315212"/>
                  </a:lnTo>
                  <a:lnTo>
                    <a:pt x="804882" y="1313307"/>
                  </a:lnTo>
                  <a:cubicBezTo>
                    <a:pt x="678898" y="1154938"/>
                    <a:pt x="549485" y="991997"/>
                    <a:pt x="529927" y="772033"/>
                  </a:cubicBezTo>
                  <a:cubicBezTo>
                    <a:pt x="512401" y="574548"/>
                    <a:pt x="592792" y="359664"/>
                    <a:pt x="738842" y="211201"/>
                  </a:cubicBezTo>
                  <a:cubicBezTo>
                    <a:pt x="876002" y="72898"/>
                    <a:pt x="1057993" y="0"/>
                    <a:pt x="1265257" y="0"/>
                  </a:cubicBezTo>
                  <a:cubicBezTo>
                    <a:pt x="1288879" y="0"/>
                    <a:pt x="1310850" y="889"/>
                    <a:pt x="1332440" y="2667"/>
                  </a:cubicBezTo>
                  <a:cubicBezTo>
                    <a:pt x="1697565" y="29337"/>
                    <a:pt x="1954740" y="294132"/>
                    <a:pt x="1956899" y="646557"/>
                  </a:cubicBezTo>
                  <a:cubicBezTo>
                    <a:pt x="1957915" y="852678"/>
                    <a:pt x="1859871" y="1040257"/>
                    <a:pt x="1664799" y="1206246"/>
                  </a:cubicBezTo>
                  <a:cubicBezTo>
                    <a:pt x="1559262" y="1295781"/>
                    <a:pt x="1424642" y="1379220"/>
                    <a:pt x="1254843" y="1460246"/>
                  </a:cubicBezTo>
                  <a:lnTo>
                    <a:pt x="2175466" y="2641981"/>
                  </a:lnTo>
                  <a:lnTo>
                    <a:pt x="2295608" y="2789555"/>
                  </a:lnTo>
                  <a:cubicBezTo>
                    <a:pt x="2437594" y="2952369"/>
                    <a:pt x="2568404" y="3088005"/>
                    <a:pt x="2594058" y="3109214"/>
                  </a:cubicBezTo>
                  <a:cubicBezTo>
                    <a:pt x="2605869" y="3117977"/>
                    <a:pt x="2615140" y="3125978"/>
                    <a:pt x="2621998" y="3131947"/>
                  </a:cubicBezTo>
                  <a:lnTo>
                    <a:pt x="2627840" y="3136900"/>
                  </a:lnTo>
                  <a:cubicBezTo>
                    <a:pt x="2656733" y="3141764"/>
                    <a:pt x="2686070" y="3143593"/>
                    <a:pt x="2715343" y="3142361"/>
                  </a:cubicBezTo>
                  <a:lnTo>
                    <a:pt x="2848693" y="3142361"/>
                  </a:lnTo>
                  <a:lnTo>
                    <a:pt x="2849455" y="3409061"/>
                  </a:lnTo>
                  <a:lnTo>
                    <a:pt x="2716105" y="3409061"/>
                  </a:lnTo>
                  <a:cubicBezTo>
                    <a:pt x="2561419" y="3409061"/>
                    <a:pt x="2508714" y="3386201"/>
                    <a:pt x="2448008" y="3334131"/>
                  </a:cubicBezTo>
                  <a:cubicBezTo>
                    <a:pt x="2443055" y="3329813"/>
                    <a:pt x="2438991" y="3326384"/>
                    <a:pt x="2435308" y="3323336"/>
                  </a:cubicBezTo>
                  <a:cubicBezTo>
                    <a:pt x="2384508" y="3286252"/>
                    <a:pt x="2211153" y="3097657"/>
                    <a:pt x="2103203" y="2974340"/>
                  </a:cubicBezTo>
                  <a:cubicBezTo>
                    <a:pt x="1960455" y="3129534"/>
                    <a:pt x="1805515" y="3249930"/>
                    <a:pt x="1642066" y="3332734"/>
                  </a:cubicBezTo>
                  <a:cubicBezTo>
                    <a:pt x="1455935" y="3427603"/>
                    <a:pt x="1249890" y="3476752"/>
                    <a:pt x="1040975" y="3476117"/>
                  </a:cubicBezTo>
                  <a:close/>
                  <a:moveTo>
                    <a:pt x="931755" y="1591945"/>
                  </a:moveTo>
                  <a:cubicBezTo>
                    <a:pt x="814788" y="1638935"/>
                    <a:pt x="644481" y="1716151"/>
                    <a:pt x="506686" y="1844929"/>
                  </a:cubicBezTo>
                  <a:cubicBezTo>
                    <a:pt x="360763" y="1981454"/>
                    <a:pt x="285452" y="2143379"/>
                    <a:pt x="269704" y="2354326"/>
                  </a:cubicBezTo>
                  <a:cubicBezTo>
                    <a:pt x="251301" y="2566149"/>
                    <a:pt x="321463" y="2776131"/>
                    <a:pt x="463506" y="2934335"/>
                  </a:cubicBezTo>
                  <a:cubicBezTo>
                    <a:pt x="613112" y="3102356"/>
                    <a:pt x="809200" y="3202305"/>
                    <a:pt x="1001478" y="3208655"/>
                  </a:cubicBezTo>
                  <a:cubicBezTo>
                    <a:pt x="1181691" y="3215780"/>
                    <a:pt x="1360736" y="3176651"/>
                    <a:pt x="1521543" y="3094990"/>
                  </a:cubicBezTo>
                  <a:cubicBezTo>
                    <a:pt x="1666069" y="3021711"/>
                    <a:pt x="1804245" y="2910967"/>
                    <a:pt x="1932515" y="2765552"/>
                  </a:cubicBezTo>
                  <a:lnTo>
                    <a:pt x="1884382" y="2706370"/>
                  </a:lnTo>
                  <a:lnTo>
                    <a:pt x="1886541" y="2704592"/>
                  </a:lnTo>
                  <a:lnTo>
                    <a:pt x="1000462" y="1567307"/>
                  </a:lnTo>
                  <a:close/>
                  <a:moveTo>
                    <a:pt x="2593042" y="3108198"/>
                  </a:moveTo>
                  <a:lnTo>
                    <a:pt x="2593677" y="3108198"/>
                  </a:lnTo>
                  <a:close/>
                  <a:moveTo>
                    <a:pt x="1265892" y="266700"/>
                  </a:moveTo>
                  <a:cubicBezTo>
                    <a:pt x="1131272" y="266700"/>
                    <a:pt x="1014813" y="312420"/>
                    <a:pt x="929088" y="398780"/>
                  </a:cubicBezTo>
                  <a:cubicBezTo>
                    <a:pt x="837775" y="491363"/>
                    <a:pt x="785578" y="628650"/>
                    <a:pt x="796246" y="748284"/>
                  </a:cubicBezTo>
                  <a:cubicBezTo>
                    <a:pt x="808946" y="888746"/>
                    <a:pt x="903688" y="1008126"/>
                    <a:pt x="1013543" y="1146429"/>
                  </a:cubicBezTo>
                  <a:lnTo>
                    <a:pt x="1014813" y="1147953"/>
                  </a:lnTo>
                  <a:lnTo>
                    <a:pt x="1015575" y="1148969"/>
                  </a:lnTo>
                  <a:cubicBezTo>
                    <a:pt x="1037038" y="1176020"/>
                    <a:pt x="1063708" y="1209548"/>
                    <a:pt x="1088981" y="1243076"/>
                  </a:cubicBezTo>
                  <a:lnTo>
                    <a:pt x="1088981" y="1243076"/>
                  </a:lnTo>
                  <a:lnTo>
                    <a:pt x="1088981" y="1243076"/>
                  </a:lnTo>
                  <a:lnTo>
                    <a:pt x="1088981" y="1243076"/>
                  </a:lnTo>
                  <a:cubicBezTo>
                    <a:pt x="1262590" y="1164336"/>
                    <a:pt x="1394543" y="1085596"/>
                    <a:pt x="1492333" y="1002665"/>
                  </a:cubicBezTo>
                  <a:cubicBezTo>
                    <a:pt x="1624032" y="890778"/>
                    <a:pt x="1690580" y="771398"/>
                    <a:pt x="1689945" y="647065"/>
                  </a:cubicBezTo>
                  <a:cubicBezTo>
                    <a:pt x="1688675" y="433324"/>
                    <a:pt x="1540212" y="284353"/>
                    <a:pt x="1311612" y="267589"/>
                  </a:cubicBezTo>
                  <a:cubicBezTo>
                    <a:pt x="1296372" y="267208"/>
                    <a:pt x="1281513" y="266700"/>
                    <a:pt x="1265892" y="266700"/>
                  </a:cubicBezTo>
                  <a:close/>
                </a:path>
              </a:pathLst>
            </a:custGeom>
            <a:solidFill>
              <a:schemeClr val="tx1"/>
            </a:solidFill>
            <a:ln w="12700"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E926507F-ED8C-4F51-867C-559B7855D4C8}"/>
                </a:ext>
              </a:extLst>
            </p:cNvPr>
            <p:cNvSpPr/>
            <p:nvPr/>
          </p:nvSpPr>
          <p:spPr>
            <a:xfrm>
              <a:off x="2196074" y="4545830"/>
              <a:ext cx="2005954" cy="1148317"/>
            </a:xfrm>
            <a:custGeom>
              <a:avLst/>
              <a:gdLst>
                <a:gd name="connsiteX0" fmla="*/ 133592 w 2207203"/>
                <a:gd name="connsiteY0" fmla="*/ 1263523 h 1263523"/>
                <a:gd name="connsiteX1" fmla="*/ 0 w 2207203"/>
                <a:gd name="connsiteY1" fmla="*/ 1130161 h 1263523"/>
                <a:gd name="connsiteX2" fmla="*/ 35293 w 2207203"/>
                <a:gd name="connsiteY2" fmla="*/ 1039622 h 1263523"/>
                <a:gd name="connsiteX3" fmla="*/ 54851 w 2207203"/>
                <a:gd name="connsiteY3" fmla="*/ 1017397 h 1263523"/>
                <a:gd name="connsiteX4" fmla="*/ 125971 w 2207203"/>
                <a:gd name="connsiteY4" fmla="*/ 928497 h 1263523"/>
                <a:gd name="connsiteX5" fmla="*/ 154546 w 2207203"/>
                <a:gd name="connsiteY5" fmla="*/ 890397 h 1263523"/>
                <a:gd name="connsiteX6" fmla="*/ 178803 w 2207203"/>
                <a:gd name="connsiteY6" fmla="*/ 849503 h 1263523"/>
                <a:gd name="connsiteX7" fmla="*/ 216903 w 2207203"/>
                <a:gd name="connsiteY7" fmla="*/ 772160 h 1263523"/>
                <a:gd name="connsiteX8" fmla="*/ 243827 w 2207203"/>
                <a:gd name="connsiteY8" fmla="*/ 708660 h 1263523"/>
                <a:gd name="connsiteX9" fmla="*/ 262623 w 2207203"/>
                <a:gd name="connsiteY9" fmla="*/ 648970 h 1263523"/>
                <a:gd name="connsiteX10" fmla="*/ 277228 w 2207203"/>
                <a:gd name="connsiteY10" fmla="*/ 581406 h 1263523"/>
                <a:gd name="connsiteX11" fmla="*/ 288658 w 2207203"/>
                <a:gd name="connsiteY11" fmla="*/ 496824 h 1263523"/>
                <a:gd name="connsiteX12" fmla="*/ 298437 w 2207203"/>
                <a:gd name="connsiteY12" fmla="*/ 387477 h 1263523"/>
                <a:gd name="connsiteX13" fmla="*/ 299072 w 2207203"/>
                <a:gd name="connsiteY13" fmla="*/ 378714 h 1263523"/>
                <a:gd name="connsiteX14" fmla="*/ 307836 w 2207203"/>
                <a:gd name="connsiteY14" fmla="*/ 249047 h 1263523"/>
                <a:gd name="connsiteX15" fmla="*/ 313677 w 2207203"/>
                <a:gd name="connsiteY15" fmla="*/ 127000 h 1263523"/>
                <a:gd name="connsiteX16" fmla="*/ 446900 w 2207203"/>
                <a:gd name="connsiteY16" fmla="*/ 0 h 1263523"/>
                <a:gd name="connsiteX17" fmla="*/ 805040 w 2207203"/>
                <a:gd name="connsiteY17" fmla="*/ 0 h 1263523"/>
                <a:gd name="connsiteX18" fmla="*/ 2071611 w 2207203"/>
                <a:gd name="connsiteY18" fmla="*/ 6350 h 1263523"/>
                <a:gd name="connsiteX19" fmla="*/ 2207184 w 2207203"/>
                <a:gd name="connsiteY19" fmla="*/ 137478 h 1263523"/>
                <a:gd name="connsiteX20" fmla="*/ 2076057 w 2207203"/>
                <a:gd name="connsiteY20" fmla="*/ 273050 h 1263523"/>
                <a:gd name="connsiteX21" fmla="*/ 796531 w 2207203"/>
                <a:gd name="connsiteY21" fmla="*/ 266573 h 1263523"/>
                <a:gd name="connsiteX22" fmla="*/ 574281 w 2207203"/>
                <a:gd name="connsiteY22" fmla="*/ 266573 h 1263523"/>
                <a:gd name="connsiteX23" fmla="*/ 565518 w 2207203"/>
                <a:gd name="connsiteY23" fmla="*/ 398780 h 1263523"/>
                <a:gd name="connsiteX24" fmla="*/ 564756 w 2207203"/>
                <a:gd name="connsiteY24" fmla="*/ 407416 h 1263523"/>
                <a:gd name="connsiteX25" fmla="*/ 554215 w 2207203"/>
                <a:gd name="connsiteY25" fmla="*/ 525653 h 1263523"/>
                <a:gd name="connsiteX26" fmla="*/ 540499 w 2207203"/>
                <a:gd name="connsiteY26" fmla="*/ 626237 h 1263523"/>
                <a:gd name="connsiteX27" fmla="*/ 520942 w 2207203"/>
                <a:gd name="connsiteY27" fmla="*/ 716915 h 1263523"/>
                <a:gd name="connsiteX28" fmla="*/ 494271 w 2207203"/>
                <a:gd name="connsiteY28" fmla="*/ 801243 h 1263523"/>
                <a:gd name="connsiteX29" fmla="*/ 459473 w 2207203"/>
                <a:gd name="connsiteY29" fmla="*/ 884428 h 1263523"/>
                <a:gd name="connsiteX30" fmla="*/ 416167 w 2207203"/>
                <a:gd name="connsiteY30" fmla="*/ 972185 h 1263523"/>
                <a:gd name="connsiteX31" fmla="*/ 368542 w 2207203"/>
                <a:gd name="connsiteY31" fmla="*/ 1050417 h 1263523"/>
                <a:gd name="connsiteX32" fmla="*/ 338061 w 2207203"/>
                <a:gd name="connsiteY32" fmla="*/ 1090549 h 1263523"/>
                <a:gd name="connsiteX33" fmla="*/ 258433 w 2207203"/>
                <a:gd name="connsiteY33" fmla="*/ 1190371 h 1263523"/>
                <a:gd name="connsiteX34" fmla="*/ 231636 w 2207203"/>
                <a:gd name="connsiteY34" fmla="*/ 1220851 h 1263523"/>
                <a:gd name="connsiteX35" fmla="*/ 133592 w 2207203"/>
                <a:gd name="connsiteY35" fmla="*/ 1263523 h 1263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07203" h="1263523">
                  <a:moveTo>
                    <a:pt x="133592" y="1263523"/>
                  </a:moveTo>
                  <a:cubicBezTo>
                    <a:pt x="59881" y="1263587"/>
                    <a:pt x="64" y="1203884"/>
                    <a:pt x="0" y="1130161"/>
                  </a:cubicBezTo>
                  <a:cubicBezTo>
                    <a:pt x="-25" y="1096620"/>
                    <a:pt x="12573" y="1064298"/>
                    <a:pt x="35293" y="1039622"/>
                  </a:cubicBezTo>
                  <a:cubicBezTo>
                    <a:pt x="42024" y="1032383"/>
                    <a:pt x="47993" y="1025017"/>
                    <a:pt x="54851" y="1017397"/>
                  </a:cubicBezTo>
                  <a:cubicBezTo>
                    <a:pt x="80251" y="987298"/>
                    <a:pt x="105651" y="955421"/>
                    <a:pt x="125971" y="928497"/>
                  </a:cubicBezTo>
                  <a:cubicBezTo>
                    <a:pt x="135750" y="915797"/>
                    <a:pt x="145275" y="903097"/>
                    <a:pt x="154546" y="890397"/>
                  </a:cubicBezTo>
                  <a:cubicBezTo>
                    <a:pt x="163729" y="877443"/>
                    <a:pt x="171844" y="863765"/>
                    <a:pt x="178803" y="849503"/>
                  </a:cubicBezTo>
                  <a:cubicBezTo>
                    <a:pt x="194297" y="819404"/>
                    <a:pt x="206362" y="794893"/>
                    <a:pt x="216903" y="772160"/>
                  </a:cubicBezTo>
                  <a:cubicBezTo>
                    <a:pt x="227444" y="749427"/>
                    <a:pt x="236334" y="728091"/>
                    <a:pt x="243827" y="708660"/>
                  </a:cubicBezTo>
                  <a:cubicBezTo>
                    <a:pt x="251320" y="689229"/>
                    <a:pt x="257670" y="668274"/>
                    <a:pt x="262623" y="648970"/>
                  </a:cubicBezTo>
                  <a:cubicBezTo>
                    <a:pt x="267576" y="629666"/>
                    <a:pt x="272911" y="606298"/>
                    <a:pt x="277228" y="581406"/>
                  </a:cubicBezTo>
                  <a:cubicBezTo>
                    <a:pt x="281546" y="556514"/>
                    <a:pt x="285102" y="529463"/>
                    <a:pt x="288658" y="496824"/>
                  </a:cubicBezTo>
                  <a:cubicBezTo>
                    <a:pt x="292214" y="464185"/>
                    <a:pt x="295389" y="428879"/>
                    <a:pt x="298437" y="387477"/>
                  </a:cubicBezTo>
                  <a:lnTo>
                    <a:pt x="299072" y="378714"/>
                  </a:lnTo>
                  <a:cubicBezTo>
                    <a:pt x="302501" y="334010"/>
                    <a:pt x="305676" y="291719"/>
                    <a:pt x="307836" y="249047"/>
                  </a:cubicBezTo>
                  <a:lnTo>
                    <a:pt x="313677" y="127000"/>
                  </a:lnTo>
                  <a:cubicBezTo>
                    <a:pt x="317132" y="55918"/>
                    <a:pt x="375742" y="51"/>
                    <a:pt x="446900" y="0"/>
                  </a:cubicBezTo>
                  <a:lnTo>
                    <a:pt x="805040" y="0"/>
                  </a:lnTo>
                  <a:cubicBezTo>
                    <a:pt x="809612" y="0"/>
                    <a:pt x="1273671" y="19685"/>
                    <a:pt x="2071611" y="6350"/>
                  </a:cubicBezTo>
                  <a:cubicBezTo>
                    <a:pt x="2145259" y="5118"/>
                    <a:pt x="2205952" y="63830"/>
                    <a:pt x="2207184" y="137478"/>
                  </a:cubicBezTo>
                  <a:cubicBezTo>
                    <a:pt x="2208416" y="211125"/>
                    <a:pt x="2149704" y="271818"/>
                    <a:pt x="2076057" y="273050"/>
                  </a:cubicBezTo>
                  <a:cubicBezTo>
                    <a:pt x="1303134" y="285750"/>
                    <a:pt x="838187" y="268351"/>
                    <a:pt x="796531" y="266573"/>
                  </a:cubicBezTo>
                  <a:lnTo>
                    <a:pt x="574281" y="266573"/>
                  </a:lnTo>
                  <a:cubicBezTo>
                    <a:pt x="572123" y="311277"/>
                    <a:pt x="568693" y="355473"/>
                    <a:pt x="565518" y="398780"/>
                  </a:cubicBezTo>
                  <a:lnTo>
                    <a:pt x="564756" y="407416"/>
                  </a:lnTo>
                  <a:cubicBezTo>
                    <a:pt x="561454" y="451612"/>
                    <a:pt x="558026" y="490347"/>
                    <a:pt x="554215" y="525653"/>
                  </a:cubicBezTo>
                  <a:cubicBezTo>
                    <a:pt x="550024" y="563753"/>
                    <a:pt x="545579" y="596138"/>
                    <a:pt x="540499" y="626237"/>
                  </a:cubicBezTo>
                  <a:cubicBezTo>
                    <a:pt x="534784" y="659384"/>
                    <a:pt x="528434" y="688848"/>
                    <a:pt x="520942" y="716915"/>
                  </a:cubicBezTo>
                  <a:cubicBezTo>
                    <a:pt x="513448" y="744982"/>
                    <a:pt x="504812" y="772541"/>
                    <a:pt x="494271" y="801243"/>
                  </a:cubicBezTo>
                  <a:cubicBezTo>
                    <a:pt x="484365" y="827913"/>
                    <a:pt x="472936" y="854964"/>
                    <a:pt x="459473" y="884428"/>
                  </a:cubicBezTo>
                  <a:cubicBezTo>
                    <a:pt x="446773" y="911098"/>
                    <a:pt x="433311" y="938784"/>
                    <a:pt x="416167" y="972185"/>
                  </a:cubicBezTo>
                  <a:cubicBezTo>
                    <a:pt x="402514" y="999554"/>
                    <a:pt x="386575" y="1025716"/>
                    <a:pt x="368542" y="1050417"/>
                  </a:cubicBezTo>
                  <a:cubicBezTo>
                    <a:pt x="358762" y="1063117"/>
                    <a:pt x="348475" y="1077087"/>
                    <a:pt x="338061" y="1090549"/>
                  </a:cubicBezTo>
                  <a:cubicBezTo>
                    <a:pt x="315455" y="1120140"/>
                    <a:pt x="288023" y="1155446"/>
                    <a:pt x="258433" y="1190371"/>
                  </a:cubicBezTo>
                  <a:cubicBezTo>
                    <a:pt x="249669" y="1200785"/>
                    <a:pt x="240779" y="1210945"/>
                    <a:pt x="231636" y="1220851"/>
                  </a:cubicBezTo>
                  <a:cubicBezTo>
                    <a:pt x="206324" y="1248118"/>
                    <a:pt x="170790" y="1263587"/>
                    <a:pt x="133592" y="1263523"/>
                  </a:cubicBezTo>
                  <a:close/>
                </a:path>
              </a:pathLst>
            </a:custGeom>
            <a:solidFill>
              <a:srgbClr val="333D47"/>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69756786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chemeClr val="accent2"/>
        </a:solidFill>
        <a:effectLst/>
      </p:bgPr>
    </p:bg>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67195B01-251E-4F55-9C90-D997DDCDBF20}"/>
              </a:ext>
            </a:extLst>
          </p:cNvPr>
          <p:cNvSpPr/>
          <p:nvPr userDrawn="1"/>
        </p:nvSpPr>
        <p:spPr>
          <a:xfrm>
            <a:off x="7441294" y="4545904"/>
            <a:ext cx="4750706" cy="242355"/>
          </a:xfrm>
          <a:custGeom>
            <a:avLst/>
            <a:gdLst>
              <a:gd name="connsiteX0" fmla="*/ 121178 w 4750706"/>
              <a:gd name="connsiteY0" fmla="*/ 0 h 242355"/>
              <a:gd name="connsiteX1" fmla="*/ 4750706 w 4750706"/>
              <a:gd name="connsiteY1" fmla="*/ 0 h 242355"/>
              <a:gd name="connsiteX2" fmla="*/ 4750706 w 4750706"/>
              <a:gd name="connsiteY2" fmla="*/ 242355 h 242355"/>
              <a:gd name="connsiteX3" fmla="*/ 121178 w 4750706"/>
              <a:gd name="connsiteY3" fmla="*/ 242355 h 242355"/>
              <a:gd name="connsiteX4" fmla="*/ 0 w 4750706"/>
              <a:gd name="connsiteY4" fmla="*/ 121178 h 242355"/>
              <a:gd name="connsiteX5" fmla="*/ 121178 w 4750706"/>
              <a:gd name="connsiteY5" fmla="*/ 0 h 24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0706" h="242355">
                <a:moveTo>
                  <a:pt x="121178" y="0"/>
                </a:moveTo>
                <a:lnTo>
                  <a:pt x="4750706" y="0"/>
                </a:lnTo>
                <a:lnTo>
                  <a:pt x="4750706" y="242355"/>
                </a:lnTo>
                <a:lnTo>
                  <a:pt x="121178" y="242355"/>
                </a:lnTo>
                <a:cubicBezTo>
                  <a:pt x="54253" y="242355"/>
                  <a:pt x="0" y="188102"/>
                  <a:pt x="0" y="121178"/>
                </a:cubicBezTo>
                <a:cubicBezTo>
                  <a:pt x="0" y="54253"/>
                  <a:pt x="54253" y="0"/>
                  <a:pt x="12117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oAutofit/>
          </a:bodyPr>
          <a:lstStyle/>
          <a:p>
            <a:pPr algn="ctr"/>
            <a:endParaRPr lang="en-GB" sz="1400" dirty="0">
              <a:solidFill>
                <a:schemeClr val="tx1"/>
              </a:solidFill>
            </a:endParaRPr>
          </a:p>
        </p:txBody>
      </p:sp>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58921" y="5825325"/>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2541588" y="3028139"/>
            <a:ext cx="1660897"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2541588" y="2344139"/>
            <a:ext cx="6197600" cy="50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2541588" y="719138"/>
            <a:ext cx="8018462" cy="1444979"/>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18" name="Freeform: Shape 17">
            <a:extLst>
              <a:ext uri="{FF2B5EF4-FFF2-40B4-BE49-F238E27FC236}">
                <a16:creationId xmlns:a16="http://schemas.microsoft.com/office/drawing/2014/main" id="{A267C1ED-C691-4356-925A-A73041BB43C3}"/>
              </a:ext>
            </a:extLst>
          </p:cNvPr>
          <p:cNvSpPr/>
          <p:nvPr userDrawn="1"/>
        </p:nvSpPr>
        <p:spPr>
          <a:xfrm>
            <a:off x="0" y="3"/>
            <a:ext cx="12193141" cy="6858001"/>
          </a:xfrm>
          <a:custGeom>
            <a:avLst/>
            <a:gdLst>
              <a:gd name="connsiteX0" fmla="*/ 0 w 1100903"/>
              <a:gd name="connsiteY0" fmla="*/ 0 h 619200"/>
              <a:gd name="connsiteX1" fmla="*/ 1100903 w 1100903"/>
              <a:gd name="connsiteY1" fmla="*/ 0 h 619200"/>
              <a:gd name="connsiteX2" fmla="*/ 1100903 w 1100903"/>
              <a:gd name="connsiteY2" fmla="*/ 619200 h 619200"/>
              <a:gd name="connsiteX3" fmla="*/ 0 w 1100903"/>
              <a:gd name="connsiteY3" fmla="*/ 619200 h 619200"/>
            </a:gdLst>
            <a:ahLst/>
            <a:cxnLst>
              <a:cxn ang="0">
                <a:pos x="connsiteX0" y="connsiteY0"/>
              </a:cxn>
              <a:cxn ang="0">
                <a:pos x="connsiteX1" y="connsiteY1"/>
              </a:cxn>
              <a:cxn ang="0">
                <a:pos x="connsiteX2" y="connsiteY2"/>
              </a:cxn>
              <a:cxn ang="0">
                <a:pos x="connsiteX3" y="connsiteY3"/>
              </a:cxn>
            </a:cxnLst>
            <a:rect l="l" t="t" r="r" b="b"/>
            <a:pathLst>
              <a:path w="1100903" h="619200">
                <a:moveTo>
                  <a:pt x="0" y="0"/>
                </a:moveTo>
                <a:lnTo>
                  <a:pt x="1100903" y="0"/>
                </a:lnTo>
                <a:lnTo>
                  <a:pt x="1100903" y="619200"/>
                </a:lnTo>
                <a:lnTo>
                  <a:pt x="0" y="619200"/>
                </a:lnTo>
                <a:close/>
              </a:path>
            </a:pathLst>
          </a:custGeom>
          <a:noFill/>
          <a:ln w="114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3786E751-57D9-4C2B-A06E-60CD5FE60C97}"/>
              </a:ext>
            </a:extLst>
          </p:cNvPr>
          <p:cNvSpPr/>
          <p:nvPr/>
        </p:nvSpPr>
        <p:spPr>
          <a:xfrm>
            <a:off x="-1" y="-49108"/>
            <a:ext cx="12192125" cy="6857999"/>
          </a:xfrm>
          <a:custGeom>
            <a:avLst/>
            <a:gdLst>
              <a:gd name="connsiteX0" fmla="*/ 0 w 12192125"/>
              <a:gd name="connsiteY0" fmla="*/ 0 h 6857999"/>
              <a:gd name="connsiteX1" fmla="*/ 12192126 w 12192125"/>
              <a:gd name="connsiteY1" fmla="*/ 0 h 6857999"/>
              <a:gd name="connsiteX2" fmla="*/ 12192126 w 12192125"/>
              <a:gd name="connsiteY2" fmla="*/ 6857999 h 6857999"/>
              <a:gd name="connsiteX3" fmla="*/ 0 w 1219212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125" h="6857999">
                <a:moveTo>
                  <a:pt x="0" y="0"/>
                </a:moveTo>
                <a:lnTo>
                  <a:pt x="12192126" y="0"/>
                </a:lnTo>
                <a:lnTo>
                  <a:pt x="12192126" y="6857999"/>
                </a:lnTo>
                <a:lnTo>
                  <a:pt x="0" y="6857999"/>
                </a:lnTo>
                <a:close/>
              </a:path>
            </a:pathLst>
          </a:custGeom>
          <a:noFill/>
          <a:ln w="12690"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7F2B3881-4330-4017-A73B-0482E4BA5A07}"/>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7826C91B-FE38-4E67-81B3-F37DF7FA9765}"/>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CA8B3DCA-50C5-4313-B797-318FE3CECA01}"/>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49E25AF8-DB78-48DE-9F1A-C4EE739E577D}"/>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BCA0938-8A11-4B15-956F-3550D2AF9C90}"/>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9691F4C-685D-4CDA-A320-97078A5E5885}"/>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D66DC782-5573-42F8-9128-BAE8D5B23626}"/>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7EB7EFBA-995D-493D-B032-7FAD4708FEDE}"/>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35991226-06AD-4618-AF4B-05632532D595}"/>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4793C5B4-9752-4964-9D24-8870AE4659C6}"/>
              </a:ext>
            </a:extLst>
          </p:cNvPr>
          <p:cNvSpPr/>
          <p:nvPr/>
        </p:nvSpPr>
        <p:spPr>
          <a:xfrm>
            <a:off x="454409" y="2997716"/>
            <a:ext cx="2588256" cy="3158926"/>
          </a:xfrm>
          <a:custGeom>
            <a:avLst/>
            <a:gdLst>
              <a:gd name="connsiteX0" fmla="*/ 1040913 w 2848250"/>
              <a:gd name="connsiteY0" fmla="*/ 3476244 h 3476245"/>
              <a:gd name="connsiteX1" fmla="*/ 992526 w 2848250"/>
              <a:gd name="connsiteY1" fmla="*/ 3475355 h 3476245"/>
              <a:gd name="connsiteX2" fmla="*/ 264308 w 2848250"/>
              <a:gd name="connsiteY2" fmla="*/ 3112008 h 3476245"/>
              <a:gd name="connsiteX3" fmla="*/ 3831 w 2848250"/>
              <a:gd name="connsiteY3" fmla="*/ 2333244 h 3476245"/>
              <a:gd name="connsiteX4" fmla="*/ 324506 w 2848250"/>
              <a:gd name="connsiteY4" fmla="*/ 1649984 h 3476245"/>
              <a:gd name="connsiteX5" fmla="*/ 830093 w 2848250"/>
              <a:gd name="connsiteY5" fmla="*/ 1345184 h 3476245"/>
              <a:gd name="connsiteX6" fmla="*/ 805963 w 2848250"/>
              <a:gd name="connsiteY6" fmla="*/ 1314704 h 3476245"/>
              <a:gd name="connsiteX7" fmla="*/ 804312 w 2848250"/>
              <a:gd name="connsiteY7" fmla="*/ 1312672 h 3476245"/>
              <a:gd name="connsiteX8" fmla="*/ 529865 w 2848250"/>
              <a:gd name="connsiteY8" fmla="*/ 771906 h 3476245"/>
              <a:gd name="connsiteX9" fmla="*/ 738653 w 2848250"/>
              <a:gd name="connsiteY9" fmla="*/ 211201 h 3476245"/>
              <a:gd name="connsiteX10" fmla="*/ 1265068 w 2848250"/>
              <a:gd name="connsiteY10" fmla="*/ 0 h 3476245"/>
              <a:gd name="connsiteX11" fmla="*/ 1332251 w 2848250"/>
              <a:gd name="connsiteY11" fmla="*/ 2667 h 3476245"/>
              <a:gd name="connsiteX12" fmla="*/ 1956583 w 2848250"/>
              <a:gd name="connsiteY12" fmla="*/ 646430 h 3476245"/>
              <a:gd name="connsiteX13" fmla="*/ 1664483 w 2848250"/>
              <a:gd name="connsiteY13" fmla="*/ 1206119 h 3476245"/>
              <a:gd name="connsiteX14" fmla="*/ 1254527 w 2848250"/>
              <a:gd name="connsiteY14" fmla="*/ 1460119 h 3476245"/>
              <a:gd name="connsiteX15" fmla="*/ 2175404 w 2848250"/>
              <a:gd name="connsiteY15" fmla="*/ 2642108 h 3476245"/>
              <a:gd name="connsiteX16" fmla="*/ 2295165 w 2848250"/>
              <a:gd name="connsiteY16" fmla="*/ 2789174 h 3476245"/>
              <a:gd name="connsiteX17" fmla="*/ 2593488 w 2848250"/>
              <a:gd name="connsiteY17" fmla="*/ 3108833 h 3476245"/>
              <a:gd name="connsiteX18" fmla="*/ 2621429 w 2848250"/>
              <a:gd name="connsiteY18" fmla="*/ 3131439 h 3476245"/>
              <a:gd name="connsiteX19" fmla="*/ 2627270 w 2848250"/>
              <a:gd name="connsiteY19" fmla="*/ 3136392 h 3476245"/>
              <a:gd name="connsiteX20" fmla="*/ 2714900 w 2848250"/>
              <a:gd name="connsiteY20" fmla="*/ 3141853 h 3476245"/>
              <a:gd name="connsiteX21" fmla="*/ 2848250 w 2848250"/>
              <a:gd name="connsiteY21" fmla="*/ 3141853 h 3476245"/>
              <a:gd name="connsiteX22" fmla="*/ 2848250 w 2848250"/>
              <a:gd name="connsiteY22" fmla="*/ 3408553 h 3476245"/>
              <a:gd name="connsiteX23" fmla="*/ 2714900 w 2848250"/>
              <a:gd name="connsiteY23" fmla="*/ 3408553 h 3476245"/>
              <a:gd name="connsiteX24" fmla="*/ 2446930 w 2848250"/>
              <a:gd name="connsiteY24" fmla="*/ 3333623 h 3476245"/>
              <a:gd name="connsiteX25" fmla="*/ 2434230 w 2848250"/>
              <a:gd name="connsiteY25" fmla="*/ 3322955 h 3476245"/>
              <a:gd name="connsiteX26" fmla="*/ 2102125 w 2848250"/>
              <a:gd name="connsiteY26" fmla="*/ 2973959 h 3476245"/>
              <a:gd name="connsiteX27" fmla="*/ 1641115 w 2848250"/>
              <a:gd name="connsiteY27" fmla="*/ 3332353 h 3476245"/>
              <a:gd name="connsiteX28" fmla="*/ 1040913 w 2848250"/>
              <a:gd name="connsiteY28" fmla="*/ 3476244 h 3476245"/>
              <a:gd name="connsiteX29" fmla="*/ 931693 w 2848250"/>
              <a:gd name="connsiteY29" fmla="*/ 1592326 h 3476245"/>
              <a:gd name="connsiteX30" fmla="*/ 506624 w 2848250"/>
              <a:gd name="connsiteY30" fmla="*/ 1845437 h 3476245"/>
              <a:gd name="connsiteX31" fmla="*/ 269642 w 2848250"/>
              <a:gd name="connsiteY31" fmla="*/ 2354707 h 3476245"/>
              <a:gd name="connsiteX32" fmla="*/ 463444 w 2848250"/>
              <a:gd name="connsiteY32" fmla="*/ 2934335 h 3476245"/>
              <a:gd name="connsiteX33" fmla="*/ 1001416 w 2848250"/>
              <a:gd name="connsiteY33" fmla="*/ 3208655 h 3476245"/>
              <a:gd name="connsiteX34" fmla="*/ 1521354 w 2848250"/>
              <a:gd name="connsiteY34" fmla="*/ 3094355 h 3476245"/>
              <a:gd name="connsiteX35" fmla="*/ 1932199 w 2848250"/>
              <a:gd name="connsiteY35" fmla="*/ 2765044 h 3476245"/>
              <a:gd name="connsiteX36" fmla="*/ 1884066 w 2848250"/>
              <a:gd name="connsiteY36" fmla="*/ 2705862 h 3476245"/>
              <a:gd name="connsiteX37" fmla="*/ 1886225 w 2848250"/>
              <a:gd name="connsiteY37" fmla="*/ 2704084 h 3476245"/>
              <a:gd name="connsiteX38" fmla="*/ 1000400 w 2848250"/>
              <a:gd name="connsiteY38" fmla="*/ 1567434 h 3476245"/>
              <a:gd name="connsiteX39" fmla="*/ 2592726 w 2848250"/>
              <a:gd name="connsiteY39" fmla="*/ 3107944 h 3476245"/>
              <a:gd name="connsiteX40" fmla="*/ 2592726 w 2848250"/>
              <a:gd name="connsiteY40" fmla="*/ 3107944 h 3476245"/>
              <a:gd name="connsiteX41" fmla="*/ 1264814 w 2848250"/>
              <a:gd name="connsiteY41" fmla="*/ 267081 h 3476245"/>
              <a:gd name="connsiteX42" fmla="*/ 928010 w 2848250"/>
              <a:gd name="connsiteY42" fmla="*/ 399161 h 3476245"/>
              <a:gd name="connsiteX43" fmla="*/ 795295 w 2848250"/>
              <a:gd name="connsiteY43" fmla="*/ 748665 h 3476245"/>
              <a:gd name="connsiteX44" fmla="*/ 1012592 w 2848250"/>
              <a:gd name="connsiteY44" fmla="*/ 1146683 h 3476245"/>
              <a:gd name="connsiteX45" fmla="*/ 1014116 w 2848250"/>
              <a:gd name="connsiteY45" fmla="*/ 1148715 h 3476245"/>
              <a:gd name="connsiteX46" fmla="*/ 1088030 w 2848250"/>
              <a:gd name="connsiteY46" fmla="*/ 1243330 h 3476245"/>
              <a:gd name="connsiteX47" fmla="*/ 1088030 w 2848250"/>
              <a:gd name="connsiteY47" fmla="*/ 1243330 h 3476245"/>
              <a:gd name="connsiteX48" fmla="*/ 1088030 w 2848250"/>
              <a:gd name="connsiteY48" fmla="*/ 1243330 h 3476245"/>
              <a:gd name="connsiteX49" fmla="*/ 1088030 w 2848250"/>
              <a:gd name="connsiteY49" fmla="*/ 1243330 h 3476245"/>
              <a:gd name="connsiteX50" fmla="*/ 1491382 w 2848250"/>
              <a:gd name="connsiteY50" fmla="*/ 1002792 h 3476245"/>
              <a:gd name="connsiteX51" fmla="*/ 1688867 w 2848250"/>
              <a:gd name="connsiteY51" fmla="*/ 648081 h 3476245"/>
              <a:gd name="connsiteX52" fmla="*/ 1310661 w 2848250"/>
              <a:gd name="connsiteY52" fmla="*/ 268732 h 3476245"/>
              <a:gd name="connsiteX53" fmla="*/ 1264814 w 2848250"/>
              <a:gd name="connsiteY53" fmla="*/ 267081 h 3476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848250" h="3476245">
                <a:moveTo>
                  <a:pt x="1040913" y="3476244"/>
                </a:moveTo>
                <a:cubicBezTo>
                  <a:pt x="1024911" y="3476244"/>
                  <a:pt x="1008528" y="3476244"/>
                  <a:pt x="992526" y="3475355"/>
                </a:cubicBezTo>
                <a:cubicBezTo>
                  <a:pt x="727604" y="3466592"/>
                  <a:pt x="462174" y="3334131"/>
                  <a:pt x="264308" y="3112008"/>
                </a:cubicBezTo>
                <a:cubicBezTo>
                  <a:pt x="73564" y="2899588"/>
                  <a:pt x="-20728" y="2617678"/>
                  <a:pt x="3831" y="2333244"/>
                </a:cubicBezTo>
                <a:cubicBezTo>
                  <a:pt x="24532" y="2056130"/>
                  <a:pt x="129434" y="1832356"/>
                  <a:pt x="324506" y="1649984"/>
                </a:cubicBezTo>
                <a:cubicBezTo>
                  <a:pt x="493797" y="1491615"/>
                  <a:pt x="692806" y="1400302"/>
                  <a:pt x="830093" y="1345184"/>
                </a:cubicBezTo>
                <a:lnTo>
                  <a:pt x="805963" y="1314704"/>
                </a:lnTo>
                <a:lnTo>
                  <a:pt x="804312" y="1312672"/>
                </a:lnTo>
                <a:cubicBezTo>
                  <a:pt x="678836" y="1154684"/>
                  <a:pt x="549423" y="991870"/>
                  <a:pt x="529865" y="771906"/>
                </a:cubicBezTo>
                <a:cubicBezTo>
                  <a:pt x="512339" y="574421"/>
                  <a:pt x="592349" y="359664"/>
                  <a:pt x="738653" y="211201"/>
                </a:cubicBezTo>
                <a:cubicBezTo>
                  <a:pt x="875940" y="73025"/>
                  <a:pt x="1057804" y="0"/>
                  <a:pt x="1265068" y="0"/>
                </a:cubicBezTo>
                <a:cubicBezTo>
                  <a:pt x="1288563" y="0"/>
                  <a:pt x="1310534" y="889"/>
                  <a:pt x="1332251" y="2667"/>
                </a:cubicBezTo>
                <a:cubicBezTo>
                  <a:pt x="1697376" y="29337"/>
                  <a:pt x="1954551" y="294132"/>
                  <a:pt x="1956583" y="646430"/>
                </a:cubicBezTo>
                <a:cubicBezTo>
                  <a:pt x="1957726" y="852551"/>
                  <a:pt x="1859682" y="1040765"/>
                  <a:pt x="1664483" y="1206119"/>
                </a:cubicBezTo>
                <a:cubicBezTo>
                  <a:pt x="1558819" y="1295654"/>
                  <a:pt x="1424326" y="1379093"/>
                  <a:pt x="1254527" y="1460119"/>
                </a:cubicBezTo>
                <a:lnTo>
                  <a:pt x="2175404" y="2642108"/>
                </a:lnTo>
                <a:lnTo>
                  <a:pt x="2295165" y="2789174"/>
                </a:lnTo>
                <a:cubicBezTo>
                  <a:pt x="2437151" y="2951861"/>
                  <a:pt x="2567961" y="3087370"/>
                  <a:pt x="2593488" y="3108833"/>
                </a:cubicBezTo>
                <a:cubicBezTo>
                  <a:pt x="2605299" y="3117469"/>
                  <a:pt x="2614570" y="3125470"/>
                  <a:pt x="2621429" y="3131439"/>
                </a:cubicBezTo>
                <a:lnTo>
                  <a:pt x="2627270" y="3136392"/>
                </a:lnTo>
                <a:cubicBezTo>
                  <a:pt x="2656210" y="3141259"/>
                  <a:pt x="2685580" y="3143089"/>
                  <a:pt x="2714900" y="3141853"/>
                </a:cubicBezTo>
                <a:lnTo>
                  <a:pt x="2848250" y="3141853"/>
                </a:lnTo>
                <a:lnTo>
                  <a:pt x="2848250" y="3408553"/>
                </a:lnTo>
                <a:lnTo>
                  <a:pt x="2714900" y="3408553"/>
                </a:lnTo>
                <a:cubicBezTo>
                  <a:pt x="2560214" y="3408553"/>
                  <a:pt x="2507636" y="3385820"/>
                  <a:pt x="2446930" y="3333623"/>
                </a:cubicBezTo>
                <a:cubicBezTo>
                  <a:pt x="2441977" y="3329305"/>
                  <a:pt x="2437913" y="3325876"/>
                  <a:pt x="2434230" y="3322955"/>
                </a:cubicBezTo>
                <a:cubicBezTo>
                  <a:pt x="2383430" y="3285744"/>
                  <a:pt x="2210075" y="3097149"/>
                  <a:pt x="2102125" y="2973959"/>
                </a:cubicBezTo>
                <a:cubicBezTo>
                  <a:pt x="1959504" y="3129026"/>
                  <a:pt x="1804564" y="3249422"/>
                  <a:pt x="1641115" y="3332353"/>
                </a:cubicBezTo>
                <a:cubicBezTo>
                  <a:pt x="1455274" y="3427192"/>
                  <a:pt x="1249555" y="3476510"/>
                  <a:pt x="1040913" y="3476244"/>
                </a:cubicBezTo>
                <a:close/>
                <a:moveTo>
                  <a:pt x="931693" y="1592326"/>
                </a:moveTo>
                <a:cubicBezTo>
                  <a:pt x="814726" y="1639443"/>
                  <a:pt x="644292" y="1716659"/>
                  <a:pt x="506624" y="1845437"/>
                </a:cubicBezTo>
                <a:cubicBezTo>
                  <a:pt x="360828" y="1981835"/>
                  <a:pt x="285517" y="2143633"/>
                  <a:pt x="269642" y="2354707"/>
                </a:cubicBezTo>
                <a:cubicBezTo>
                  <a:pt x="251454" y="2566386"/>
                  <a:pt x="321595" y="2776166"/>
                  <a:pt x="463444" y="2934335"/>
                </a:cubicBezTo>
                <a:cubicBezTo>
                  <a:pt x="610764" y="3099435"/>
                  <a:pt x="811932" y="3202305"/>
                  <a:pt x="1001416" y="3208655"/>
                </a:cubicBezTo>
                <a:cubicBezTo>
                  <a:pt x="1181635" y="3215452"/>
                  <a:pt x="1360603" y="3176109"/>
                  <a:pt x="1521354" y="3094355"/>
                </a:cubicBezTo>
                <a:cubicBezTo>
                  <a:pt x="1665753" y="3021076"/>
                  <a:pt x="1804056" y="2910332"/>
                  <a:pt x="1932199" y="2765044"/>
                </a:cubicBezTo>
                <a:lnTo>
                  <a:pt x="1884066" y="2705862"/>
                </a:lnTo>
                <a:lnTo>
                  <a:pt x="1886225" y="2704084"/>
                </a:lnTo>
                <a:lnTo>
                  <a:pt x="1000400" y="1567434"/>
                </a:lnTo>
                <a:close/>
                <a:moveTo>
                  <a:pt x="2592726" y="3107944"/>
                </a:moveTo>
                <a:lnTo>
                  <a:pt x="2592726" y="3107944"/>
                </a:lnTo>
                <a:close/>
                <a:moveTo>
                  <a:pt x="1264814" y="267081"/>
                </a:moveTo>
                <a:cubicBezTo>
                  <a:pt x="1130321" y="267081"/>
                  <a:pt x="1013735" y="312801"/>
                  <a:pt x="928010" y="399161"/>
                </a:cubicBezTo>
                <a:cubicBezTo>
                  <a:pt x="836824" y="491617"/>
                  <a:pt x="784627" y="628904"/>
                  <a:pt x="795295" y="748665"/>
                </a:cubicBezTo>
                <a:cubicBezTo>
                  <a:pt x="807995" y="888365"/>
                  <a:pt x="902610" y="1008380"/>
                  <a:pt x="1012592" y="1146683"/>
                </a:cubicBezTo>
                <a:lnTo>
                  <a:pt x="1014116" y="1148715"/>
                </a:lnTo>
                <a:cubicBezTo>
                  <a:pt x="1040786" y="1182243"/>
                  <a:pt x="1064916" y="1212215"/>
                  <a:pt x="1088030" y="1243330"/>
                </a:cubicBezTo>
                <a:lnTo>
                  <a:pt x="1088030" y="1243330"/>
                </a:lnTo>
                <a:lnTo>
                  <a:pt x="1088030" y="1243330"/>
                </a:lnTo>
                <a:lnTo>
                  <a:pt x="1088030" y="1243330"/>
                </a:lnTo>
                <a:cubicBezTo>
                  <a:pt x="1261639" y="1164590"/>
                  <a:pt x="1393592" y="1085850"/>
                  <a:pt x="1491382" y="1002792"/>
                </a:cubicBezTo>
                <a:cubicBezTo>
                  <a:pt x="1623081" y="891032"/>
                  <a:pt x="1689502" y="771652"/>
                  <a:pt x="1688867" y="648081"/>
                </a:cubicBezTo>
                <a:cubicBezTo>
                  <a:pt x="1687597" y="434340"/>
                  <a:pt x="1539134" y="285369"/>
                  <a:pt x="1310661" y="268732"/>
                </a:cubicBezTo>
                <a:cubicBezTo>
                  <a:pt x="1296056" y="267716"/>
                  <a:pt x="1281197" y="267081"/>
                  <a:pt x="1264814" y="267081"/>
                </a:cubicBezTo>
                <a:close/>
              </a:path>
            </a:pathLst>
          </a:custGeom>
          <a:solidFill>
            <a:srgbClr val="FFFFFF"/>
          </a:solid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B255A575-2D29-4CA2-B8AD-621A7489E9F3}"/>
              </a:ext>
            </a:extLst>
          </p:cNvPr>
          <p:cNvSpPr/>
          <p:nvPr/>
        </p:nvSpPr>
        <p:spPr>
          <a:xfrm>
            <a:off x="2195899" y="4546596"/>
            <a:ext cx="5688673" cy="1147495"/>
          </a:xfrm>
          <a:custGeom>
            <a:avLst/>
            <a:gdLst>
              <a:gd name="connsiteX0" fmla="*/ 133376 w 6260109"/>
              <a:gd name="connsiteY0" fmla="*/ 1262761 h 1262763"/>
              <a:gd name="connsiteX1" fmla="*/ 0 w 6260109"/>
              <a:gd name="connsiteY1" fmla="*/ 1129437 h 1262763"/>
              <a:gd name="connsiteX2" fmla="*/ 35458 w 6260109"/>
              <a:gd name="connsiteY2" fmla="*/ 1038860 h 1262763"/>
              <a:gd name="connsiteX3" fmla="*/ 55017 w 6260109"/>
              <a:gd name="connsiteY3" fmla="*/ 1016635 h 1262763"/>
              <a:gd name="connsiteX4" fmla="*/ 126137 w 6260109"/>
              <a:gd name="connsiteY4" fmla="*/ 927735 h 1262763"/>
              <a:gd name="connsiteX5" fmla="*/ 154458 w 6260109"/>
              <a:gd name="connsiteY5" fmla="*/ 890397 h 1262763"/>
              <a:gd name="connsiteX6" fmla="*/ 178715 w 6260109"/>
              <a:gd name="connsiteY6" fmla="*/ 849376 h 1262763"/>
              <a:gd name="connsiteX7" fmla="*/ 216815 w 6260109"/>
              <a:gd name="connsiteY7" fmla="*/ 772033 h 1262763"/>
              <a:gd name="connsiteX8" fmla="*/ 243739 w 6260109"/>
              <a:gd name="connsiteY8" fmla="*/ 708533 h 1262763"/>
              <a:gd name="connsiteX9" fmla="*/ 262662 w 6260109"/>
              <a:gd name="connsiteY9" fmla="*/ 648716 h 1262763"/>
              <a:gd name="connsiteX10" fmla="*/ 277013 w 6260109"/>
              <a:gd name="connsiteY10" fmla="*/ 581406 h 1262763"/>
              <a:gd name="connsiteX11" fmla="*/ 288570 w 6260109"/>
              <a:gd name="connsiteY11" fmla="*/ 496697 h 1262763"/>
              <a:gd name="connsiteX12" fmla="*/ 298349 w 6260109"/>
              <a:gd name="connsiteY12" fmla="*/ 387477 h 1262763"/>
              <a:gd name="connsiteX13" fmla="*/ 299111 w 6260109"/>
              <a:gd name="connsiteY13" fmla="*/ 377317 h 1262763"/>
              <a:gd name="connsiteX14" fmla="*/ 307620 w 6260109"/>
              <a:gd name="connsiteY14" fmla="*/ 249174 h 1262763"/>
              <a:gd name="connsiteX15" fmla="*/ 313589 w 6260109"/>
              <a:gd name="connsiteY15" fmla="*/ 127000 h 1262763"/>
              <a:gd name="connsiteX16" fmla="*/ 446812 w 6260109"/>
              <a:gd name="connsiteY16" fmla="*/ 0 h 1262763"/>
              <a:gd name="connsiteX17" fmla="*/ 6126760 w 6260109"/>
              <a:gd name="connsiteY17" fmla="*/ 0 h 1262763"/>
              <a:gd name="connsiteX18" fmla="*/ 6260110 w 6260109"/>
              <a:gd name="connsiteY18" fmla="*/ 133350 h 1262763"/>
              <a:gd name="connsiteX19" fmla="*/ 6126760 w 6260109"/>
              <a:gd name="connsiteY19" fmla="*/ 266700 h 1262763"/>
              <a:gd name="connsiteX20" fmla="*/ 573939 w 6260109"/>
              <a:gd name="connsiteY20" fmla="*/ 266700 h 1262763"/>
              <a:gd name="connsiteX21" fmla="*/ 565176 w 6260109"/>
              <a:gd name="connsiteY21" fmla="*/ 397383 h 1262763"/>
              <a:gd name="connsiteX22" fmla="*/ 564414 w 6260109"/>
              <a:gd name="connsiteY22" fmla="*/ 407416 h 1262763"/>
              <a:gd name="connsiteX23" fmla="*/ 553873 w 6260109"/>
              <a:gd name="connsiteY23" fmla="*/ 525526 h 1262763"/>
              <a:gd name="connsiteX24" fmla="*/ 540030 w 6260109"/>
              <a:gd name="connsiteY24" fmla="*/ 626237 h 1262763"/>
              <a:gd name="connsiteX25" fmla="*/ 520599 w 6260109"/>
              <a:gd name="connsiteY25" fmla="*/ 716788 h 1262763"/>
              <a:gd name="connsiteX26" fmla="*/ 493929 w 6260109"/>
              <a:gd name="connsiteY26" fmla="*/ 800989 h 1262763"/>
              <a:gd name="connsiteX27" fmla="*/ 459131 w 6260109"/>
              <a:gd name="connsiteY27" fmla="*/ 884301 h 1262763"/>
              <a:gd name="connsiteX28" fmla="*/ 415697 w 6260109"/>
              <a:gd name="connsiteY28" fmla="*/ 972058 h 1262763"/>
              <a:gd name="connsiteX29" fmla="*/ 368198 w 6260109"/>
              <a:gd name="connsiteY29" fmla="*/ 1050290 h 1262763"/>
              <a:gd name="connsiteX30" fmla="*/ 337846 w 6260109"/>
              <a:gd name="connsiteY30" fmla="*/ 1090295 h 1262763"/>
              <a:gd name="connsiteX31" fmla="*/ 258217 w 6260109"/>
              <a:gd name="connsiteY31" fmla="*/ 1190117 h 1262763"/>
              <a:gd name="connsiteX32" fmla="*/ 231166 w 6260109"/>
              <a:gd name="connsiteY32" fmla="*/ 1220724 h 1262763"/>
              <a:gd name="connsiteX33" fmla="*/ 133376 w 6260109"/>
              <a:gd name="connsiteY33" fmla="*/ 1262761 h 126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260109" h="1262763">
                <a:moveTo>
                  <a:pt x="133376" y="1262761"/>
                </a:moveTo>
                <a:cubicBezTo>
                  <a:pt x="59728" y="1262775"/>
                  <a:pt x="14" y="1203084"/>
                  <a:pt x="0" y="1129437"/>
                </a:cubicBezTo>
                <a:cubicBezTo>
                  <a:pt x="-6" y="1095857"/>
                  <a:pt x="12656" y="1063511"/>
                  <a:pt x="35458" y="1038860"/>
                </a:cubicBezTo>
                <a:cubicBezTo>
                  <a:pt x="42190" y="1031621"/>
                  <a:pt x="48159" y="1024128"/>
                  <a:pt x="55017" y="1016635"/>
                </a:cubicBezTo>
                <a:cubicBezTo>
                  <a:pt x="80417" y="987298"/>
                  <a:pt x="103912" y="956310"/>
                  <a:pt x="126137" y="927735"/>
                </a:cubicBezTo>
                <a:cubicBezTo>
                  <a:pt x="135662" y="915035"/>
                  <a:pt x="145187" y="902335"/>
                  <a:pt x="154458" y="890397"/>
                </a:cubicBezTo>
                <a:cubicBezTo>
                  <a:pt x="163675" y="877426"/>
                  <a:pt x="171790" y="863704"/>
                  <a:pt x="178715" y="849376"/>
                </a:cubicBezTo>
                <a:cubicBezTo>
                  <a:pt x="194336" y="819150"/>
                  <a:pt x="206528" y="794639"/>
                  <a:pt x="216815" y="772033"/>
                </a:cubicBezTo>
                <a:cubicBezTo>
                  <a:pt x="227102" y="749427"/>
                  <a:pt x="236246" y="727964"/>
                  <a:pt x="243739" y="708533"/>
                </a:cubicBezTo>
                <a:cubicBezTo>
                  <a:pt x="251232" y="689102"/>
                  <a:pt x="257455" y="668274"/>
                  <a:pt x="262662" y="648716"/>
                </a:cubicBezTo>
                <a:cubicBezTo>
                  <a:pt x="267869" y="629158"/>
                  <a:pt x="272822" y="606171"/>
                  <a:pt x="277013" y="581406"/>
                </a:cubicBezTo>
                <a:cubicBezTo>
                  <a:pt x="281204" y="556641"/>
                  <a:pt x="284887" y="529717"/>
                  <a:pt x="288570" y="496697"/>
                </a:cubicBezTo>
                <a:cubicBezTo>
                  <a:pt x="292253" y="463677"/>
                  <a:pt x="295301" y="428879"/>
                  <a:pt x="298349" y="387477"/>
                </a:cubicBezTo>
                <a:lnTo>
                  <a:pt x="299111" y="377317"/>
                </a:lnTo>
                <a:cubicBezTo>
                  <a:pt x="302540" y="332994"/>
                  <a:pt x="305715" y="291211"/>
                  <a:pt x="307620" y="249174"/>
                </a:cubicBezTo>
                <a:lnTo>
                  <a:pt x="313589" y="127000"/>
                </a:lnTo>
                <a:cubicBezTo>
                  <a:pt x="316915" y="55864"/>
                  <a:pt x="375598" y="-78"/>
                  <a:pt x="446812" y="0"/>
                </a:cubicBezTo>
                <a:lnTo>
                  <a:pt x="6126760" y="0"/>
                </a:lnTo>
                <a:cubicBezTo>
                  <a:pt x="6200407" y="0"/>
                  <a:pt x="6260110" y="59703"/>
                  <a:pt x="6260110" y="133350"/>
                </a:cubicBezTo>
                <a:cubicBezTo>
                  <a:pt x="6260110" y="206997"/>
                  <a:pt x="6200407" y="266700"/>
                  <a:pt x="6126760" y="266700"/>
                </a:cubicBezTo>
                <a:lnTo>
                  <a:pt x="573939" y="266700"/>
                </a:lnTo>
                <a:cubicBezTo>
                  <a:pt x="571780" y="310769"/>
                  <a:pt x="568478" y="354711"/>
                  <a:pt x="565176" y="397383"/>
                </a:cubicBezTo>
                <a:lnTo>
                  <a:pt x="564414" y="407416"/>
                </a:lnTo>
                <a:cubicBezTo>
                  <a:pt x="561112" y="451612"/>
                  <a:pt x="557683" y="490220"/>
                  <a:pt x="553873" y="525526"/>
                </a:cubicBezTo>
                <a:cubicBezTo>
                  <a:pt x="549555" y="564261"/>
                  <a:pt x="545237" y="596138"/>
                  <a:pt x="540030" y="626237"/>
                </a:cubicBezTo>
                <a:cubicBezTo>
                  <a:pt x="534442" y="659257"/>
                  <a:pt x="528092" y="688721"/>
                  <a:pt x="520599" y="716788"/>
                </a:cubicBezTo>
                <a:cubicBezTo>
                  <a:pt x="513106" y="744855"/>
                  <a:pt x="504470" y="772541"/>
                  <a:pt x="493929" y="800989"/>
                </a:cubicBezTo>
                <a:cubicBezTo>
                  <a:pt x="483388" y="829437"/>
                  <a:pt x="472593" y="854837"/>
                  <a:pt x="459131" y="884301"/>
                </a:cubicBezTo>
                <a:cubicBezTo>
                  <a:pt x="446431" y="910717"/>
                  <a:pt x="433096" y="938530"/>
                  <a:pt x="415697" y="972058"/>
                </a:cubicBezTo>
                <a:cubicBezTo>
                  <a:pt x="402138" y="999450"/>
                  <a:pt x="386246" y="1025624"/>
                  <a:pt x="368198" y="1050290"/>
                </a:cubicBezTo>
                <a:cubicBezTo>
                  <a:pt x="358420" y="1062990"/>
                  <a:pt x="348260" y="1076833"/>
                  <a:pt x="337846" y="1090295"/>
                </a:cubicBezTo>
                <a:cubicBezTo>
                  <a:pt x="313589" y="1122045"/>
                  <a:pt x="287046" y="1156081"/>
                  <a:pt x="258217" y="1190117"/>
                </a:cubicBezTo>
                <a:cubicBezTo>
                  <a:pt x="249327" y="1200658"/>
                  <a:pt x="240310" y="1210818"/>
                  <a:pt x="231166" y="1220724"/>
                </a:cubicBezTo>
                <a:cubicBezTo>
                  <a:pt x="205862" y="1247767"/>
                  <a:pt x="170410" y="1263007"/>
                  <a:pt x="133376" y="1262761"/>
                </a:cubicBezTo>
                <a:close/>
              </a:path>
            </a:pathLst>
          </a:custGeom>
          <a:solidFill>
            <a:srgbClr val="FFFFFF"/>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31DE123E-D31C-47E2-B6A2-E845018881F6}"/>
              </a:ext>
            </a:extLst>
          </p:cNvPr>
          <p:cNvSpPr/>
          <p:nvPr userDrawn="1"/>
        </p:nvSpPr>
        <p:spPr>
          <a:xfrm>
            <a:off x="0" y="6632027"/>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07DD3772-4C5E-4589-849B-676727EF93D3}"/>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B84D6F7B-84CF-4FD4-8E0D-D783C92E5AA5}"/>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6098140E-9523-4D50-A767-DFEABC069AAF}"/>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EB210967-FC0C-484A-B475-EE3D190F0D45}"/>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90801025-63AB-49AD-B7C3-D54BC5762BFF}"/>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1A387142-1CBE-479E-A4CD-E1AE75FC57D3}"/>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91A3FA16-8969-49BA-B400-AFCF765C7CE6}"/>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64AE879F-0775-43FE-BD16-BAE89045536C}"/>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1EB5652B-F1E2-42E9-8A1A-CD2E973C3920}"/>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B1B1D95B-8EC7-4608-A0AB-AD3EE1331486}"/>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7DA7A5E-2079-43DB-BC49-9D77FBA5F938}"/>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47982341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accent1"/>
        </a:solidFill>
        <a:effectLst/>
      </p:bgPr>
    </p:bg>
    <p:spTree>
      <p:nvGrpSpPr>
        <p:cNvPr id="1" name=""/>
        <p:cNvGrpSpPr/>
        <p:nvPr/>
      </p:nvGrpSpPr>
      <p:grpSpPr>
        <a:xfrm>
          <a:off x="0" y="0"/>
          <a:ext cx="0" cy="0"/>
          <a:chOff x="0" y="0"/>
          <a:chExt cx="0" cy="0"/>
        </a:xfrm>
      </p:grpSpPr>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0" y="0"/>
            <a:ext cx="12192000" cy="6858000"/>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9" name="Logo Text Fill">
            <a:extLst>
              <a:ext uri="{FF2B5EF4-FFF2-40B4-BE49-F238E27FC236}">
                <a16:creationId xmlns:a16="http://schemas.microsoft.com/office/drawing/2014/main" id="{0455E612-50B1-4F98-B135-B53AABD3FE47}"/>
              </a:ext>
            </a:extLst>
          </p:cNvPr>
          <p:cNvSpPr>
            <a:spLocks noGrp="1" noChangeAspect="1"/>
          </p:cNvSpPr>
          <p:nvPr>
            <p:ph type="body" sz="quarter" idx="12" hasCustomPrompt="1"/>
          </p:nvPr>
        </p:nvSpPr>
        <p:spPr>
          <a:xfrm>
            <a:off x="719137" y="719139"/>
            <a:ext cx="1821600" cy="321760"/>
          </a:xfrm>
          <a:blipFill>
            <a:blip r:embed="rId2"/>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393763265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1"/>
        </a:solidFill>
        <a:effectLst/>
      </p:bgPr>
    </p:bg>
    <p:spTree>
      <p:nvGrpSpPr>
        <p:cNvPr id="1" name=""/>
        <p:cNvGrpSpPr/>
        <p:nvPr/>
      </p:nvGrpSpPr>
      <p:grpSpPr>
        <a:xfrm>
          <a:off x="0" y="0"/>
          <a:ext cx="0" cy="0"/>
          <a:chOff x="0" y="0"/>
          <a:chExt cx="0" cy="0"/>
        </a:xfrm>
      </p:grpSpPr>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0" y="0"/>
            <a:ext cx="12192000" cy="6858000"/>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bg1"/>
          </a:solidFill>
        </p:spPr>
        <p:txBody>
          <a:bodyPr wrap="none" tIns="36000" rIns="72000" bIns="36000" anchor="ctr" anchorCtr="0">
            <a:spAutoFit/>
          </a:bodyPr>
          <a:lstStyle>
            <a:lvl1pPr marL="0">
              <a:defRPr sz="1600" i="1">
                <a:solidFill>
                  <a:schemeClr val="tx2"/>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dirty="0"/>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bg1"/>
                </a:solidFill>
                <a:latin typeface="+mn-lt"/>
              </a:defRPr>
            </a:lvl1pPr>
            <a:lvl2pPr marL="0" indent="0" algn="l">
              <a:lnSpc>
                <a:spcPct val="100000"/>
              </a:lnSpc>
              <a:spcBef>
                <a:spcPts val="600"/>
              </a:spcBef>
              <a:buNone/>
              <a:defRPr sz="1800">
                <a:solidFill>
                  <a:schemeClr val="bg1"/>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US"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solidFill>
                  <a:schemeClr val="bg1"/>
                </a:solidFill>
              </a:defRPr>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9" name="Logo Text Fill">
            <a:extLst>
              <a:ext uri="{FF2B5EF4-FFF2-40B4-BE49-F238E27FC236}">
                <a16:creationId xmlns:a16="http://schemas.microsoft.com/office/drawing/2014/main" id="{5885A642-AA04-4403-8AB3-F62F31CB2D44}"/>
              </a:ext>
            </a:extLst>
          </p:cNvPr>
          <p:cNvSpPr>
            <a:spLocks noGrp="1"/>
          </p:cNvSpPr>
          <p:nvPr>
            <p:ph type="body" sz="quarter" idx="12" hasCustomPrompt="1"/>
          </p:nvPr>
        </p:nvSpPr>
        <p:spPr>
          <a:xfrm>
            <a:off x="719137" y="719139"/>
            <a:ext cx="1821600" cy="320400"/>
          </a:xfrm>
          <a:blipFill>
            <a:blip r:embed="rId2"/>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37836897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Subtitle 5">
    <p:bg>
      <p:bgPr>
        <a:solidFill>
          <a:schemeClr val="accent3"/>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145309727"/>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Large Message">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C90AD-ACAB-4330-BD3E-4036A2058A52}"/>
              </a:ext>
            </a:extLst>
          </p:cNvPr>
          <p:cNvSpPr>
            <a:spLocks noGrp="1"/>
          </p:cNvSpPr>
          <p:nvPr>
            <p:ph type="title"/>
          </p:nvPr>
        </p:nvSpPr>
        <p:spPr>
          <a:xfrm>
            <a:off x="719137" y="1260000"/>
            <a:ext cx="10752138" cy="4877275"/>
          </a:xfrm>
        </p:spPr>
        <p:txBody>
          <a:bodyPr/>
          <a:lstStyle>
            <a:lvl1pPr>
              <a:defRPr sz="7200"/>
            </a:lvl1pPr>
            <a:lvl2pPr>
              <a:defRPr sz="7200"/>
            </a:lvl2pPr>
            <a:lvl3pPr>
              <a:defRPr sz="13800"/>
            </a:lvl3pPr>
            <a:lvl4pPr>
              <a:defRPr sz="13800"/>
            </a:lvl4pPr>
            <a:lvl5pPr>
              <a:defRPr sz="9600"/>
            </a:lvl5pPr>
            <a:lvl6pPr>
              <a:defRPr sz="9600"/>
            </a:lvl6pPr>
            <a:lvl7pPr>
              <a:defRPr sz="11500"/>
            </a:lvl7pPr>
            <a:lvl8pPr>
              <a:defRPr sz="11500"/>
            </a:lvl8pPr>
            <a:lvl9pPr>
              <a:defRPr sz="9600"/>
            </a:lvl9pPr>
          </a:lstStyle>
          <a:p>
            <a:pPr lvl="0"/>
            <a:r>
              <a:rPr lang="en-US"/>
              <a:t>Click to edit Master title style</a:t>
            </a:r>
            <a:endParaRPr lang="en-GB" dirty="0"/>
          </a:p>
        </p:txBody>
      </p:sp>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p>
            <a:r>
              <a:rPr lang="en-US" noProof="0"/>
              <a:t>dd Month 2021</a:t>
            </a:r>
            <a:endParaRPr lang="en-GB" noProof="0"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r>
              <a:rPr lang="en-GB" noProof="0"/>
              <a:t>Update Footer to add the Document title</a:t>
            </a:r>
            <a:endParaRPr lang="en-GB" noProof="0" dirty="0"/>
          </a:p>
        </p:txBody>
      </p:sp>
    </p:spTree>
    <p:extLst>
      <p:ext uri="{BB962C8B-B14F-4D97-AF65-F5344CB8AC3E}">
        <p14:creationId xmlns:p14="http://schemas.microsoft.com/office/powerpoint/2010/main" val="176242367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One firm. Your firm.">
    <p:bg>
      <p:bgPr>
        <a:solidFill>
          <a:schemeClr val="accent3"/>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p>
            <a:r>
              <a:rPr lang="en-US" noProof="0"/>
              <a:t>dd Month 2021</a:t>
            </a:r>
            <a:endParaRPr lang="en-GB" noProof="0"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r>
              <a:rPr lang="en-GB" noProof="0"/>
              <a:t>Update Footer to add the Document title</a:t>
            </a:r>
            <a:endParaRPr lang="en-GB" noProof="0" dirty="0"/>
          </a:p>
        </p:txBody>
      </p:sp>
      <p:grpSp>
        <p:nvGrpSpPr>
          <p:cNvPr id="6" name="Group 5">
            <a:extLst>
              <a:ext uri="{FF2B5EF4-FFF2-40B4-BE49-F238E27FC236}">
                <a16:creationId xmlns:a16="http://schemas.microsoft.com/office/drawing/2014/main" id="{09EDC675-7209-4569-9F65-274519B2E492}"/>
              </a:ext>
            </a:extLst>
          </p:cNvPr>
          <p:cNvGrpSpPr/>
          <p:nvPr userDrawn="1"/>
        </p:nvGrpSpPr>
        <p:grpSpPr>
          <a:xfrm>
            <a:off x="709879" y="718571"/>
            <a:ext cx="7409594" cy="1432213"/>
            <a:chOff x="709879" y="718571"/>
            <a:chExt cx="7409594" cy="1432213"/>
          </a:xfrm>
        </p:grpSpPr>
        <p:sp>
          <p:nvSpPr>
            <p:cNvPr id="8" name="Freeform: Shape 7">
              <a:extLst>
                <a:ext uri="{FF2B5EF4-FFF2-40B4-BE49-F238E27FC236}">
                  <a16:creationId xmlns:a16="http://schemas.microsoft.com/office/drawing/2014/main" id="{377A88E0-DF56-4A5E-A11B-8EE905C14401}"/>
                </a:ext>
              </a:extLst>
            </p:cNvPr>
            <p:cNvSpPr/>
            <p:nvPr/>
          </p:nvSpPr>
          <p:spPr>
            <a:xfrm>
              <a:off x="709879" y="832169"/>
              <a:ext cx="1166783" cy="1315015"/>
            </a:xfrm>
            <a:custGeom>
              <a:avLst/>
              <a:gdLst>
                <a:gd name="connsiteX0" fmla="*/ 955513 w 1166783"/>
                <a:gd name="connsiteY0" fmla="*/ 680926 h 1315015"/>
                <a:gd name="connsiteX1" fmla="*/ 573857 w 1166783"/>
                <a:gd name="connsiteY1" fmla="*/ 88432 h 1315015"/>
                <a:gd name="connsiteX2" fmla="*/ 207078 w 1166783"/>
                <a:gd name="connsiteY2" fmla="*/ 644240 h 1315015"/>
                <a:gd name="connsiteX3" fmla="*/ 586748 w 1166783"/>
                <a:gd name="connsiteY3" fmla="*/ 1224977 h 1315015"/>
                <a:gd name="connsiteX4" fmla="*/ 955087 w 1166783"/>
                <a:gd name="connsiteY4" fmla="*/ 680359 h 1315015"/>
                <a:gd name="connsiteX5" fmla="*/ -2593 w 1166783"/>
                <a:gd name="connsiteY5" fmla="*/ 674835 h 1315015"/>
                <a:gd name="connsiteX6" fmla="*/ 590010 w 1166783"/>
                <a:gd name="connsiteY6" fmla="*/ -237 h 1315015"/>
                <a:gd name="connsiteX7" fmla="*/ 1164191 w 1166783"/>
                <a:gd name="connsiteY7" fmla="*/ 649056 h 1315015"/>
                <a:gd name="connsiteX8" fmla="*/ 571592 w 1166783"/>
                <a:gd name="connsiteY8" fmla="*/ 1314779 h 1315015"/>
                <a:gd name="connsiteX9" fmla="*/ -2593 w 1166783"/>
                <a:gd name="connsiteY9" fmla="*/ 674693 h 131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783" h="1315015">
                  <a:moveTo>
                    <a:pt x="955513" y="680926"/>
                  </a:moveTo>
                  <a:cubicBezTo>
                    <a:pt x="955513" y="387441"/>
                    <a:pt x="872922" y="88432"/>
                    <a:pt x="573857" y="88432"/>
                  </a:cubicBezTo>
                  <a:cubicBezTo>
                    <a:pt x="320697" y="88432"/>
                    <a:pt x="207078" y="251605"/>
                    <a:pt x="207078" y="644240"/>
                  </a:cubicBezTo>
                  <a:cubicBezTo>
                    <a:pt x="207078" y="937583"/>
                    <a:pt x="289527" y="1224977"/>
                    <a:pt x="586748" y="1224977"/>
                  </a:cubicBezTo>
                  <a:cubicBezTo>
                    <a:pt x="839912" y="1224977"/>
                    <a:pt x="955087" y="1072853"/>
                    <a:pt x="955087" y="680359"/>
                  </a:cubicBezTo>
                  <a:moveTo>
                    <a:pt x="-2593" y="674835"/>
                  </a:moveTo>
                  <a:cubicBezTo>
                    <a:pt x="-2593" y="199763"/>
                    <a:pt x="285421" y="-237"/>
                    <a:pt x="590010" y="-237"/>
                  </a:cubicBezTo>
                  <a:cubicBezTo>
                    <a:pt x="911030" y="-237"/>
                    <a:pt x="1164191" y="229084"/>
                    <a:pt x="1164191" y="649056"/>
                  </a:cubicBezTo>
                  <a:cubicBezTo>
                    <a:pt x="1164191" y="1124127"/>
                    <a:pt x="876180" y="1314779"/>
                    <a:pt x="571592" y="1314779"/>
                  </a:cubicBezTo>
                  <a:cubicBezTo>
                    <a:pt x="248728" y="1314779"/>
                    <a:pt x="-2593" y="1094665"/>
                    <a:pt x="-2593" y="674693"/>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9" name="Freeform: Shape 8">
              <a:extLst>
                <a:ext uri="{FF2B5EF4-FFF2-40B4-BE49-F238E27FC236}">
                  <a16:creationId xmlns:a16="http://schemas.microsoft.com/office/drawing/2014/main" id="{0472ACF6-2B20-4903-91CE-C924E4F04259}"/>
                </a:ext>
              </a:extLst>
            </p:cNvPr>
            <p:cNvSpPr/>
            <p:nvPr/>
          </p:nvSpPr>
          <p:spPr>
            <a:xfrm>
              <a:off x="1956373" y="1164605"/>
              <a:ext cx="1025401" cy="960624"/>
            </a:xfrm>
            <a:custGeom>
              <a:avLst/>
              <a:gdLst>
                <a:gd name="connsiteX0" fmla="*/ -2593 w 1025401"/>
                <a:gd name="connsiteY0" fmla="*/ 905997 h 960624"/>
                <a:gd name="connsiteX1" fmla="*/ 72634 w 1025401"/>
                <a:gd name="connsiteY1" fmla="*/ 885883 h 960624"/>
                <a:gd name="connsiteX2" fmla="*/ 122077 w 1025401"/>
                <a:gd name="connsiteY2" fmla="*/ 790416 h 960624"/>
                <a:gd name="connsiteX3" fmla="*/ 122077 w 1025401"/>
                <a:gd name="connsiteY3" fmla="*/ 221860 h 960624"/>
                <a:gd name="connsiteX4" fmla="*/ 67111 w 1025401"/>
                <a:gd name="connsiteY4" fmla="*/ 122709 h 960624"/>
                <a:gd name="connsiteX5" fmla="*/ -2593 w 1025401"/>
                <a:gd name="connsiteY5" fmla="*/ 87865 h 960624"/>
                <a:gd name="connsiteX6" fmla="*/ -2593 w 1025401"/>
                <a:gd name="connsiteY6" fmla="*/ 40132 h 960624"/>
                <a:gd name="connsiteX7" fmla="*/ 287265 w 1025401"/>
                <a:gd name="connsiteY7" fmla="*/ 1605 h 960624"/>
                <a:gd name="connsiteX8" fmla="*/ 305537 w 1025401"/>
                <a:gd name="connsiteY8" fmla="*/ 12653 h 960624"/>
                <a:gd name="connsiteX9" fmla="*/ 296472 w 1025401"/>
                <a:gd name="connsiteY9" fmla="*/ 115344 h 960624"/>
                <a:gd name="connsiteX10" fmla="*/ 303697 w 1025401"/>
                <a:gd name="connsiteY10" fmla="*/ 115344 h 960624"/>
                <a:gd name="connsiteX11" fmla="*/ 650502 w 1025401"/>
                <a:gd name="connsiteY11" fmla="*/ -237 h 960624"/>
                <a:gd name="connsiteX12" fmla="*/ 899983 w 1025401"/>
                <a:gd name="connsiteY12" fmla="*/ 243673 h 960624"/>
                <a:gd name="connsiteX13" fmla="*/ 899983 w 1025401"/>
                <a:gd name="connsiteY13" fmla="*/ 789849 h 960624"/>
                <a:gd name="connsiteX14" fmla="*/ 949425 w 1025401"/>
                <a:gd name="connsiteY14" fmla="*/ 885317 h 960624"/>
                <a:gd name="connsiteX15" fmla="*/ 1022809 w 1025401"/>
                <a:gd name="connsiteY15" fmla="*/ 905430 h 960624"/>
                <a:gd name="connsiteX16" fmla="*/ 1022809 w 1025401"/>
                <a:gd name="connsiteY16" fmla="*/ 960388 h 960624"/>
                <a:gd name="connsiteX17" fmla="*/ 593551 w 1025401"/>
                <a:gd name="connsiteY17" fmla="*/ 960388 h 960624"/>
                <a:gd name="connsiteX18" fmla="*/ 593551 w 1025401"/>
                <a:gd name="connsiteY18" fmla="*/ 905997 h 960624"/>
                <a:gd name="connsiteX19" fmla="*/ 668778 w 1025401"/>
                <a:gd name="connsiteY19" fmla="*/ 885883 h 960624"/>
                <a:gd name="connsiteX20" fmla="*/ 716519 w 1025401"/>
                <a:gd name="connsiteY20" fmla="*/ 790416 h 960624"/>
                <a:gd name="connsiteX21" fmla="*/ 716519 w 1025401"/>
                <a:gd name="connsiteY21" fmla="*/ 294665 h 960624"/>
                <a:gd name="connsiteX22" fmla="*/ 556858 w 1025401"/>
                <a:gd name="connsiteY22" fmla="*/ 120443 h 960624"/>
                <a:gd name="connsiteX23" fmla="*/ 305537 w 1025401"/>
                <a:gd name="connsiteY23" fmla="*/ 177100 h 960624"/>
                <a:gd name="connsiteX24" fmla="*/ 305537 w 1025401"/>
                <a:gd name="connsiteY24" fmla="*/ 789849 h 960624"/>
                <a:gd name="connsiteX25" fmla="*/ 353281 w 1025401"/>
                <a:gd name="connsiteY25" fmla="*/ 885317 h 960624"/>
                <a:gd name="connsiteX26" fmla="*/ 428508 w 1025401"/>
                <a:gd name="connsiteY26" fmla="*/ 905430 h 960624"/>
                <a:gd name="connsiteX27" fmla="*/ 428508 w 1025401"/>
                <a:gd name="connsiteY27" fmla="*/ 960388 h 960624"/>
                <a:gd name="connsiteX28" fmla="*/ -2593 w 1025401"/>
                <a:gd name="connsiteY28" fmla="*/ 960388 h 96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25401" h="960624">
                  <a:moveTo>
                    <a:pt x="-2593" y="905997"/>
                  </a:moveTo>
                  <a:lnTo>
                    <a:pt x="72634" y="885883"/>
                  </a:lnTo>
                  <a:cubicBezTo>
                    <a:pt x="109328" y="876677"/>
                    <a:pt x="122077" y="861946"/>
                    <a:pt x="122077" y="790416"/>
                  </a:cubicBezTo>
                  <a:lnTo>
                    <a:pt x="122077" y="221860"/>
                  </a:lnTo>
                  <a:cubicBezTo>
                    <a:pt x="122077" y="148489"/>
                    <a:pt x="113011" y="144806"/>
                    <a:pt x="67111" y="122709"/>
                  </a:cubicBezTo>
                  <a:lnTo>
                    <a:pt x="-2593" y="87865"/>
                  </a:lnTo>
                  <a:lnTo>
                    <a:pt x="-2593" y="40132"/>
                  </a:lnTo>
                  <a:lnTo>
                    <a:pt x="287265" y="1605"/>
                  </a:lnTo>
                  <a:lnTo>
                    <a:pt x="305537" y="12653"/>
                  </a:lnTo>
                  <a:lnTo>
                    <a:pt x="296472" y="115344"/>
                  </a:lnTo>
                  <a:lnTo>
                    <a:pt x="303697" y="115344"/>
                  </a:lnTo>
                  <a:cubicBezTo>
                    <a:pt x="395498" y="56704"/>
                    <a:pt x="533058" y="-237"/>
                    <a:pt x="650502" y="-237"/>
                  </a:cubicBezTo>
                  <a:cubicBezTo>
                    <a:pt x="835806" y="-237"/>
                    <a:pt x="899983" y="78659"/>
                    <a:pt x="899983" y="243673"/>
                  </a:cubicBezTo>
                  <a:lnTo>
                    <a:pt x="899983" y="789849"/>
                  </a:lnTo>
                  <a:cubicBezTo>
                    <a:pt x="899983" y="860671"/>
                    <a:pt x="914150" y="876110"/>
                    <a:pt x="949425" y="885317"/>
                  </a:cubicBezTo>
                  <a:lnTo>
                    <a:pt x="1022809" y="905430"/>
                  </a:lnTo>
                  <a:lnTo>
                    <a:pt x="1022809" y="960388"/>
                  </a:lnTo>
                  <a:lnTo>
                    <a:pt x="593551" y="960388"/>
                  </a:lnTo>
                  <a:lnTo>
                    <a:pt x="593551" y="905997"/>
                  </a:lnTo>
                  <a:lnTo>
                    <a:pt x="668778" y="885883"/>
                  </a:lnTo>
                  <a:cubicBezTo>
                    <a:pt x="705468" y="876677"/>
                    <a:pt x="716519" y="867470"/>
                    <a:pt x="716519" y="790416"/>
                  </a:cubicBezTo>
                  <a:lnTo>
                    <a:pt x="716519" y="294665"/>
                  </a:lnTo>
                  <a:cubicBezTo>
                    <a:pt x="716519" y="166336"/>
                    <a:pt x="674018" y="120443"/>
                    <a:pt x="556858" y="120443"/>
                  </a:cubicBezTo>
                  <a:cubicBezTo>
                    <a:pt x="467042" y="120443"/>
                    <a:pt x="358521" y="157129"/>
                    <a:pt x="305537" y="177100"/>
                  </a:cubicBezTo>
                  <a:lnTo>
                    <a:pt x="305537" y="789849"/>
                  </a:lnTo>
                  <a:cubicBezTo>
                    <a:pt x="305537" y="866903"/>
                    <a:pt x="316588" y="876110"/>
                    <a:pt x="353281" y="885317"/>
                  </a:cubicBezTo>
                  <a:lnTo>
                    <a:pt x="428508" y="905430"/>
                  </a:lnTo>
                  <a:lnTo>
                    <a:pt x="428508" y="960388"/>
                  </a:lnTo>
                  <a:lnTo>
                    <a:pt x="-2593" y="960388"/>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0" name="Freeform: Shape 9">
              <a:extLst>
                <a:ext uri="{FF2B5EF4-FFF2-40B4-BE49-F238E27FC236}">
                  <a16:creationId xmlns:a16="http://schemas.microsoft.com/office/drawing/2014/main" id="{0E7D2CBE-BF42-4862-8D62-893E7C002CF7}"/>
                </a:ext>
              </a:extLst>
            </p:cNvPr>
            <p:cNvSpPr/>
            <p:nvPr/>
          </p:nvSpPr>
          <p:spPr>
            <a:xfrm>
              <a:off x="3030141" y="1166081"/>
              <a:ext cx="827628" cy="984703"/>
            </a:xfrm>
            <a:custGeom>
              <a:avLst/>
              <a:gdLst>
                <a:gd name="connsiteX0" fmla="*/ 194326 w 827628"/>
                <a:gd name="connsiteY0" fmla="*/ 390415 h 984703"/>
                <a:gd name="connsiteX1" fmla="*/ 619332 w 827628"/>
                <a:gd name="connsiteY1" fmla="*/ 368461 h 984703"/>
                <a:gd name="connsiteX2" fmla="*/ 443097 w 827628"/>
                <a:gd name="connsiteY2" fmla="*/ 76817 h 984703"/>
                <a:gd name="connsiteX3" fmla="*/ 193620 w 827628"/>
                <a:gd name="connsiteY3" fmla="*/ 390415 h 984703"/>
                <a:gd name="connsiteX4" fmla="*/ -2593 w 827628"/>
                <a:gd name="connsiteY4" fmla="*/ 485883 h 984703"/>
                <a:gd name="connsiteX5" fmla="*/ 450748 w 827628"/>
                <a:gd name="connsiteY5" fmla="*/ -237 h 984703"/>
                <a:gd name="connsiteX6" fmla="*/ 825036 w 827628"/>
                <a:gd name="connsiteY6" fmla="*/ 467186 h 984703"/>
                <a:gd name="connsiteX7" fmla="*/ 192486 w 827628"/>
                <a:gd name="connsiteY7" fmla="*/ 467186 h 984703"/>
                <a:gd name="connsiteX8" fmla="*/ 511808 w 827628"/>
                <a:gd name="connsiteY8" fmla="*/ 867045 h 984703"/>
                <a:gd name="connsiteX9" fmla="*/ 807044 w 827628"/>
                <a:gd name="connsiteY9" fmla="*/ 789991 h 984703"/>
                <a:gd name="connsiteX10" fmla="*/ 807044 w 827628"/>
                <a:gd name="connsiteY10" fmla="*/ 863362 h 984703"/>
                <a:gd name="connsiteX11" fmla="*/ 451173 w 827628"/>
                <a:gd name="connsiteY11" fmla="*/ 984467 h 984703"/>
                <a:gd name="connsiteX12" fmla="*/ -2167 w 827628"/>
                <a:gd name="connsiteY12" fmla="*/ 485599 h 98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7628" h="984703">
                  <a:moveTo>
                    <a:pt x="194326" y="390415"/>
                  </a:moveTo>
                  <a:lnTo>
                    <a:pt x="619332" y="368461"/>
                  </a:lnTo>
                  <a:cubicBezTo>
                    <a:pt x="619332" y="157554"/>
                    <a:pt x="584482" y="76817"/>
                    <a:pt x="443097" y="76817"/>
                  </a:cubicBezTo>
                  <a:cubicBezTo>
                    <a:pt x="309221" y="76817"/>
                    <a:pt x="208354" y="173984"/>
                    <a:pt x="193620" y="390415"/>
                  </a:cubicBezTo>
                  <a:moveTo>
                    <a:pt x="-2593" y="485883"/>
                  </a:moveTo>
                  <a:cubicBezTo>
                    <a:pt x="-2593" y="192398"/>
                    <a:pt x="208354" y="-237"/>
                    <a:pt x="450748" y="-237"/>
                  </a:cubicBezTo>
                  <a:cubicBezTo>
                    <a:pt x="683793" y="-237"/>
                    <a:pt x="825036" y="126392"/>
                    <a:pt x="825036" y="467186"/>
                  </a:cubicBezTo>
                  <a:lnTo>
                    <a:pt x="192486" y="467186"/>
                  </a:lnTo>
                  <a:cubicBezTo>
                    <a:pt x="198009" y="746081"/>
                    <a:pt x="324664" y="867045"/>
                    <a:pt x="511808" y="867045"/>
                  </a:cubicBezTo>
                  <a:cubicBezTo>
                    <a:pt x="653477" y="867045"/>
                    <a:pt x="737344" y="822994"/>
                    <a:pt x="807044" y="789991"/>
                  </a:cubicBezTo>
                  <a:lnTo>
                    <a:pt x="807044" y="863362"/>
                  </a:lnTo>
                  <a:cubicBezTo>
                    <a:pt x="705043" y="941775"/>
                    <a:pt x="579952" y="984339"/>
                    <a:pt x="451173" y="984467"/>
                  </a:cubicBezTo>
                  <a:cubicBezTo>
                    <a:pt x="146727" y="984467"/>
                    <a:pt x="-2167" y="782625"/>
                    <a:pt x="-2167" y="485599"/>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1" name="Freeform: Shape 10">
              <a:extLst>
                <a:ext uri="{FF2B5EF4-FFF2-40B4-BE49-F238E27FC236}">
                  <a16:creationId xmlns:a16="http://schemas.microsoft.com/office/drawing/2014/main" id="{98277667-578C-452F-BEDC-F79A15656C7A}"/>
                </a:ext>
              </a:extLst>
            </p:cNvPr>
            <p:cNvSpPr/>
            <p:nvPr/>
          </p:nvSpPr>
          <p:spPr>
            <a:xfrm>
              <a:off x="4373105" y="718571"/>
              <a:ext cx="982759" cy="1407367"/>
            </a:xfrm>
            <a:custGeom>
              <a:avLst/>
              <a:gdLst>
                <a:gd name="connsiteX0" fmla="*/ 310213 w 982759"/>
                <a:gd name="connsiteY0" fmla="*/ 473418 h 1407367"/>
                <a:gd name="connsiteX1" fmla="*/ 647808 w 982759"/>
                <a:gd name="connsiteY1" fmla="*/ 473418 h 1407367"/>
                <a:gd name="connsiteX2" fmla="*/ 846145 w 982759"/>
                <a:gd name="connsiteY2" fmla="*/ 447781 h 1407367"/>
                <a:gd name="connsiteX3" fmla="*/ 866406 w 982759"/>
                <a:gd name="connsiteY3" fmla="*/ 458829 h 1407367"/>
                <a:gd name="connsiteX4" fmla="*/ 857195 w 982759"/>
                <a:gd name="connsiteY4" fmla="*/ 627526 h 1407367"/>
                <a:gd name="connsiteX5" fmla="*/ 857195 w 982759"/>
                <a:gd name="connsiteY5" fmla="*/ 1236592 h 1407367"/>
                <a:gd name="connsiteX6" fmla="*/ 904939 w 982759"/>
                <a:gd name="connsiteY6" fmla="*/ 1332060 h 1407367"/>
                <a:gd name="connsiteX7" fmla="*/ 980166 w 982759"/>
                <a:gd name="connsiteY7" fmla="*/ 1352173 h 1407367"/>
                <a:gd name="connsiteX8" fmla="*/ 980166 w 982759"/>
                <a:gd name="connsiteY8" fmla="*/ 1407130 h 1407367"/>
                <a:gd name="connsiteX9" fmla="*/ 555159 w 982759"/>
                <a:gd name="connsiteY9" fmla="*/ 1407130 h 1407367"/>
                <a:gd name="connsiteX10" fmla="*/ 555159 w 982759"/>
                <a:gd name="connsiteY10" fmla="*/ 1352031 h 1407367"/>
                <a:gd name="connsiteX11" fmla="*/ 624860 w 982759"/>
                <a:gd name="connsiteY11" fmla="*/ 1331918 h 1407367"/>
                <a:gd name="connsiteX12" fmla="*/ 674302 w 982759"/>
                <a:gd name="connsiteY12" fmla="*/ 1236451 h 1407367"/>
                <a:gd name="connsiteX13" fmla="*/ 674302 w 982759"/>
                <a:gd name="connsiteY13" fmla="*/ 667894 h 1407367"/>
                <a:gd name="connsiteX14" fmla="*/ 600918 w 982759"/>
                <a:gd name="connsiteY14" fmla="*/ 570727 h 1407367"/>
                <a:gd name="connsiteX15" fmla="*/ 311061 w 982759"/>
                <a:gd name="connsiteY15" fmla="*/ 570727 h 1407367"/>
                <a:gd name="connsiteX16" fmla="*/ 311061 w 982759"/>
                <a:gd name="connsiteY16" fmla="*/ 1227244 h 1407367"/>
                <a:gd name="connsiteX17" fmla="*/ 358805 w 982759"/>
                <a:gd name="connsiteY17" fmla="*/ 1331918 h 1407367"/>
                <a:gd name="connsiteX18" fmla="*/ 434032 w 982759"/>
                <a:gd name="connsiteY18" fmla="*/ 1352031 h 1407367"/>
                <a:gd name="connsiteX19" fmla="*/ 434032 w 982759"/>
                <a:gd name="connsiteY19" fmla="*/ 1406989 h 1407367"/>
                <a:gd name="connsiteX20" fmla="*/ 2931 w 982759"/>
                <a:gd name="connsiteY20" fmla="*/ 1406989 h 1407367"/>
                <a:gd name="connsiteX21" fmla="*/ 2931 w 982759"/>
                <a:gd name="connsiteY21" fmla="*/ 1352031 h 1407367"/>
                <a:gd name="connsiteX22" fmla="*/ 78158 w 982759"/>
                <a:gd name="connsiteY22" fmla="*/ 1331918 h 1407367"/>
                <a:gd name="connsiteX23" fmla="*/ 127600 w 982759"/>
                <a:gd name="connsiteY23" fmla="*/ 1236451 h 1407367"/>
                <a:gd name="connsiteX24" fmla="*/ 127600 w 982759"/>
                <a:gd name="connsiteY24" fmla="*/ 570161 h 1407367"/>
                <a:gd name="connsiteX25" fmla="*/ -2593 w 982759"/>
                <a:gd name="connsiteY25" fmla="*/ 570161 h 1407367"/>
                <a:gd name="connsiteX26" fmla="*/ -2593 w 982759"/>
                <a:gd name="connsiteY26" fmla="*/ 515061 h 1407367"/>
                <a:gd name="connsiteX27" fmla="*/ 127600 w 982759"/>
                <a:gd name="connsiteY27" fmla="*/ 471152 h 1407367"/>
                <a:gd name="connsiteX28" fmla="*/ 127600 w 982759"/>
                <a:gd name="connsiteY28" fmla="*/ 397781 h 1407367"/>
                <a:gd name="connsiteX29" fmla="*/ 567908 w 982759"/>
                <a:gd name="connsiteY29" fmla="*/ -237 h 1407367"/>
                <a:gd name="connsiteX30" fmla="*/ 778852 w 982759"/>
                <a:gd name="connsiteY30" fmla="*/ 115203 h 1407367"/>
                <a:gd name="connsiteX31" fmla="*/ 679684 w 982759"/>
                <a:gd name="connsiteY31" fmla="*/ 216194 h 1407367"/>
                <a:gd name="connsiteX32" fmla="*/ 566348 w 982759"/>
                <a:gd name="connsiteY32" fmla="*/ 113361 h 1407367"/>
                <a:gd name="connsiteX33" fmla="*/ 515066 w 982759"/>
                <a:gd name="connsiteY33" fmla="*/ 65769 h 1407367"/>
                <a:gd name="connsiteX34" fmla="*/ 311344 w 982759"/>
                <a:gd name="connsiteY34" fmla="*/ 300472 h 140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759" h="1407367">
                  <a:moveTo>
                    <a:pt x="310213" y="473418"/>
                  </a:moveTo>
                  <a:lnTo>
                    <a:pt x="647808" y="473418"/>
                  </a:lnTo>
                  <a:lnTo>
                    <a:pt x="846145" y="447781"/>
                  </a:lnTo>
                  <a:lnTo>
                    <a:pt x="866406" y="458829"/>
                  </a:lnTo>
                  <a:cubicBezTo>
                    <a:pt x="860311" y="514849"/>
                    <a:pt x="857195" y="571166"/>
                    <a:pt x="857195" y="627526"/>
                  </a:cubicBezTo>
                  <a:lnTo>
                    <a:pt x="857195" y="1236592"/>
                  </a:lnTo>
                  <a:cubicBezTo>
                    <a:pt x="857195" y="1313646"/>
                    <a:pt x="868246" y="1322853"/>
                    <a:pt x="904939" y="1332060"/>
                  </a:cubicBezTo>
                  <a:lnTo>
                    <a:pt x="980166" y="1352173"/>
                  </a:lnTo>
                  <a:lnTo>
                    <a:pt x="980166" y="1407130"/>
                  </a:lnTo>
                  <a:lnTo>
                    <a:pt x="555159" y="1407130"/>
                  </a:lnTo>
                  <a:lnTo>
                    <a:pt x="555159" y="1352031"/>
                  </a:lnTo>
                  <a:lnTo>
                    <a:pt x="624860" y="1331918"/>
                  </a:lnTo>
                  <a:cubicBezTo>
                    <a:pt x="659710" y="1322711"/>
                    <a:pt x="674302" y="1307980"/>
                    <a:pt x="674302" y="1236451"/>
                  </a:cubicBezTo>
                  <a:lnTo>
                    <a:pt x="674302" y="667894"/>
                  </a:lnTo>
                  <a:cubicBezTo>
                    <a:pt x="674302" y="594523"/>
                    <a:pt x="648659" y="570727"/>
                    <a:pt x="600918" y="570727"/>
                  </a:cubicBezTo>
                  <a:lnTo>
                    <a:pt x="311061" y="570727"/>
                  </a:lnTo>
                  <a:lnTo>
                    <a:pt x="311061" y="1227244"/>
                  </a:lnTo>
                  <a:cubicBezTo>
                    <a:pt x="311061" y="1313505"/>
                    <a:pt x="318428" y="1320870"/>
                    <a:pt x="358805" y="1331918"/>
                  </a:cubicBezTo>
                  <a:lnTo>
                    <a:pt x="434032" y="1352031"/>
                  </a:lnTo>
                  <a:lnTo>
                    <a:pt x="434032" y="1406989"/>
                  </a:lnTo>
                  <a:lnTo>
                    <a:pt x="2931" y="1406989"/>
                  </a:lnTo>
                  <a:lnTo>
                    <a:pt x="2931" y="1352031"/>
                  </a:lnTo>
                  <a:lnTo>
                    <a:pt x="78158" y="1331918"/>
                  </a:lnTo>
                  <a:cubicBezTo>
                    <a:pt x="114851" y="1322711"/>
                    <a:pt x="127600" y="1307980"/>
                    <a:pt x="127600" y="1236451"/>
                  </a:cubicBezTo>
                  <a:lnTo>
                    <a:pt x="127600" y="570161"/>
                  </a:lnTo>
                  <a:lnTo>
                    <a:pt x="-2593" y="570161"/>
                  </a:lnTo>
                  <a:lnTo>
                    <a:pt x="-2593" y="515061"/>
                  </a:lnTo>
                  <a:lnTo>
                    <a:pt x="127600" y="471152"/>
                  </a:lnTo>
                  <a:lnTo>
                    <a:pt x="127600" y="397781"/>
                  </a:lnTo>
                  <a:cubicBezTo>
                    <a:pt x="127600" y="142823"/>
                    <a:pt x="305537" y="-237"/>
                    <a:pt x="567908" y="-237"/>
                  </a:cubicBezTo>
                  <a:cubicBezTo>
                    <a:pt x="714675" y="-237"/>
                    <a:pt x="778852" y="51038"/>
                    <a:pt x="778852" y="115203"/>
                  </a:cubicBezTo>
                  <a:cubicBezTo>
                    <a:pt x="778852" y="184891"/>
                    <a:pt x="738620" y="216194"/>
                    <a:pt x="679684" y="216194"/>
                  </a:cubicBezTo>
                  <a:cubicBezTo>
                    <a:pt x="608144" y="216194"/>
                    <a:pt x="575134" y="175826"/>
                    <a:pt x="566348" y="113361"/>
                  </a:cubicBezTo>
                  <a:cubicBezTo>
                    <a:pt x="562665" y="84041"/>
                    <a:pt x="549916" y="65769"/>
                    <a:pt x="515066" y="65769"/>
                  </a:cubicBezTo>
                  <a:cubicBezTo>
                    <a:pt x="406829" y="65769"/>
                    <a:pt x="311344" y="109820"/>
                    <a:pt x="311344" y="300472"/>
                  </a:cubicBez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2" name="Freeform: Shape 11">
              <a:extLst>
                <a:ext uri="{FF2B5EF4-FFF2-40B4-BE49-F238E27FC236}">
                  <a16:creationId xmlns:a16="http://schemas.microsoft.com/office/drawing/2014/main" id="{BD499510-7205-4BBD-B3DB-C99AABA529EE}"/>
                </a:ext>
              </a:extLst>
            </p:cNvPr>
            <p:cNvSpPr/>
            <p:nvPr/>
          </p:nvSpPr>
          <p:spPr>
            <a:xfrm>
              <a:off x="5442055" y="1162197"/>
              <a:ext cx="697719" cy="963032"/>
            </a:xfrm>
            <a:custGeom>
              <a:avLst/>
              <a:gdLst>
                <a:gd name="connsiteX0" fmla="*/ -1600 w 697719"/>
                <a:gd name="connsiteY0" fmla="*/ 908405 h 963032"/>
                <a:gd name="connsiteX1" fmla="*/ 73627 w 697719"/>
                <a:gd name="connsiteY1" fmla="*/ 888291 h 963032"/>
                <a:gd name="connsiteX2" fmla="*/ 123211 w 697719"/>
                <a:gd name="connsiteY2" fmla="*/ 792824 h 963032"/>
                <a:gd name="connsiteX3" fmla="*/ 123211 w 697719"/>
                <a:gd name="connsiteY3" fmla="*/ 224268 h 963032"/>
                <a:gd name="connsiteX4" fmla="*/ 68100 w 697719"/>
                <a:gd name="connsiteY4" fmla="*/ 125118 h 963032"/>
                <a:gd name="connsiteX5" fmla="*/ -1600 w 697719"/>
                <a:gd name="connsiteY5" fmla="*/ 90273 h 963032"/>
                <a:gd name="connsiteX6" fmla="*/ -1600 w 697719"/>
                <a:gd name="connsiteY6" fmla="*/ 42540 h 963032"/>
                <a:gd name="connsiteX7" fmla="*/ 288254 w 697719"/>
                <a:gd name="connsiteY7" fmla="*/ 4013 h 963032"/>
                <a:gd name="connsiteX8" fmla="*/ 306672 w 697719"/>
                <a:gd name="connsiteY8" fmla="*/ 18177 h 963032"/>
                <a:gd name="connsiteX9" fmla="*/ 297461 w 697719"/>
                <a:gd name="connsiteY9" fmla="*/ 124551 h 963032"/>
                <a:gd name="connsiteX10" fmla="*/ 304828 w 697719"/>
                <a:gd name="connsiteY10" fmla="*/ 124551 h 963032"/>
                <a:gd name="connsiteX11" fmla="*/ 573999 w 697719"/>
                <a:gd name="connsiteY11" fmla="*/ -237 h 963032"/>
                <a:gd name="connsiteX12" fmla="*/ 695127 w 697719"/>
                <a:gd name="connsiteY12" fmla="*/ 109820 h 963032"/>
                <a:gd name="connsiteX13" fmla="*/ 595958 w 697719"/>
                <a:gd name="connsiteY13" fmla="*/ 212512 h 963032"/>
                <a:gd name="connsiteX14" fmla="*/ 491267 w 697719"/>
                <a:gd name="connsiteY14" fmla="*/ 153871 h 963032"/>
                <a:gd name="connsiteX15" fmla="*/ 448766 w 697719"/>
                <a:gd name="connsiteY15" fmla="*/ 122710 h 963032"/>
                <a:gd name="connsiteX16" fmla="*/ 305679 w 697719"/>
                <a:gd name="connsiteY16" fmla="*/ 203446 h 963032"/>
                <a:gd name="connsiteX17" fmla="*/ 305679 w 697719"/>
                <a:gd name="connsiteY17" fmla="*/ 792257 h 963032"/>
                <a:gd name="connsiteX18" fmla="*/ 353281 w 697719"/>
                <a:gd name="connsiteY18" fmla="*/ 887725 h 963032"/>
                <a:gd name="connsiteX19" fmla="*/ 446922 w 697719"/>
                <a:gd name="connsiteY19" fmla="*/ 907838 h 963032"/>
                <a:gd name="connsiteX20" fmla="*/ 446922 w 697719"/>
                <a:gd name="connsiteY20" fmla="*/ 962796 h 963032"/>
                <a:gd name="connsiteX21" fmla="*/ -2593 w 697719"/>
                <a:gd name="connsiteY21" fmla="*/ 962796 h 96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719" h="963032">
                  <a:moveTo>
                    <a:pt x="-1600" y="908405"/>
                  </a:moveTo>
                  <a:lnTo>
                    <a:pt x="73627" y="888291"/>
                  </a:lnTo>
                  <a:cubicBezTo>
                    <a:pt x="110317" y="879085"/>
                    <a:pt x="123211" y="864354"/>
                    <a:pt x="123211" y="792824"/>
                  </a:cubicBezTo>
                  <a:lnTo>
                    <a:pt x="123211" y="224268"/>
                  </a:lnTo>
                  <a:cubicBezTo>
                    <a:pt x="123211" y="150897"/>
                    <a:pt x="114000" y="147214"/>
                    <a:pt x="68100" y="125118"/>
                  </a:cubicBezTo>
                  <a:lnTo>
                    <a:pt x="-1600" y="90273"/>
                  </a:lnTo>
                  <a:lnTo>
                    <a:pt x="-1600" y="42540"/>
                  </a:lnTo>
                  <a:lnTo>
                    <a:pt x="288254" y="4013"/>
                  </a:lnTo>
                  <a:lnTo>
                    <a:pt x="306672" y="18177"/>
                  </a:lnTo>
                  <a:lnTo>
                    <a:pt x="297461" y="124551"/>
                  </a:lnTo>
                  <a:lnTo>
                    <a:pt x="304828" y="124551"/>
                  </a:lnTo>
                  <a:cubicBezTo>
                    <a:pt x="369005" y="60387"/>
                    <a:pt x="482765" y="-237"/>
                    <a:pt x="573999" y="-237"/>
                  </a:cubicBezTo>
                  <a:cubicBezTo>
                    <a:pt x="649226" y="-237"/>
                    <a:pt x="695127" y="40132"/>
                    <a:pt x="695127" y="109820"/>
                  </a:cubicBezTo>
                  <a:cubicBezTo>
                    <a:pt x="695127" y="179509"/>
                    <a:pt x="649226" y="212512"/>
                    <a:pt x="595958" y="212512"/>
                  </a:cubicBezTo>
                  <a:cubicBezTo>
                    <a:pt x="527957" y="212512"/>
                    <a:pt x="507841" y="194240"/>
                    <a:pt x="491267" y="153871"/>
                  </a:cubicBezTo>
                  <a:cubicBezTo>
                    <a:pt x="480358" y="128234"/>
                    <a:pt x="467464" y="122710"/>
                    <a:pt x="448766" y="122710"/>
                  </a:cubicBezTo>
                  <a:cubicBezTo>
                    <a:pt x="412072" y="122710"/>
                    <a:pt x="338689" y="166761"/>
                    <a:pt x="305679" y="203446"/>
                  </a:cubicBezTo>
                  <a:lnTo>
                    <a:pt x="305679" y="792257"/>
                  </a:lnTo>
                  <a:cubicBezTo>
                    <a:pt x="305679" y="869311"/>
                    <a:pt x="316588" y="880359"/>
                    <a:pt x="353281" y="887725"/>
                  </a:cubicBezTo>
                  <a:lnTo>
                    <a:pt x="446922" y="907838"/>
                  </a:lnTo>
                  <a:lnTo>
                    <a:pt x="446922" y="962796"/>
                  </a:lnTo>
                  <a:lnTo>
                    <a:pt x="-2593" y="962796"/>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3" name="Freeform: Shape 12">
              <a:extLst>
                <a:ext uri="{FF2B5EF4-FFF2-40B4-BE49-F238E27FC236}">
                  <a16:creationId xmlns:a16="http://schemas.microsoft.com/office/drawing/2014/main" id="{588BD3B2-4F0C-4865-B0C2-18264B05F1DD}"/>
                </a:ext>
              </a:extLst>
            </p:cNvPr>
            <p:cNvSpPr/>
            <p:nvPr/>
          </p:nvSpPr>
          <p:spPr>
            <a:xfrm>
              <a:off x="6218809" y="1164181"/>
              <a:ext cx="1561616" cy="961757"/>
            </a:xfrm>
            <a:custGeom>
              <a:avLst/>
              <a:gdLst>
                <a:gd name="connsiteX0" fmla="*/ -2167 w 1561616"/>
                <a:gd name="connsiteY0" fmla="*/ 906422 h 961757"/>
                <a:gd name="connsiteX1" fmla="*/ 73060 w 1561616"/>
                <a:gd name="connsiteY1" fmla="*/ 886308 h 961757"/>
                <a:gd name="connsiteX2" fmla="*/ 122502 w 1561616"/>
                <a:gd name="connsiteY2" fmla="*/ 790841 h 961757"/>
                <a:gd name="connsiteX3" fmla="*/ 122502 w 1561616"/>
                <a:gd name="connsiteY3" fmla="*/ 222285 h 961757"/>
                <a:gd name="connsiteX4" fmla="*/ 67533 w 1561616"/>
                <a:gd name="connsiteY4" fmla="*/ 123134 h 961757"/>
                <a:gd name="connsiteX5" fmla="*/ -2167 w 1561616"/>
                <a:gd name="connsiteY5" fmla="*/ 88290 h 961757"/>
                <a:gd name="connsiteX6" fmla="*/ -2167 w 1561616"/>
                <a:gd name="connsiteY6" fmla="*/ 40557 h 961757"/>
                <a:gd name="connsiteX7" fmla="*/ 287687 w 1561616"/>
                <a:gd name="connsiteY7" fmla="*/ 2030 h 961757"/>
                <a:gd name="connsiteX8" fmla="*/ 305963 w 1561616"/>
                <a:gd name="connsiteY8" fmla="*/ 16194 h 961757"/>
                <a:gd name="connsiteX9" fmla="*/ 296894 w 1561616"/>
                <a:gd name="connsiteY9" fmla="*/ 115344 h 961757"/>
                <a:gd name="connsiteX10" fmla="*/ 304261 w 1561616"/>
                <a:gd name="connsiteY10" fmla="*/ 115344 h 961757"/>
                <a:gd name="connsiteX11" fmla="*/ 634350 w 1561616"/>
                <a:gd name="connsiteY11" fmla="*/ -237 h 961757"/>
                <a:gd name="connsiteX12" fmla="*/ 856348 w 1561616"/>
                <a:gd name="connsiteY12" fmla="*/ 119027 h 961757"/>
                <a:gd name="connsiteX13" fmla="*/ 863711 w 1561616"/>
                <a:gd name="connsiteY13" fmla="*/ 119027 h 961757"/>
                <a:gd name="connsiteX14" fmla="*/ 1212218 w 1561616"/>
                <a:gd name="connsiteY14" fmla="*/ -237 h 961757"/>
                <a:gd name="connsiteX15" fmla="*/ 1436056 w 1561616"/>
                <a:gd name="connsiteY15" fmla="*/ 245514 h 961757"/>
                <a:gd name="connsiteX16" fmla="*/ 1436056 w 1561616"/>
                <a:gd name="connsiteY16" fmla="*/ 790274 h 961757"/>
                <a:gd name="connsiteX17" fmla="*/ 1483797 w 1561616"/>
                <a:gd name="connsiteY17" fmla="*/ 885742 h 961757"/>
                <a:gd name="connsiteX18" fmla="*/ 1559024 w 1561616"/>
                <a:gd name="connsiteY18" fmla="*/ 905855 h 961757"/>
                <a:gd name="connsiteX19" fmla="*/ 1559024 w 1561616"/>
                <a:gd name="connsiteY19" fmla="*/ 960813 h 961757"/>
                <a:gd name="connsiteX20" fmla="*/ 1127359 w 1561616"/>
                <a:gd name="connsiteY20" fmla="*/ 960813 h 961757"/>
                <a:gd name="connsiteX21" fmla="*/ 1127359 w 1561616"/>
                <a:gd name="connsiteY21" fmla="*/ 906422 h 961757"/>
                <a:gd name="connsiteX22" fmla="*/ 1202586 w 1561616"/>
                <a:gd name="connsiteY22" fmla="*/ 886308 h 961757"/>
                <a:gd name="connsiteX23" fmla="*/ 1252170 w 1561616"/>
                <a:gd name="connsiteY23" fmla="*/ 790841 h 961757"/>
                <a:gd name="connsiteX24" fmla="*/ 1252170 w 1561616"/>
                <a:gd name="connsiteY24" fmla="*/ 297497 h 961757"/>
                <a:gd name="connsiteX25" fmla="*/ 1109083 w 1561616"/>
                <a:gd name="connsiteY25" fmla="*/ 121435 h 961757"/>
                <a:gd name="connsiteX26" fmla="*/ 870653 w 1561616"/>
                <a:gd name="connsiteY26" fmla="*/ 181916 h 961757"/>
                <a:gd name="connsiteX27" fmla="*/ 870653 w 1561616"/>
                <a:gd name="connsiteY27" fmla="*/ 790982 h 961757"/>
                <a:gd name="connsiteX28" fmla="*/ 918255 w 1561616"/>
                <a:gd name="connsiteY28" fmla="*/ 886450 h 961757"/>
                <a:gd name="connsiteX29" fmla="*/ 993482 w 1561616"/>
                <a:gd name="connsiteY29" fmla="*/ 906563 h 961757"/>
                <a:gd name="connsiteX30" fmla="*/ 993482 w 1561616"/>
                <a:gd name="connsiteY30" fmla="*/ 961521 h 961757"/>
                <a:gd name="connsiteX31" fmla="*/ 562385 w 1561616"/>
                <a:gd name="connsiteY31" fmla="*/ 961521 h 961757"/>
                <a:gd name="connsiteX32" fmla="*/ 562385 w 1561616"/>
                <a:gd name="connsiteY32" fmla="*/ 906422 h 961757"/>
                <a:gd name="connsiteX33" fmla="*/ 637608 w 1561616"/>
                <a:gd name="connsiteY33" fmla="*/ 886308 h 961757"/>
                <a:gd name="connsiteX34" fmla="*/ 687192 w 1561616"/>
                <a:gd name="connsiteY34" fmla="*/ 790841 h 961757"/>
                <a:gd name="connsiteX35" fmla="*/ 687192 w 1561616"/>
                <a:gd name="connsiteY35" fmla="*/ 297497 h 961757"/>
                <a:gd name="connsiteX36" fmla="*/ 544109 w 1561616"/>
                <a:gd name="connsiteY36" fmla="*/ 121435 h 961757"/>
                <a:gd name="connsiteX37" fmla="*/ 305537 w 1561616"/>
                <a:gd name="connsiteY37" fmla="*/ 178092 h 961757"/>
                <a:gd name="connsiteX38" fmla="*/ 305537 w 1561616"/>
                <a:gd name="connsiteY38" fmla="*/ 790274 h 961757"/>
                <a:gd name="connsiteX39" fmla="*/ 353281 w 1561616"/>
                <a:gd name="connsiteY39" fmla="*/ 885742 h 961757"/>
                <a:gd name="connsiteX40" fmla="*/ 428505 w 1561616"/>
                <a:gd name="connsiteY40" fmla="*/ 905855 h 961757"/>
                <a:gd name="connsiteX41" fmla="*/ 428505 w 1561616"/>
                <a:gd name="connsiteY41" fmla="*/ 960813 h 961757"/>
                <a:gd name="connsiteX42" fmla="*/ -2593 w 1561616"/>
                <a:gd name="connsiteY42" fmla="*/ 960813 h 96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616" h="961757">
                  <a:moveTo>
                    <a:pt x="-2167" y="906422"/>
                  </a:moveTo>
                  <a:lnTo>
                    <a:pt x="73060" y="886308"/>
                  </a:lnTo>
                  <a:cubicBezTo>
                    <a:pt x="109750" y="877101"/>
                    <a:pt x="122502" y="862370"/>
                    <a:pt x="122502" y="790841"/>
                  </a:cubicBezTo>
                  <a:lnTo>
                    <a:pt x="122502" y="222285"/>
                  </a:lnTo>
                  <a:cubicBezTo>
                    <a:pt x="122502" y="148914"/>
                    <a:pt x="113433" y="145231"/>
                    <a:pt x="67533" y="123134"/>
                  </a:cubicBezTo>
                  <a:lnTo>
                    <a:pt x="-2167" y="88290"/>
                  </a:lnTo>
                  <a:lnTo>
                    <a:pt x="-2167" y="40557"/>
                  </a:lnTo>
                  <a:lnTo>
                    <a:pt x="287687" y="2030"/>
                  </a:lnTo>
                  <a:lnTo>
                    <a:pt x="305963" y="16194"/>
                  </a:lnTo>
                  <a:lnTo>
                    <a:pt x="296894" y="115344"/>
                  </a:lnTo>
                  <a:lnTo>
                    <a:pt x="304261" y="115344"/>
                  </a:lnTo>
                  <a:cubicBezTo>
                    <a:pt x="395924" y="56704"/>
                    <a:pt x="520590" y="-237"/>
                    <a:pt x="634350" y="-237"/>
                  </a:cubicBezTo>
                  <a:cubicBezTo>
                    <a:pt x="768368" y="-237"/>
                    <a:pt x="823338" y="43814"/>
                    <a:pt x="856348" y="119027"/>
                  </a:cubicBezTo>
                  <a:lnTo>
                    <a:pt x="863711" y="119027"/>
                  </a:lnTo>
                  <a:cubicBezTo>
                    <a:pt x="964581" y="60387"/>
                    <a:pt x="1076215" y="-237"/>
                    <a:pt x="1212218" y="-237"/>
                  </a:cubicBezTo>
                  <a:cubicBezTo>
                    <a:pt x="1373720" y="-237"/>
                    <a:pt x="1436056" y="80500"/>
                    <a:pt x="1436056" y="245514"/>
                  </a:cubicBezTo>
                  <a:lnTo>
                    <a:pt x="1436056" y="790274"/>
                  </a:lnTo>
                  <a:cubicBezTo>
                    <a:pt x="1436056" y="861096"/>
                    <a:pt x="1450223" y="876535"/>
                    <a:pt x="1483797" y="885742"/>
                  </a:cubicBezTo>
                  <a:lnTo>
                    <a:pt x="1559024" y="905855"/>
                  </a:lnTo>
                  <a:lnTo>
                    <a:pt x="1559024" y="960813"/>
                  </a:lnTo>
                  <a:lnTo>
                    <a:pt x="1127359" y="960813"/>
                  </a:lnTo>
                  <a:lnTo>
                    <a:pt x="1127359" y="906422"/>
                  </a:lnTo>
                  <a:lnTo>
                    <a:pt x="1202586" y="886308"/>
                  </a:lnTo>
                  <a:cubicBezTo>
                    <a:pt x="1241119" y="877101"/>
                    <a:pt x="1252170" y="867895"/>
                    <a:pt x="1252170" y="790841"/>
                  </a:cubicBezTo>
                  <a:lnTo>
                    <a:pt x="1252170" y="297497"/>
                  </a:lnTo>
                  <a:cubicBezTo>
                    <a:pt x="1252170" y="174551"/>
                    <a:pt x="1221004" y="121435"/>
                    <a:pt x="1109083" y="121435"/>
                  </a:cubicBezTo>
                  <a:cubicBezTo>
                    <a:pt x="1019267" y="121435"/>
                    <a:pt x="925622" y="156279"/>
                    <a:pt x="870653" y="181916"/>
                  </a:cubicBezTo>
                  <a:lnTo>
                    <a:pt x="870653" y="790982"/>
                  </a:lnTo>
                  <a:cubicBezTo>
                    <a:pt x="870653" y="861804"/>
                    <a:pt x="884820" y="877243"/>
                    <a:pt x="918255" y="886450"/>
                  </a:cubicBezTo>
                  <a:lnTo>
                    <a:pt x="993482" y="906563"/>
                  </a:lnTo>
                  <a:lnTo>
                    <a:pt x="993482" y="961521"/>
                  </a:lnTo>
                  <a:lnTo>
                    <a:pt x="562385" y="961521"/>
                  </a:lnTo>
                  <a:lnTo>
                    <a:pt x="562385" y="906422"/>
                  </a:lnTo>
                  <a:lnTo>
                    <a:pt x="637608" y="886308"/>
                  </a:lnTo>
                  <a:cubicBezTo>
                    <a:pt x="676142" y="877101"/>
                    <a:pt x="687192" y="867895"/>
                    <a:pt x="687192" y="790841"/>
                  </a:cubicBezTo>
                  <a:lnTo>
                    <a:pt x="687192" y="297497"/>
                  </a:lnTo>
                  <a:cubicBezTo>
                    <a:pt x="687192" y="176392"/>
                    <a:pt x="656026" y="121435"/>
                    <a:pt x="544109" y="121435"/>
                  </a:cubicBezTo>
                  <a:cubicBezTo>
                    <a:pt x="454148" y="121435"/>
                    <a:pt x="358805" y="156279"/>
                    <a:pt x="305537" y="178092"/>
                  </a:cubicBezTo>
                  <a:lnTo>
                    <a:pt x="305537" y="790274"/>
                  </a:lnTo>
                  <a:cubicBezTo>
                    <a:pt x="305537" y="867328"/>
                    <a:pt x="316588" y="876535"/>
                    <a:pt x="353281" y="885742"/>
                  </a:cubicBezTo>
                  <a:lnTo>
                    <a:pt x="428505" y="905855"/>
                  </a:lnTo>
                  <a:lnTo>
                    <a:pt x="428505" y="960813"/>
                  </a:lnTo>
                  <a:lnTo>
                    <a:pt x="-2593" y="960813"/>
                  </a:lnTo>
                  <a:close/>
                </a:path>
              </a:pathLst>
            </a:custGeom>
            <a:solidFill>
              <a:schemeClr val="tx1"/>
            </a:solidFill>
            <a:ln w="14153" cap="flat">
              <a:noFill/>
              <a:prstDash val="solid"/>
              <a:miter/>
            </a:ln>
          </p:spPr>
          <p:txBody>
            <a:bodyPr rtlCol="0" anchor="ctr"/>
            <a:lstStyle/>
            <a:p>
              <a:endParaRPr lang="en-GB" dirty="0">
                <a:solidFill>
                  <a:schemeClr val="tx1"/>
                </a:solidFill>
              </a:endParaRPr>
            </a:p>
          </p:txBody>
        </p:sp>
        <p:sp>
          <p:nvSpPr>
            <p:cNvPr id="14" name="Freeform: Shape 13">
              <a:extLst>
                <a:ext uri="{FF2B5EF4-FFF2-40B4-BE49-F238E27FC236}">
                  <a16:creationId xmlns:a16="http://schemas.microsoft.com/office/drawing/2014/main" id="{BFF832B6-3402-4CD7-8CD9-DBF06FA7A041}"/>
                </a:ext>
              </a:extLst>
            </p:cNvPr>
            <p:cNvSpPr/>
            <p:nvPr userDrawn="1"/>
          </p:nvSpPr>
          <p:spPr>
            <a:xfrm>
              <a:off x="7853110" y="1875449"/>
              <a:ext cx="266363" cy="266347"/>
            </a:xfrm>
            <a:custGeom>
              <a:avLst/>
              <a:gdLst>
                <a:gd name="connsiteX0" fmla="*/ -2527 w 230343"/>
                <a:gd name="connsiteY0" fmla="*/ 118884 h 230329"/>
                <a:gd name="connsiteX1" fmla="*/ 108684 w 230343"/>
                <a:gd name="connsiteY1" fmla="*/ -167 h 230329"/>
                <a:gd name="connsiteX2" fmla="*/ 227685 w 230343"/>
                <a:gd name="connsiteY2" fmla="*/ 110952 h 230329"/>
                <a:gd name="connsiteX3" fmla="*/ 116477 w 230343"/>
                <a:gd name="connsiteY3" fmla="*/ 230003 h 230329"/>
                <a:gd name="connsiteX4" fmla="*/ 111801 w 230343"/>
                <a:gd name="connsiteY4" fmla="*/ 230074 h 230329"/>
                <a:gd name="connsiteX5" fmla="*/ -2527 w 230343"/>
                <a:gd name="connsiteY5" fmla="*/ 119762 h 230329"/>
                <a:gd name="connsiteX6" fmla="*/ -2527 w 230343"/>
                <a:gd name="connsiteY6" fmla="*/ 118884 h 23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43" h="230329">
                  <a:moveTo>
                    <a:pt x="-2527" y="118884"/>
                  </a:moveTo>
                  <a:cubicBezTo>
                    <a:pt x="-4651" y="55329"/>
                    <a:pt x="45075" y="2029"/>
                    <a:pt x="108684" y="-167"/>
                  </a:cubicBezTo>
                  <a:cubicBezTo>
                    <a:pt x="172152" y="-2362"/>
                    <a:pt x="225561" y="47397"/>
                    <a:pt x="227685" y="110952"/>
                  </a:cubicBezTo>
                  <a:cubicBezTo>
                    <a:pt x="229812" y="174522"/>
                    <a:pt x="180086" y="227822"/>
                    <a:pt x="116477" y="230003"/>
                  </a:cubicBezTo>
                  <a:cubicBezTo>
                    <a:pt x="114917" y="230060"/>
                    <a:pt x="113360" y="230088"/>
                    <a:pt x="111801" y="230074"/>
                  </a:cubicBezTo>
                  <a:cubicBezTo>
                    <a:pt x="49748" y="231179"/>
                    <a:pt x="-1393" y="181788"/>
                    <a:pt x="-2527" y="119762"/>
                  </a:cubicBezTo>
                  <a:cubicBezTo>
                    <a:pt x="-2527" y="119465"/>
                    <a:pt x="-2527" y="119182"/>
                    <a:pt x="-2527" y="118884"/>
                  </a:cubicBezTo>
                </a:path>
              </a:pathLst>
            </a:custGeom>
            <a:solidFill>
              <a:schemeClr val="tx1"/>
            </a:solidFill>
            <a:ln w="14153" cap="flat">
              <a:noFill/>
              <a:prstDash val="solid"/>
              <a:miter/>
            </a:ln>
          </p:spPr>
          <p:txBody>
            <a:bodyPr rtlCol="0" anchor="ctr"/>
            <a:lstStyle/>
            <a:p>
              <a:endParaRPr lang="en-GB">
                <a:solidFill>
                  <a:schemeClr val="tx1"/>
                </a:solidFill>
              </a:endParaRPr>
            </a:p>
          </p:txBody>
        </p:sp>
      </p:grpSp>
      <p:grpSp>
        <p:nvGrpSpPr>
          <p:cNvPr id="2" name="Group 1">
            <a:extLst>
              <a:ext uri="{FF2B5EF4-FFF2-40B4-BE49-F238E27FC236}">
                <a16:creationId xmlns:a16="http://schemas.microsoft.com/office/drawing/2014/main" id="{FF6A65B9-ADDA-482F-9F23-565796B0C61B}"/>
              </a:ext>
            </a:extLst>
          </p:cNvPr>
          <p:cNvGrpSpPr/>
          <p:nvPr userDrawn="1"/>
        </p:nvGrpSpPr>
        <p:grpSpPr>
          <a:xfrm>
            <a:off x="709879" y="2561771"/>
            <a:ext cx="8016437" cy="1431305"/>
            <a:chOff x="709879" y="2561771"/>
            <a:chExt cx="8016437" cy="1431305"/>
          </a:xfrm>
        </p:grpSpPr>
        <p:sp>
          <p:nvSpPr>
            <p:cNvPr id="15" name="Freeform: Shape 14">
              <a:extLst>
                <a:ext uri="{FF2B5EF4-FFF2-40B4-BE49-F238E27FC236}">
                  <a16:creationId xmlns:a16="http://schemas.microsoft.com/office/drawing/2014/main" id="{2842B283-E38F-4698-A84D-EFA2E277B030}"/>
                </a:ext>
              </a:extLst>
            </p:cNvPr>
            <p:cNvSpPr/>
            <p:nvPr/>
          </p:nvSpPr>
          <p:spPr>
            <a:xfrm>
              <a:off x="709879" y="2697323"/>
              <a:ext cx="1139300" cy="1271389"/>
            </a:xfrm>
            <a:custGeom>
              <a:avLst/>
              <a:gdLst>
                <a:gd name="connsiteX0" fmla="*/ 329762 w 1139300"/>
                <a:gd name="connsiteY0" fmla="*/ 1214071 h 1271389"/>
                <a:gd name="connsiteX1" fmla="*/ 419581 w 1139300"/>
                <a:gd name="connsiteY1" fmla="*/ 1197499 h 1271389"/>
                <a:gd name="connsiteX2" fmla="*/ 476249 w 1139300"/>
                <a:gd name="connsiteY2" fmla="*/ 1087442 h 1271389"/>
                <a:gd name="connsiteX3" fmla="*/ 476249 w 1139300"/>
                <a:gd name="connsiteY3" fmla="*/ 757271 h 1271389"/>
                <a:gd name="connsiteX4" fmla="*/ 188235 w 1139300"/>
                <a:gd name="connsiteY4" fmla="*/ 230925 h 1271389"/>
                <a:gd name="connsiteX5" fmla="*/ 43308 w 1139300"/>
                <a:gd name="connsiteY5" fmla="*/ 67752 h 1271389"/>
                <a:gd name="connsiteX6" fmla="*/ -2593 w 1139300"/>
                <a:gd name="connsiteY6" fmla="*/ 54863 h 1271389"/>
                <a:gd name="connsiteX7" fmla="*/ -2593 w 1139300"/>
                <a:gd name="connsiteY7" fmla="*/ -237 h 1271389"/>
                <a:gd name="connsiteX8" fmla="*/ 479932 w 1139300"/>
                <a:gd name="connsiteY8" fmla="*/ -237 h 1271389"/>
                <a:gd name="connsiteX9" fmla="*/ 479932 w 1139300"/>
                <a:gd name="connsiteY9" fmla="*/ 54863 h 1271389"/>
                <a:gd name="connsiteX10" fmla="*/ 434032 w 1139300"/>
                <a:gd name="connsiteY10" fmla="*/ 65911 h 1271389"/>
                <a:gd name="connsiteX11" fmla="*/ 356961 w 1139300"/>
                <a:gd name="connsiteY11" fmla="*/ 131917 h 1271389"/>
                <a:gd name="connsiteX12" fmla="*/ 397338 w 1139300"/>
                <a:gd name="connsiteY12" fmla="*/ 231067 h 1271389"/>
                <a:gd name="connsiteX13" fmla="*/ 617776 w 1139300"/>
                <a:gd name="connsiteY13" fmla="*/ 653305 h 1271389"/>
                <a:gd name="connsiteX14" fmla="*/ 625143 w 1139300"/>
                <a:gd name="connsiteY14" fmla="*/ 653305 h 1271389"/>
                <a:gd name="connsiteX15" fmla="*/ 837647 w 1139300"/>
                <a:gd name="connsiteY15" fmla="*/ 231492 h 1271389"/>
                <a:gd name="connsiteX16" fmla="*/ 868813 w 1139300"/>
                <a:gd name="connsiteY16" fmla="*/ 132342 h 1271389"/>
                <a:gd name="connsiteX17" fmla="*/ 802793 w 1139300"/>
                <a:gd name="connsiteY17" fmla="*/ 68177 h 1271389"/>
                <a:gd name="connsiteX18" fmla="*/ 744002 w 1139300"/>
                <a:gd name="connsiteY18" fmla="*/ 55288 h 1271389"/>
                <a:gd name="connsiteX19" fmla="*/ 744002 w 1139300"/>
                <a:gd name="connsiteY19" fmla="*/ 189 h 1271389"/>
                <a:gd name="connsiteX20" fmla="*/ 1136708 w 1139300"/>
                <a:gd name="connsiteY20" fmla="*/ 189 h 1271389"/>
                <a:gd name="connsiteX21" fmla="*/ 1136708 w 1139300"/>
                <a:gd name="connsiteY21" fmla="*/ 55288 h 1271389"/>
                <a:gd name="connsiteX22" fmla="*/ 1096334 w 1139300"/>
                <a:gd name="connsiteY22" fmla="*/ 68177 h 1271389"/>
                <a:gd name="connsiteX23" fmla="*/ 931146 w 1139300"/>
                <a:gd name="connsiteY23" fmla="*/ 256987 h 1271389"/>
                <a:gd name="connsiteX24" fmla="*/ 676142 w 1139300"/>
                <a:gd name="connsiteY24" fmla="*/ 743107 h 1271389"/>
                <a:gd name="connsiteX25" fmla="*/ 676142 w 1139300"/>
                <a:gd name="connsiteY25" fmla="*/ 1087867 h 1271389"/>
                <a:gd name="connsiteX26" fmla="*/ 734937 w 1139300"/>
                <a:gd name="connsiteY26" fmla="*/ 1197924 h 1271389"/>
                <a:gd name="connsiteX27" fmla="*/ 824752 w 1139300"/>
                <a:gd name="connsiteY27" fmla="*/ 1214496 h 1271389"/>
                <a:gd name="connsiteX28" fmla="*/ 824752 w 1139300"/>
                <a:gd name="connsiteY28" fmla="*/ 1271153 h 1271389"/>
                <a:gd name="connsiteX29" fmla="*/ 328911 w 1139300"/>
                <a:gd name="connsiteY29" fmla="*/ 1271153 h 127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39300" h="1271389">
                  <a:moveTo>
                    <a:pt x="329762" y="1214071"/>
                  </a:moveTo>
                  <a:lnTo>
                    <a:pt x="419581" y="1197499"/>
                  </a:lnTo>
                  <a:cubicBezTo>
                    <a:pt x="463638" y="1188292"/>
                    <a:pt x="476249" y="1179227"/>
                    <a:pt x="476249" y="1087442"/>
                  </a:cubicBezTo>
                  <a:lnTo>
                    <a:pt x="476249" y="757271"/>
                  </a:lnTo>
                  <a:lnTo>
                    <a:pt x="188235" y="230925"/>
                  </a:lnTo>
                  <a:cubicBezTo>
                    <a:pt x="122218" y="113503"/>
                    <a:pt x="94590" y="82341"/>
                    <a:pt x="43308" y="67752"/>
                  </a:cubicBezTo>
                  <a:lnTo>
                    <a:pt x="-2593" y="54863"/>
                  </a:lnTo>
                  <a:lnTo>
                    <a:pt x="-2593" y="-237"/>
                  </a:lnTo>
                  <a:lnTo>
                    <a:pt x="479932" y="-237"/>
                  </a:lnTo>
                  <a:lnTo>
                    <a:pt x="479932" y="54863"/>
                  </a:lnTo>
                  <a:lnTo>
                    <a:pt x="434032" y="65911"/>
                  </a:lnTo>
                  <a:cubicBezTo>
                    <a:pt x="375379" y="78659"/>
                    <a:pt x="356961" y="98913"/>
                    <a:pt x="356961" y="131917"/>
                  </a:cubicBezTo>
                  <a:cubicBezTo>
                    <a:pt x="356961" y="155713"/>
                    <a:pt x="373539" y="185033"/>
                    <a:pt x="397338" y="231067"/>
                  </a:cubicBezTo>
                  <a:lnTo>
                    <a:pt x="617776" y="653305"/>
                  </a:lnTo>
                  <a:lnTo>
                    <a:pt x="625143" y="653305"/>
                  </a:lnTo>
                  <a:lnTo>
                    <a:pt x="837647" y="231492"/>
                  </a:lnTo>
                  <a:cubicBezTo>
                    <a:pt x="859602" y="185600"/>
                    <a:pt x="868813" y="156279"/>
                    <a:pt x="868813" y="132342"/>
                  </a:cubicBezTo>
                  <a:cubicBezTo>
                    <a:pt x="868813" y="97497"/>
                    <a:pt x="848694" y="79084"/>
                    <a:pt x="802793" y="68177"/>
                  </a:cubicBezTo>
                  <a:lnTo>
                    <a:pt x="744002" y="55288"/>
                  </a:lnTo>
                  <a:lnTo>
                    <a:pt x="744002" y="189"/>
                  </a:lnTo>
                  <a:lnTo>
                    <a:pt x="1136708" y="189"/>
                  </a:lnTo>
                  <a:lnTo>
                    <a:pt x="1136708" y="55288"/>
                  </a:lnTo>
                  <a:lnTo>
                    <a:pt x="1096334" y="68177"/>
                  </a:lnTo>
                  <a:cubicBezTo>
                    <a:pt x="1033856" y="88290"/>
                    <a:pt x="1002689" y="113928"/>
                    <a:pt x="931146" y="256987"/>
                  </a:cubicBezTo>
                  <a:lnTo>
                    <a:pt x="676142" y="743107"/>
                  </a:lnTo>
                  <a:lnTo>
                    <a:pt x="676142" y="1087867"/>
                  </a:lnTo>
                  <a:cubicBezTo>
                    <a:pt x="676142" y="1179652"/>
                    <a:pt x="683509" y="1188717"/>
                    <a:pt x="734937" y="1197924"/>
                  </a:cubicBezTo>
                  <a:lnTo>
                    <a:pt x="824752" y="1214496"/>
                  </a:lnTo>
                  <a:lnTo>
                    <a:pt x="824752" y="1271153"/>
                  </a:lnTo>
                  <a:lnTo>
                    <a:pt x="328911" y="1271153"/>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6" name="Freeform: Shape 15">
              <a:extLst>
                <a:ext uri="{FF2B5EF4-FFF2-40B4-BE49-F238E27FC236}">
                  <a16:creationId xmlns:a16="http://schemas.microsoft.com/office/drawing/2014/main" id="{536ADBA9-BD5E-4F5B-B3C6-6727491B57EA}"/>
                </a:ext>
              </a:extLst>
            </p:cNvPr>
            <p:cNvSpPr/>
            <p:nvPr/>
          </p:nvSpPr>
          <p:spPr>
            <a:xfrm>
              <a:off x="1721900" y="3006248"/>
              <a:ext cx="926375" cy="986828"/>
            </a:xfrm>
            <a:custGeom>
              <a:avLst/>
              <a:gdLst>
                <a:gd name="connsiteX0" fmla="*/ 722610 w 926375"/>
                <a:gd name="connsiteY0" fmla="*/ 508970 h 986828"/>
                <a:gd name="connsiteX1" fmla="*/ 454715 w 926375"/>
                <a:gd name="connsiteY1" fmla="*/ 76109 h 986828"/>
                <a:gd name="connsiteX2" fmla="*/ 199711 w 926375"/>
                <a:gd name="connsiteY2" fmla="*/ 468602 h 986828"/>
                <a:gd name="connsiteX3" fmla="*/ 468882 w 926375"/>
                <a:gd name="connsiteY3" fmla="*/ 907696 h 986828"/>
                <a:gd name="connsiteX4" fmla="*/ 722046 w 926375"/>
                <a:gd name="connsiteY4" fmla="*/ 509679 h 986828"/>
                <a:gd name="connsiteX5" fmla="*/ -2593 w 926375"/>
                <a:gd name="connsiteY5" fmla="*/ 495515 h 986828"/>
                <a:gd name="connsiteX6" fmla="*/ 461515 w 926375"/>
                <a:gd name="connsiteY6" fmla="*/ -237 h 986828"/>
                <a:gd name="connsiteX7" fmla="*/ 923782 w 926375"/>
                <a:gd name="connsiteY7" fmla="*/ 483900 h 986828"/>
                <a:gd name="connsiteX8" fmla="*/ 461515 w 926375"/>
                <a:gd name="connsiteY8" fmla="*/ 986591 h 986828"/>
                <a:gd name="connsiteX9" fmla="*/ -2593 w 926375"/>
                <a:gd name="connsiteY9" fmla="*/ 494948 h 98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375" h="986828">
                  <a:moveTo>
                    <a:pt x="722610" y="508970"/>
                  </a:moveTo>
                  <a:cubicBezTo>
                    <a:pt x="722610" y="197355"/>
                    <a:pt x="634492" y="76109"/>
                    <a:pt x="454715" y="76109"/>
                  </a:cubicBezTo>
                  <a:cubicBezTo>
                    <a:pt x="289672" y="76109"/>
                    <a:pt x="199711" y="193531"/>
                    <a:pt x="199711" y="468602"/>
                  </a:cubicBezTo>
                  <a:cubicBezTo>
                    <a:pt x="199711" y="780217"/>
                    <a:pt x="289672" y="907696"/>
                    <a:pt x="468882" y="907696"/>
                  </a:cubicBezTo>
                  <a:cubicBezTo>
                    <a:pt x="633925" y="907696"/>
                    <a:pt x="722046" y="784750"/>
                    <a:pt x="722046" y="509679"/>
                  </a:cubicBezTo>
                  <a:moveTo>
                    <a:pt x="-2593" y="495515"/>
                  </a:moveTo>
                  <a:cubicBezTo>
                    <a:pt x="-2593" y="174551"/>
                    <a:pt x="221245" y="-237"/>
                    <a:pt x="461515" y="-237"/>
                  </a:cubicBezTo>
                  <a:cubicBezTo>
                    <a:pt x="722046" y="-237"/>
                    <a:pt x="923782" y="159253"/>
                    <a:pt x="923782" y="483900"/>
                  </a:cubicBezTo>
                  <a:cubicBezTo>
                    <a:pt x="923782" y="805005"/>
                    <a:pt x="699945" y="986591"/>
                    <a:pt x="461515" y="986591"/>
                  </a:cubicBezTo>
                  <a:cubicBezTo>
                    <a:pt x="199144" y="986591"/>
                    <a:pt x="-2593" y="819594"/>
                    <a:pt x="-2593" y="494948"/>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7" name="Freeform: Shape 16">
              <a:extLst>
                <a:ext uri="{FF2B5EF4-FFF2-40B4-BE49-F238E27FC236}">
                  <a16:creationId xmlns:a16="http://schemas.microsoft.com/office/drawing/2014/main" id="{D5AA8B4A-9A21-4C86-ABC7-8AD2968130E6}"/>
                </a:ext>
              </a:extLst>
            </p:cNvPr>
            <p:cNvSpPr/>
            <p:nvPr/>
          </p:nvSpPr>
          <p:spPr>
            <a:xfrm>
              <a:off x="2689950" y="3009222"/>
              <a:ext cx="1025401" cy="981446"/>
            </a:xfrm>
            <a:custGeom>
              <a:avLst/>
              <a:gdLst>
                <a:gd name="connsiteX0" fmla="*/ 122077 w 1025401"/>
                <a:gd name="connsiteY0" fmla="*/ 740699 h 981446"/>
                <a:gd name="connsiteX1" fmla="*/ 122077 w 1025401"/>
                <a:gd name="connsiteY1" fmla="*/ 201463 h 981446"/>
                <a:gd name="connsiteX2" fmla="*/ 72634 w 1025401"/>
                <a:gd name="connsiteY2" fmla="*/ 113503 h 981446"/>
                <a:gd name="connsiteX3" fmla="*/ -2593 w 1025401"/>
                <a:gd name="connsiteY3" fmla="*/ 80500 h 981446"/>
                <a:gd name="connsiteX4" fmla="*/ -2593 w 1025401"/>
                <a:gd name="connsiteY4" fmla="*/ 30924 h 981446"/>
                <a:gd name="connsiteX5" fmla="*/ 278054 w 1025401"/>
                <a:gd name="connsiteY5" fmla="*/ -237 h 981446"/>
                <a:gd name="connsiteX6" fmla="*/ 305537 w 1025401"/>
                <a:gd name="connsiteY6" fmla="*/ 18035 h 981446"/>
                <a:gd name="connsiteX7" fmla="*/ 305537 w 1025401"/>
                <a:gd name="connsiteY7" fmla="*/ 697923 h 981446"/>
                <a:gd name="connsiteX8" fmla="*/ 463358 w 1025401"/>
                <a:gd name="connsiteY8" fmla="*/ 861238 h 981446"/>
                <a:gd name="connsiteX9" fmla="*/ 716519 w 1025401"/>
                <a:gd name="connsiteY9" fmla="*/ 793390 h 981446"/>
                <a:gd name="connsiteX10" fmla="*/ 716519 w 1025401"/>
                <a:gd name="connsiteY10" fmla="*/ 201463 h 981446"/>
                <a:gd name="connsiteX11" fmla="*/ 666935 w 1025401"/>
                <a:gd name="connsiteY11" fmla="*/ 113503 h 981446"/>
                <a:gd name="connsiteX12" fmla="*/ 593551 w 1025401"/>
                <a:gd name="connsiteY12" fmla="*/ 80500 h 981446"/>
                <a:gd name="connsiteX13" fmla="*/ 593551 w 1025401"/>
                <a:gd name="connsiteY13" fmla="*/ 30924 h 981446"/>
                <a:gd name="connsiteX14" fmla="*/ 874337 w 1025401"/>
                <a:gd name="connsiteY14" fmla="*/ -237 h 981446"/>
                <a:gd name="connsiteX15" fmla="*/ 899979 w 1025401"/>
                <a:gd name="connsiteY15" fmla="*/ 18035 h 981446"/>
                <a:gd name="connsiteX16" fmla="*/ 899979 w 1025401"/>
                <a:gd name="connsiteY16" fmla="*/ 748064 h 981446"/>
                <a:gd name="connsiteX17" fmla="*/ 954949 w 1025401"/>
                <a:gd name="connsiteY17" fmla="*/ 861379 h 981446"/>
                <a:gd name="connsiteX18" fmla="*/ 1022809 w 1025401"/>
                <a:gd name="connsiteY18" fmla="*/ 892541 h 981446"/>
                <a:gd name="connsiteX19" fmla="*/ 1022809 w 1025401"/>
                <a:gd name="connsiteY19" fmla="*/ 942116 h 981446"/>
                <a:gd name="connsiteX20" fmla="*/ 736635 w 1025401"/>
                <a:gd name="connsiteY20" fmla="*/ 980643 h 981446"/>
                <a:gd name="connsiteX21" fmla="*/ 716519 w 1025401"/>
                <a:gd name="connsiteY21" fmla="*/ 966478 h 981446"/>
                <a:gd name="connsiteX22" fmla="*/ 725726 w 1025401"/>
                <a:gd name="connsiteY22" fmla="*/ 856421 h 981446"/>
                <a:gd name="connsiteX23" fmla="*/ 718362 w 1025401"/>
                <a:gd name="connsiteY23" fmla="*/ 856421 h 981446"/>
                <a:gd name="connsiteX24" fmla="*/ 369855 w 1025401"/>
                <a:gd name="connsiteY24" fmla="*/ 981209 h 981446"/>
                <a:gd name="connsiteX25" fmla="*/ 122077 w 1025401"/>
                <a:gd name="connsiteY25" fmla="*/ 740416 h 98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25401" h="981446">
                  <a:moveTo>
                    <a:pt x="122077" y="740699"/>
                  </a:moveTo>
                  <a:lnTo>
                    <a:pt x="122077" y="201463"/>
                  </a:lnTo>
                  <a:cubicBezTo>
                    <a:pt x="122077" y="133616"/>
                    <a:pt x="114851" y="131775"/>
                    <a:pt x="72634" y="113503"/>
                  </a:cubicBezTo>
                  <a:lnTo>
                    <a:pt x="-2593" y="80500"/>
                  </a:lnTo>
                  <a:lnTo>
                    <a:pt x="-2593" y="30924"/>
                  </a:lnTo>
                  <a:lnTo>
                    <a:pt x="278054" y="-237"/>
                  </a:lnTo>
                  <a:lnTo>
                    <a:pt x="305537" y="18035"/>
                  </a:lnTo>
                  <a:lnTo>
                    <a:pt x="305537" y="697923"/>
                  </a:lnTo>
                  <a:cubicBezTo>
                    <a:pt x="305537" y="804297"/>
                    <a:pt x="353281" y="861238"/>
                    <a:pt x="463358" y="861238"/>
                  </a:cubicBezTo>
                  <a:cubicBezTo>
                    <a:pt x="553174" y="861238"/>
                    <a:pt x="648659" y="822711"/>
                    <a:pt x="716519" y="793390"/>
                  </a:cubicBezTo>
                  <a:lnTo>
                    <a:pt x="716519" y="201463"/>
                  </a:lnTo>
                  <a:cubicBezTo>
                    <a:pt x="716519" y="133616"/>
                    <a:pt x="710995" y="131775"/>
                    <a:pt x="666935" y="113503"/>
                  </a:cubicBezTo>
                  <a:lnTo>
                    <a:pt x="593551" y="80500"/>
                  </a:lnTo>
                  <a:lnTo>
                    <a:pt x="593551" y="30924"/>
                  </a:lnTo>
                  <a:lnTo>
                    <a:pt x="874337" y="-237"/>
                  </a:lnTo>
                  <a:lnTo>
                    <a:pt x="899979" y="18035"/>
                  </a:lnTo>
                  <a:lnTo>
                    <a:pt x="899979" y="748064"/>
                  </a:lnTo>
                  <a:cubicBezTo>
                    <a:pt x="899979" y="830643"/>
                    <a:pt x="911030" y="841549"/>
                    <a:pt x="954949" y="861379"/>
                  </a:cubicBezTo>
                  <a:lnTo>
                    <a:pt x="1022809" y="892541"/>
                  </a:lnTo>
                  <a:lnTo>
                    <a:pt x="1022809" y="942116"/>
                  </a:lnTo>
                  <a:lnTo>
                    <a:pt x="736635" y="980643"/>
                  </a:lnTo>
                  <a:lnTo>
                    <a:pt x="716519" y="966478"/>
                  </a:lnTo>
                  <a:lnTo>
                    <a:pt x="725726" y="856421"/>
                  </a:lnTo>
                  <a:lnTo>
                    <a:pt x="718362" y="856421"/>
                  </a:lnTo>
                  <a:cubicBezTo>
                    <a:pt x="621176" y="920586"/>
                    <a:pt x="498208" y="981209"/>
                    <a:pt x="369855" y="981209"/>
                  </a:cubicBezTo>
                  <a:cubicBezTo>
                    <a:pt x="215718" y="981209"/>
                    <a:pt x="122077" y="896223"/>
                    <a:pt x="122077" y="740416"/>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8" name="Freeform: Shape 17">
              <a:extLst>
                <a:ext uri="{FF2B5EF4-FFF2-40B4-BE49-F238E27FC236}">
                  <a16:creationId xmlns:a16="http://schemas.microsoft.com/office/drawing/2014/main" id="{946FCCF5-48EF-48E2-87BE-2AD683778623}"/>
                </a:ext>
              </a:extLst>
            </p:cNvPr>
            <p:cNvSpPr/>
            <p:nvPr/>
          </p:nvSpPr>
          <p:spPr>
            <a:xfrm>
              <a:off x="3797828" y="3005114"/>
              <a:ext cx="697435" cy="962890"/>
            </a:xfrm>
            <a:custGeom>
              <a:avLst/>
              <a:gdLst>
                <a:gd name="connsiteX0" fmla="*/ -1745 w 697435"/>
                <a:gd name="connsiteY0" fmla="*/ 908121 h 962890"/>
                <a:gd name="connsiteX1" fmla="*/ 73482 w 697435"/>
                <a:gd name="connsiteY1" fmla="*/ 887867 h 962890"/>
                <a:gd name="connsiteX2" fmla="*/ 122924 w 697435"/>
                <a:gd name="connsiteY2" fmla="*/ 792540 h 962890"/>
                <a:gd name="connsiteX3" fmla="*/ 122924 w 697435"/>
                <a:gd name="connsiteY3" fmla="*/ 223985 h 962890"/>
                <a:gd name="connsiteX4" fmla="*/ 67958 w 697435"/>
                <a:gd name="connsiteY4" fmla="*/ 124834 h 962890"/>
                <a:gd name="connsiteX5" fmla="*/ -1745 w 697435"/>
                <a:gd name="connsiteY5" fmla="*/ 89990 h 962890"/>
                <a:gd name="connsiteX6" fmla="*/ -1745 w 697435"/>
                <a:gd name="connsiteY6" fmla="*/ 42398 h 962890"/>
                <a:gd name="connsiteX7" fmla="*/ 288109 w 697435"/>
                <a:gd name="connsiteY7" fmla="*/ 3871 h 962890"/>
                <a:gd name="connsiteX8" fmla="*/ 306385 w 697435"/>
                <a:gd name="connsiteY8" fmla="*/ 18035 h 962890"/>
                <a:gd name="connsiteX9" fmla="*/ 297319 w 697435"/>
                <a:gd name="connsiteY9" fmla="*/ 124410 h 962890"/>
                <a:gd name="connsiteX10" fmla="*/ 304544 w 697435"/>
                <a:gd name="connsiteY10" fmla="*/ 124410 h 962890"/>
                <a:gd name="connsiteX11" fmla="*/ 573716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745" y="908121"/>
                  </a:moveTo>
                  <a:lnTo>
                    <a:pt x="73482" y="887867"/>
                  </a:lnTo>
                  <a:cubicBezTo>
                    <a:pt x="110175" y="878660"/>
                    <a:pt x="122924" y="864070"/>
                    <a:pt x="122924" y="792540"/>
                  </a:cubicBezTo>
                  <a:lnTo>
                    <a:pt x="122924" y="223985"/>
                  </a:lnTo>
                  <a:cubicBezTo>
                    <a:pt x="122924" y="150613"/>
                    <a:pt x="113859" y="146931"/>
                    <a:pt x="67958" y="124834"/>
                  </a:cubicBezTo>
                  <a:lnTo>
                    <a:pt x="-1745" y="89990"/>
                  </a:lnTo>
                  <a:lnTo>
                    <a:pt x="-1745" y="42398"/>
                  </a:lnTo>
                  <a:lnTo>
                    <a:pt x="288109" y="3871"/>
                  </a:lnTo>
                  <a:lnTo>
                    <a:pt x="306385" y="18035"/>
                  </a:lnTo>
                  <a:lnTo>
                    <a:pt x="297319" y="124410"/>
                  </a:lnTo>
                  <a:lnTo>
                    <a:pt x="304544" y="124410"/>
                  </a:lnTo>
                  <a:cubicBezTo>
                    <a:pt x="368863" y="60245"/>
                    <a:pt x="482482" y="-237"/>
                    <a:pt x="573716" y="-237"/>
                  </a:cubicBezTo>
                  <a:cubicBezTo>
                    <a:pt x="648943" y="-237"/>
                    <a:pt x="694843" y="40132"/>
                    <a:pt x="694843" y="109820"/>
                  </a:cubicBezTo>
                  <a:cubicBezTo>
                    <a:pt x="694843" y="179509"/>
                    <a:pt x="648943" y="212511"/>
                    <a:pt x="595675" y="212511"/>
                  </a:cubicBezTo>
                  <a:cubicBezTo>
                    <a:pt x="527815" y="212511"/>
                    <a:pt x="507696" y="194098"/>
                    <a:pt x="491121" y="153871"/>
                  </a:cubicBezTo>
                  <a:cubicBezTo>
                    <a:pt x="480213" y="128092"/>
                    <a:pt x="467322" y="122568"/>
                    <a:pt x="448621" y="122568"/>
                  </a:cubicBezTo>
                  <a:cubicBezTo>
                    <a:pt x="411927"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9" name="Freeform: Shape 18">
              <a:extLst>
                <a:ext uri="{FF2B5EF4-FFF2-40B4-BE49-F238E27FC236}">
                  <a16:creationId xmlns:a16="http://schemas.microsoft.com/office/drawing/2014/main" id="{E6C9BFD1-C9BB-438B-AD5A-1A227956C157}"/>
                </a:ext>
              </a:extLst>
            </p:cNvPr>
            <p:cNvSpPr/>
            <p:nvPr/>
          </p:nvSpPr>
          <p:spPr>
            <a:xfrm>
              <a:off x="4980338" y="2561771"/>
              <a:ext cx="982613" cy="1406800"/>
            </a:xfrm>
            <a:custGeom>
              <a:avLst/>
              <a:gdLst>
                <a:gd name="connsiteX0" fmla="*/ 310777 w 982613"/>
                <a:gd name="connsiteY0" fmla="*/ 472852 h 1406800"/>
                <a:gd name="connsiteX1" fmla="*/ 647808 w 982613"/>
                <a:gd name="connsiteY1" fmla="*/ 472852 h 1406800"/>
                <a:gd name="connsiteX2" fmla="*/ 846145 w 982613"/>
                <a:gd name="connsiteY2" fmla="*/ 447214 h 1406800"/>
                <a:gd name="connsiteX3" fmla="*/ 866260 w 982613"/>
                <a:gd name="connsiteY3" fmla="*/ 458121 h 1406800"/>
                <a:gd name="connsiteX4" fmla="*/ 857195 w 982613"/>
                <a:gd name="connsiteY4" fmla="*/ 626959 h 1406800"/>
                <a:gd name="connsiteX5" fmla="*/ 857195 w 982613"/>
                <a:gd name="connsiteY5" fmla="*/ 1236025 h 1406800"/>
                <a:gd name="connsiteX6" fmla="*/ 904794 w 982613"/>
                <a:gd name="connsiteY6" fmla="*/ 1331351 h 1406800"/>
                <a:gd name="connsiteX7" fmla="*/ 980021 w 982613"/>
                <a:gd name="connsiteY7" fmla="*/ 1351606 h 1406800"/>
                <a:gd name="connsiteX8" fmla="*/ 980021 w 982613"/>
                <a:gd name="connsiteY8" fmla="*/ 1406564 h 1406800"/>
                <a:gd name="connsiteX9" fmla="*/ 555014 w 982613"/>
                <a:gd name="connsiteY9" fmla="*/ 1406564 h 1406800"/>
                <a:gd name="connsiteX10" fmla="*/ 555014 w 982613"/>
                <a:gd name="connsiteY10" fmla="*/ 1351606 h 1406800"/>
                <a:gd name="connsiteX11" fmla="*/ 624718 w 982613"/>
                <a:gd name="connsiteY11" fmla="*/ 1331351 h 1406800"/>
                <a:gd name="connsiteX12" fmla="*/ 674302 w 982613"/>
                <a:gd name="connsiteY12" fmla="*/ 1236025 h 1406800"/>
                <a:gd name="connsiteX13" fmla="*/ 674302 w 982613"/>
                <a:gd name="connsiteY13" fmla="*/ 667328 h 1406800"/>
                <a:gd name="connsiteX14" fmla="*/ 600915 w 982613"/>
                <a:gd name="connsiteY14" fmla="*/ 570019 h 1406800"/>
                <a:gd name="connsiteX15" fmla="*/ 311061 w 982613"/>
                <a:gd name="connsiteY15" fmla="*/ 570019 h 1406800"/>
                <a:gd name="connsiteX16" fmla="*/ 311061 w 982613"/>
                <a:gd name="connsiteY16" fmla="*/ 1226677 h 1406800"/>
                <a:gd name="connsiteX17" fmla="*/ 358805 w 982613"/>
                <a:gd name="connsiteY17" fmla="*/ 1331210 h 1406800"/>
                <a:gd name="connsiteX18" fmla="*/ 434028 w 982613"/>
                <a:gd name="connsiteY18" fmla="*/ 1351465 h 1406800"/>
                <a:gd name="connsiteX19" fmla="*/ 434028 w 982613"/>
                <a:gd name="connsiteY19" fmla="*/ 1406422 h 1406800"/>
                <a:gd name="connsiteX20" fmla="*/ 2789 w 982613"/>
                <a:gd name="connsiteY20" fmla="*/ 1406422 h 1406800"/>
                <a:gd name="connsiteX21" fmla="*/ 2789 w 982613"/>
                <a:gd name="connsiteY21" fmla="*/ 1351465 h 1406800"/>
                <a:gd name="connsiteX22" fmla="*/ 78016 w 982613"/>
                <a:gd name="connsiteY22" fmla="*/ 1331210 h 1406800"/>
                <a:gd name="connsiteX23" fmla="*/ 127600 w 982613"/>
                <a:gd name="connsiteY23" fmla="*/ 1235884 h 1406800"/>
                <a:gd name="connsiteX24" fmla="*/ 127600 w 982613"/>
                <a:gd name="connsiteY24" fmla="*/ 570160 h 1406800"/>
                <a:gd name="connsiteX25" fmla="*/ -2593 w 982613"/>
                <a:gd name="connsiteY25" fmla="*/ 570160 h 1406800"/>
                <a:gd name="connsiteX26" fmla="*/ -2593 w 982613"/>
                <a:gd name="connsiteY26" fmla="*/ 515203 h 1406800"/>
                <a:gd name="connsiteX27" fmla="*/ 127600 w 982613"/>
                <a:gd name="connsiteY27" fmla="*/ 471152 h 1406800"/>
                <a:gd name="connsiteX28" fmla="*/ 127600 w 982613"/>
                <a:gd name="connsiteY28" fmla="*/ 397781 h 1406800"/>
                <a:gd name="connsiteX29" fmla="*/ 567908 w 982613"/>
                <a:gd name="connsiteY29" fmla="*/ -237 h 1406800"/>
                <a:gd name="connsiteX30" fmla="*/ 778852 w 982613"/>
                <a:gd name="connsiteY30" fmla="*/ 115344 h 1406800"/>
                <a:gd name="connsiteX31" fmla="*/ 679684 w 982613"/>
                <a:gd name="connsiteY31" fmla="*/ 216194 h 1406800"/>
                <a:gd name="connsiteX32" fmla="*/ 566348 w 982613"/>
                <a:gd name="connsiteY32" fmla="*/ 113503 h 1406800"/>
                <a:gd name="connsiteX33" fmla="*/ 514924 w 982613"/>
                <a:gd name="connsiteY33" fmla="*/ 65769 h 1406800"/>
                <a:gd name="connsiteX34" fmla="*/ 311344 w 982613"/>
                <a:gd name="connsiteY34" fmla="*/ 300613 h 140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613" h="1406800">
                  <a:moveTo>
                    <a:pt x="310777" y="472852"/>
                  </a:moveTo>
                  <a:lnTo>
                    <a:pt x="647808" y="472852"/>
                  </a:lnTo>
                  <a:lnTo>
                    <a:pt x="846145" y="447214"/>
                  </a:lnTo>
                  <a:lnTo>
                    <a:pt x="866260" y="458121"/>
                  </a:lnTo>
                  <a:cubicBezTo>
                    <a:pt x="860170" y="514197"/>
                    <a:pt x="857195" y="570557"/>
                    <a:pt x="857195" y="626959"/>
                  </a:cubicBezTo>
                  <a:lnTo>
                    <a:pt x="857195" y="1236025"/>
                  </a:lnTo>
                  <a:cubicBezTo>
                    <a:pt x="857195" y="1313079"/>
                    <a:pt x="868104" y="1322286"/>
                    <a:pt x="904794" y="1331351"/>
                  </a:cubicBezTo>
                  <a:lnTo>
                    <a:pt x="980021" y="1351606"/>
                  </a:lnTo>
                  <a:lnTo>
                    <a:pt x="980021" y="1406564"/>
                  </a:lnTo>
                  <a:lnTo>
                    <a:pt x="555014" y="1406564"/>
                  </a:lnTo>
                  <a:lnTo>
                    <a:pt x="555014" y="1351606"/>
                  </a:lnTo>
                  <a:lnTo>
                    <a:pt x="624718" y="1331351"/>
                  </a:lnTo>
                  <a:cubicBezTo>
                    <a:pt x="659568" y="1322286"/>
                    <a:pt x="674302" y="1307555"/>
                    <a:pt x="674302" y="1236025"/>
                  </a:cubicBezTo>
                  <a:lnTo>
                    <a:pt x="674302" y="667328"/>
                  </a:lnTo>
                  <a:cubicBezTo>
                    <a:pt x="674302" y="593956"/>
                    <a:pt x="648517" y="570019"/>
                    <a:pt x="600915" y="570019"/>
                  </a:cubicBezTo>
                  <a:lnTo>
                    <a:pt x="311061" y="570019"/>
                  </a:lnTo>
                  <a:lnTo>
                    <a:pt x="311061" y="1226677"/>
                  </a:lnTo>
                  <a:cubicBezTo>
                    <a:pt x="311061" y="1312938"/>
                    <a:pt x="318428" y="1320303"/>
                    <a:pt x="358805" y="1331210"/>
                  </a:cubicBezTo>
                  <a:lnTo>
                    <a:pt x="434028" y="1351465"/>
                  </a:lnTo>
                  <a:lnTo>
                    <a:pt x="434028" y="1406422"/>
                  </a:lnTo>
                  <a:lnTo>
                    <a:pt x="2789" y="1406422"/>
                  </a:lnTo>
                  <a:lnTo>
                    <a:pt x="2789" y="1351465"/>
                  </a:lnTo>
                  <a:lnTo>
                    <a:pt x="78016" y="1331210"/>
                  </a:lnTo>
                  <a:cubicBezTo>
                    <a:pt x="114709" y="1322144"/>
                    <a:pt x="127600" y="1307413"/>
                    <a:pt x="127600" y="1235884"/>
                  </a:cubicBezTo>
                  <a:lnTo>
                    <a:pt x="127600" y="570160"/>
                  </a:lnTo>
                  <a:lnTo>
                    <a:pt x="-2593" y="570160"/>
                  </a:lnTo>
                  <a:lnTo>
                    <a:pt x="-2593" y="515203"/>
                  </a:lnTo>
                  <a:lnTo>
                    <a:pt x="127600" y="471152"/>
                  </a:lnTo>
                  <a:lnTo>
                    <a:pt x="127600" y="397781"/>
                  </a:lnTo>
                  <a:cubicBezTo>
                    <a:pt x="127600" y="142823"/>
                    <a:pt x="305537" y="-237"/>
                    <a:pt x="567908" y="-237"/>
                  </a:cubicBezTo>
                  <a:cubicBezTo>
                    <a:pt x="714675" y="-237"/>
                    <a:pt x="778852" y="51180"/>
                    <a:pt x="778852" y="115344"/>
                  </a:cubicBezTo>
                  <a:cubicBezTo>
                    <a:pt x="778852" y="185032"/>
                    <a:pt x="738475" y="216194"/>
                    <a:pt x="679684" y="216194"/>
                  </a:cubicBezTo>
                  <a:cubicBezTo>
                    <a:pt x="608849" y="216194"/>
                    <a:pt x="574992" y="175826"/>
                    <a:pt x="566348" y="113503"/>
                  </a:cubicBezTo>
                  <a:cubicBezTo>
                    <a:pt x="562665" y="84182"/>
                    <a:pt x="549774" y="65769"/>
                    <a:pt x="514924" y="65769"/>
                  </a:cubicBezTo>
                  <a:cubicBezTo>
                    <a:pt x="406687" y="65769"/>
                    <a:pt x="311344" y="109820"/>
                    <a:pt x="311344" y="300613"/>
                  </a:cubicBez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0" name="Freeform: Shape 19">
              <a:extLst>
                <a:ext uri="{FF2B5EF4-FFF2-40B4-BE49-F238E27FC236}">
                  <a16:creationId xmlns:a16="http://schemas.microsoft.com/office/drawing/2014/main" id="{46279AA3-3300-4D7C-937A-A489B7CA46EA}"/>
                </a:ext>
              </a:extLst>
            </p:cNvPr>
            <p:cNvSpPr/>
            <p:nvPr/>
          </p:nvSpPr>
          <p:spPr>
            <a:xfrm>
              <a:off x="6051098" y="3005114"/>
              <a:ext cx="697435" cy="962890"/>
            </a:xfrm>
            <a:custGeom>
              <a:avLst/>
              <a:gdLst>
                <a:gd name="connsiteX0" fmla="*/ -1604 w 697435"/>
                <a:gd name="connsiteY0" fmla="*/ 908121 h 962890"/>
                <a:gd name="connsiteX1" fmla="*/ 73623 w 697435"/>
                <a:gd name="connsiteY1" fmla="*/ 887867 h 962890"/>
                <a:gd name="connsiteX2" fmla="*/ 123066 w 697435"/>
                <a:gd name="connsiteY2" fmla="*/ 792540 h 962890"/>
                <a:gd name="connsiteX3" fmla="*/ 123066 w 697435"/>
                <a:gd name="connsiteY3" fmla="*/ 223985 h 962890"/>
                <a:gd name="connsiteX4" fmla="*/ 68100 w 697435"/>
                <a:gd name="connsiteY4" fmla="*/ 124834 h 962890"/>
                <a:gd name="connsiteX5" fmla="*/ -1604 w 697435"/>
                <a:gd name="connsiteY5" fmla="*/ 89990 h 962890"/>
                <a:gd name="connsiteX6" fmla="*/ -1604 w 697435"/>
                <a:gd name="connsiteY6" fmla="*/ 42398 h 962890"/>
                <a:gd name="connsiteX7" fmla="*/ 288250 w 697435"/>
                <a:gd name="connsiteY7" fmla="*/ 3871 h 962890"/>
                <a:gd name="connsiteX8" fmla="*/ 306526 w 697435"/>
                <a:gd name="connsiteY8" fmla="*/ 18035 h 962890"/>
                <a:gd name="connsiteX9" fmla="*/ 297319 w 697435"/>
                <a:gd name="connsiteY9" fmla="*/ 124410 h 962890"/>
                <a:gd name="connsiteX10" fmla="*/ 304686 w 697435"/>
                <a:gd name="connsiteY10" fmla="*/ 124410 h 962890"/>
                <a:gd name="connsiteX11" fmla="*/ 573857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604" y="908121"/>
                  </a:moveTo>
                  <a:lnTo>
                    <a:pt x="73623" y="887867"/>
                  </a:lnTo>
                  <a:cubicBezTo>
                    <a:pt x="110317" y="878660"/>
                    <a:pt x="123066" y="864070"/>
                    <a:pt x="123066" y="792540"/>
                  </a:cubicBezTo>
                  <a:lnTo>
                    <a:pt x="123066" y="223985"/>
                  </a:lnTo>
                  <a:cubicBezTo>
                    <a:pt x="123066" y="150613"/>
                    <a:pt x="113859" y="146931"/>
                    <a:pt x="68100" y="124834"/>
                  </a:cubicBezTo>
                  <a:lnTo>
                    <a:pt x="-1604" y="89990"/>
                  </a:lnTo>
                  <a:lnTo>
                    <a:pt x="-1604" y="42398"/>
                  </a:lnTo>
                  <a:lnTo>
                    <a:pt x="288250" y="3871"/>
                  </a:lnTo>
                  <a:lnTo>
                    <a:pt x="306526" y="18035"/>
                  </a:lnTo>
                  <a:lnTo>
                    <a:pt x="297319" y="124410"/>
                  </a:lnTo>
                  <a:lnTo>
                    <a:pt x="304686" y="124410"/>
                  </a:lnTo>
                  <a:cubicBezTo>
                    <a:pt x="368863" y="60245"/>
                    <a:pt x="482623" y="-237"/>
                    <a:pt x="573857" y="-237"/>
                  </a:cubicBezTo>
                  <a:cubicBezTo>
                    <a:pt x="649084" y="-237"/>
                    <a:pt x="694843" y="40132"/>
                    <a:pt x="694843" y="109820"/>
                  </a:cubicBezTo>
                  <a:cubicBezTo>
                    <a:pt x="694843" y="179509"/>
                    <a:pt x="649084" y="212511"/>
                    <a:pt x="595675" y="212511"/>
                  </a:cubicBezTo>
                  <a:cubicBezTo>
                    <a:pt x="527815" y="212511"/>
                    <a:pt x="507696" y="194098"/>
                    <a:pt x="491121" y="153871"/>
                  </a:cubicBezTo>
                  <a:cubicBezTo>
                    <a:pt x="480071" y="128092"/>
                    <a:pt x="467322" y="122568"/>
                    <a:pt x="448621" y="122568"/>
                  </a:cubicBezTo>
                  <a:cubicBezTo>
                    <a:pt x="411931"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1" name="Freeform: Shape 20">
              <a:extLst>
                <a:ext uri="{FF2B5EF4-FFF2-40B4-BE49-F238E27FC236}">
                  <a16:creationId xmlns:a16="http://schemas.microsoft.com/office/drawing/2014/main" id="{B5E217A5-A8A8-44A5-ACCB-4BA33AF862DA}"/>
                </a:ext>
              </a:extLst>
            </p:cNvPr>
            <p:cNvSpPr/>
            <p:nvPr/>
          </p:nvSpPr>
          <p:spPr>
            <a:xfrm>
              <a:off x="6823717" y="3006956"/>
              <a:ext cx="1561052" cy="961615"/>
            </a:xfrm>
            <a:custGeom>
              <a:avLst/>
              <a:gdLst>
                <a:gd name="connsiteX0" fmla="*/ -2593 w 1561052"/>
                <a:gd name="connsiteY0" fmla="*/ 906280 h 961615"/>
                <a:gd name="connsiteX1" fmla="*/ 72492 w 1561052"/>
                <a:gd name="connsiteY1" fmla="*/ 886025 h 961615"/>
                <a:gd name="connsiteX2" fmla="*/ 122077 w 1561052"/>
                <a:gd name="connsiteY2" fmla="*/ 790699 h 961615"/>
                <a:gd name="connsiteX3" fmla="*/ 122077 w 1561052"/>
                <a:gd name="connsiteY3" fmla="*/ 222143 h 961615"/>
                <a:gd name="connsiteX4" fmla="*/ 66969 w 1561052"/>
                <a:gd name="connsiteY4" fmla="*/ 122993 h 961615"/>
                <a:gd name="connsiteX5" fmla="*/ -2593 w 1561052"/>
                <a:gd name="connsiteY5" fmla="*/ 88148 h 961615"/>
                <a:gd name="connsiteX6" fmla="*/ -2593 w 1561052"/>
                <a:gd name="connsiteY6" fmla="*/ 40557 h 961615"/>
                <a:gd name="connsiteX7" fmla="*/ 287123 w 1561052"/>
                <a:gd name="connsiteY7" fmla="*/ 2030 h 961615"/>
                <a:gd name="connsiteX8" fmla="*/ 305537 w 1561052"/>
                <a:gd name="connsiteY8" fmla="*/ 16194 h 961615"/>
                <a:gd name="connsiteX9" fmla="*/ 296330 w 1561052"/>
                <a:gd name="connsiteY9" fmla="*/ 115344 h 961615"/>
                <a:gd name="connsiteX10" fmla="*/ 303697 w 1561052"/>
                <a:gd name="connsiteY10" fmla="*/ 115344 h 961615"/>
                <a:gd name="connsiteX11" fmla="*/ 633928 w 1561052"/>
                <a:gd name="connsiteY11" fmla="*/ -237 h 961615"/>
                <a:gd name="connsiteX12" fmla="*/ 855922 w 1561052"/>
                <a:gd name="connsiteY12" fmla="*/ 118885 h 961615"/>
                <a:gd name="connsiteX13" fmla="*/ 863148 w 1561052"/>
                <a:gd name="connsiteY13" fmla="*/ 118885 h 961615"/>
                <a:gd name="connsiteX14" fmla="*/ 1211796 w 1561052"/>
                <a:gd name="connsiteY14" fmla="*/ -237 h 961615"/>
                <a:gd name="connsiteX15" fmla="*/ 1435489 w 1561052"/>
                <a:gd name="connsiteY15" fmla="*/ 245514 h 961615"/>
                <a:gd name="connsiteX16" fmla="*/ 1435489 w 1561052"/>
                <a:gd name="connsiteY16" fmla="*/ 790274 h 961615"/>
                <a:gd name="connsiteX17" fmla="*/ 1483233 w 1561052"/>
                <a:gd name="connsiteY17" fmla="*/ 885600 h 961615"/>
                <a:gd name="connsiteX18" fmla="*/ 1558460 w 1561052"/>
                <a:gd name="connsiteY18" fmla="*/ 905855 h 961615"/>
                <a:gd name="connsiteX19" fmla="*/ 1558460 w 1561052"/>
                <a:gd name="connsiteY19" fmla="*/ 960813 h 961615"/>
                <a:gd name="connsiteX20" fmla="*/ 1127359 w 1561052"/>
                <a:gd name="connsiteY20" fmla="*/ 960813 h 961615"/>
                <a:gd name="connsiteX21" fmla="*/ 1127359 w 1561052"/>
                <a:gd name="connsiteY21" fmla="*/ 905855 h 961615"/>
                <a:gd name="connsiteX22" fmla="*/ 1202586 w 1561052"/>
                <a:gd name="connsiteY22" fmla="*/ 885600 h 961615"/>
                <a:gd name="connsiteX23" fmla="*/ 1252170 w 1561052"/>
                <a:gd name="connsiteY23" fmla="*/ 790274 h 961615"/>
                <a:gd name="connsiteX24" fmla="*/ 1252170 w 1561052"/>
                <a:gd name="connsiteY24" fmla="*/ 297356 h 961615"/>
                <a:gd name="connsiteX25" fmla="*/ 1109086 w 1561052"/>
                <a:gd name="connsiteY25" fmla="*/ 121152 h 961615"/>
                <a:gd name="connsiteX26" fmla="*/ 870515 w 1561052"/>
                <a:gd name="connsiteY26" fmla="*/ 181775 h 961615"/>
                <a:gd name="connsiteX27" fmla="*/ 870515 w 1561052"/>
                <a:gd name="connsiteY27" fmla="*/ 790841 h 961615"/>
                <a:gd name="connsiteX28" fmla="*/ 918255 w 1561052"/>
                <a:gd name="connsiteY28" fmla="*/ 886166 h 961615"/>
                <a:gd name="connsiteX29" fmla="*/ 993482 w 1561052"/>
                <a:gd name="connsiteY29" fmla="*/ 906422 h 961615"/>
                <a:gd name="connsiteX30" fmla="*/ 993482 w 1561052"/>
                <a:gd name="connsiteY30" fmla="*/ 961379 h 961615"/>
                <a:gd name="connsiteX31" fmla="*/ 562385 w 1561052"/>
                <a:gd name="connsiteY31" fmla="*/ 961379 h 961615"/>
                <a:gd name="connsiteX32" fmla="*/ 562385 w 1561052"/>
                <a:gd name="connsiteY32" fmla="*/ 906422 h 961615"/>
                <a:gd name="connsiteX33" fmla="*/ 637612 w 1561052"/>
                <a:gd name="connsiteY33" fmla="*/ 886166 h 961615"/>
                <a:gd name="connsiteX34" fmla="*/ 687054 w 1561052"/>
                <a:gd name="connsiteY34" fmla="*/ 790841 h 961615"/>
                <a:gd name="connsiteX35" fmla="*/ 687054 w 1561052"/>
                <a:gd name="connsiteY35" fmla="*/ 297356 h 961615"/>
                <a:gd name="connsiteX36" fmla="*/ 543967 w 1561052"/>
                <a:gd name="connsiteY36" fmla="*/ 121152 h 961615"/>
                <a:gd name="connsiteX37" fmla="*/ 305537 w 1561052"/>
                <a:gd name="connsiteY37" fmla="*/ 177809 h 961615"/>
                <a:gd name="connsiteX38" fmla="*/ 305537 w 1561052"/>
                <a:gd name="connsiteY38" fmla="*/ 790416 h 961615"/>
                <a:gd name="connsiteX39" fmla="*/ 353281 w 1561052"/>
                <a:gd name="connsiteY39" fmla="*/ 885742 h 961615"/>
                <a:gd name="connsiteX40" fmla="*/ 428366 w 1561052"/>
                <a:gd name="connsiteY40" fmla="*/ 905997 h 961615"/>
                <a:gd name="connsiteX41" fmla="*/ 428366 w 1561052"/>
                <a:gd name="connsiteY41" fmla="*/ 960954 h 961615"/>
                <a:gd name="connsiteX42" fmla="*/ -2593 w 1561052"/>
                <a:gd name="connsiteY42" fmla="*/ 960954 h 96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052" h="961615">
                  <a:moveTo>
                    <a:pt x="-2593" y="906280"/>
                  </a:moveTo>
                  <a:lnTo>
                    <a:pt x="72492" y="886025"/>
                  </a:lnTo>
                  <a:cubicBezTo>
                    <a:pt x="109186" y="876818"/>
                    <a:pt x="122077" y="862229"/>
                    <a:pt x="122077" y="790699"/>
                  </a:cubicBezTo>
                  <a:lnTo>
                    <a:pt x="122077" y="222143"/>
                  </a:lnTo>
                  <a:cubicBezTo>
                    <a:pt x="122077" y="148772"/>
                    <a:pt x="112869" y="145089"/>
                    <a:pt x="66969" y="122993"/>
                  </a:cubicBezTo>
                  <a:lnTo>
                    <a:pt x="-2593" y="88148"/>
                  </a:lnTo>
                  <a:lnTo>
                    <a:pt x="-2593" y="40557"/>
                  </a:lnTo>
                  <a:lnTo>
                    <a:pt x="287123" y="2030"/>
                  </a:lnTo>
                  <a:lnTo>
                    <a:pt x="305537" y="16194"/>
                  </a:lnTo>
                  <a:lnTo>
                    <a:pt x="296330" y="115344"/>
                  </a:lnTo>
                  <a:lnTo>
                    <a:pt x="303697" y="115344"/>
                  </a:lnTo>
                  <a:cubicBezTo>
                    <a:pt x="395357" y="56562"/>
                    <a:pt x="520168" y="-237"/>
                    <a:pt x="633928" y="-237"/>
                  </a:cubicBezTo>
                  <a:cubicBezTo>
                    <a:pt x="767805" y="-237"/>
                    <a:pt x="822912" y="43814"/>
                    <a:pt x="855922" y="118885"/>
                  </a:cubicBezTo>
                  <a:lnTo>
                    <a:pt x="863148" y="118885"/>
                  </a:lnTo>
                  <a:cubicBezTo>
                    <a:pt x="964156" y="60245"/>
                    <a:pt x="1075651" y="-237"/>
                    <a:pt x="1211796" y="-237"/>
                  </a:cubicBezTo>
                  <a:cubicBezTo>
                    <a:pt x="1373156" y="-237"/>
                    <a:pt x="1435489" y="80500"/>
                    <a:pt x="1435489" y="245514"/>
                  </a:cubicBezTo>
                  <a:lnTo>
                    <a:pt x="1435489" y="790274"/>
                  </a:lnTo>
                  <a:cubicBezTo>
                    <a:pt x="1435489" y="861804"/>
                    <a:pt x="1449656" y="876393"/>
                    <a:pt x="1483233" y="885600"/>
                  </a:cubicBezTo>
                  <a:lnTo>
                    <a:pt x="1558460" y="905855"/>
                  </a:lnTo>
                  <a:lnTo>
                    <a:pt x="1558460" y="960813"/>
                  </a:lnTo>
                  <a:lnTo>
                    <a:pt x="1127359" y="960813"/>
                  </a:lnTo>
                  <a:lnTo>
                    <a:pt x="1127359" y="905855"/>
                  </a:lnTo>
                  <a:lnTo>
                    <a:pt x="1202586" y="885600"/>
                  </a:lnTo>
                  <a:cubicBezTo>
                    <a:pt x="1241119" y="876393"/>
                    <a:pt x="1252170" y="867328"/>
                    <a:pt x="1252170" y="790274"/>
                  </a:cubicBezTo>
                  <a:lnTo>
                    <a:pt x="1252170" y="297356"/>
                  </a:lnTo>
                  <a:cubicBezTo>
                    <a:pt x="1252170" y="174409"/>
                    <a:pt x="1220862" y="121152"/>
                    <a:pt x="1109086" y="121152"/>
                  </a:cubicBezTo>
                  <a:cubicBezTo>
                    <a:pt x="1019125" y="121152"/>
                    <a:pt x="925622" y="155996"/>
                    <a:pt x="870515" y="181775"/>
                  </a:cubicBezTo>
                  <a:lnTo>
                    <a:pt x="870515" y="790841"/>
                  </a:lnTo>
                  <a:cubicBezTo>
                    <a:pt x="870515" y="862370"/>
                    <a:pt x="884682" y="876960"/>
                    <a:pt x="918255" y="886166"/>
                  </a:cubicBezTo>
                  <a:lnTo>
                    <a:pt x="993482" y="906422"/>
                  </a:lnTo>
                  <a:lnTo>
                    <a:pt x="993482" y="961379"/>
                  </a:lnTo>
                  <a:lnTo>
                    <a:pt x="562385" y="961379"/>
                  </a:lnTo>
                  <a:lnTo>
                    <a:pt x="562385" y="906422"/>
                  </a:lnTo>
                  <a:lnTo>
                    <a:pt x="637612" y="886166"/>
                  </a:lnTo>
                  <a:cubicBezTo>
                    <a:pt x="676145" y="876960"/>
                    <a:pt x="687054" y="867895"/>
                    <a:pt x="687054" y="790841"/>
                  </a:cubicBezTo>
                  <a:lnTo>
                    <a:pt x="687054" y="297356"/>
                  </a:lnTo>
                  <a:cubicBezTo>
                    <a:pt x="687054" y="176251"/>
                    <a:pt x="655884" y="121152"/>
                    <a:pt x="543967" y="121152"/>
                  </a:cubicBezTo>
                  <a:cubicBezTo>
                    <a:pt x="454148" y="121152"/>
                    <a:pt x="358663" y="155996"/>
                    <a:pt x="305537" y="177809"/>
                  </a:cubicBezTo>
                  <a:lnTo>
                    <a:pt x="305537" y="790416"/>
                  </a:lnTo>
                  <a:cubicBezTo>
                    <a:pt x="305537" y="867470"/>
                    <a:pt x="316588" y="876535"/>
                    <a:pt x="353281" y="885742"/>
                  </a:cubicBezTo>
                  <a:lnTo>
                    <a:pt x="428366" y="905997"/>
                  </a:lnTo>
                  <a:lnTo>
                    <a:pt x="428366" y="960954"/>
                  </a:lnTo>
                  <a:lnTo>
                    <a:pt x="-2593" y="960954"/>
                  </a:lnTo>
                  <a:close/>
                </a:path>
              </a:pathLst>
            </a:custGeom>
            <a:solidFill>
              <a:schemeClr val="tx1"/>
            </a:solidFill>
            <a:ln w="14153" cap="flat">
              <a:noFill/>
              <a:prstDash val="solid"/>
              <a:miter/>
            </a:ln>
          </p:spPr>
          <p:txBody>
            <a:bodyPr rtlCol="0" anchor="ctr"/>
            <a:lstStyle/>
            <a:p>
              <a:endParaRPr lang="en-GB" dirty="0">
                <a:solidFill>
                  <a:schemeClr val="tx1">
                    <a:alpha val="47000"/>
                  </a:schemeClr>
                </a:solidFill>
              </a:endParaRPr>
            </a:p>
          </p:txBody>
        </p:sp>
        <p:sp>
          <p:nvSpPr>
            <p:cNvPr id="22" name="Freeform: Shape 21">
              <a:extLst>
                <a:ext uri="{FF2B5EF4-FFF2-40B4-BE49-F238E27FC236}">
                  <a16:creationId xmlns:a16="http://schemas.microsoft.com/office/drawing/2014/main" id="{71F2EC77-E8CE-465C-896A-E7D0576B4689}"/>
                </a:ext>
              </a:extLst>
            </p:cNvPr>
            <p:cNvSpPr/>
            <p:nvPr/>
          </p:nvSpPr>
          <p:spPr>
            <a:xfrm>
              <a:off x="8459953" y="3722418"/>
              <a:ext cx="266363" cy="266339"/>
            </a:xfrm>
            <a:custGeom>
              <a:avLst/>
              <a:gdLst>
                <a:gd name="connsiteX0" fmla="*/ -2527 w 230352"/>
                <a:gd name="connsiteY0" fmla="*/ 118884 h 230331"/>
                <a:gd name="connsiteX1" fmla="*/ 108681 w 230352"/>
                <a:gd name="connsiteY1" fmla="*/ -167 h 230331"/>
                <a:gd name="connsiteX2" fmla="*/ 227685 w 230352"/>
                <a:gd name="connsiteY2" fmla="*/ 110952 h 230331"/>
                <a:gd name="connsiteX3" fmla="*/ 116615 w 230352"/>
                <a:gd name="connsiteY3" fmla="*/ 230003 h 230331"/>
                <a:gd name="connsiteX4" fmla="*/ 111797 w 230352"/>
                <a:gd name="connsiteY4" fmla="*/ 230074 h 230331"/>
                <a:gd name="connsiteX5" fmla="*/ -2527 w 230352"/>
                <a:gd name="connsiteY5" fmla="*/ 120046 h 230331"/>
                <a:gd name="connsiteX6" fmla="*/ -2527 w 230352"/>
                <a:gd name="connsiteY6" fmla="*/ 118884 h 2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52" h="230331">
                  <a:moveTo>
                    <a:pt x="-2527" y="118884"/>
                  </a:moveTo>
                  <a:cubicBezTo>
                    <a:pt x="-4654" y="55329"/>
                    <a:pt x="45072" y="2029"/>
                    <a:pt x="108681" y="-167"/>
                  </a:cubicBezTo>
                  <a:cubicBezTo>
                    <a:pt x="172148" y="-2363"/>
                    <a:pt x="225558" y="47397"/>
                    <a:pt x="227685" y="110952"/>
                  </a:cubicBezTo>
                  <a:cubicBezTo>
                    <a:pt x="229950" y="174521"/>
                    <a:pt x="180083" y="227822"/>
                    <a:pt x="116615" y="230003"/>
                  </a:cubicBezTo>
                  <a:cubicBezTo>
                    <a:pt x="114917" y="230060"/>
                    <a:pt x="113357" y="230088"/>
                    <a:pt x="111797" y="230074"/>
                  </a:cubicBezTo>
                  <a:cubicBezTo>
                    <a:pt x="49890" y="231250"/>
                    <a:pt x="-1396" y="181986"/>
                    <a:pt x="-2527" y="120046"/>
                  </a:cubicBezTo>
                  <a:cubicBezTo>
                    <a:pt x="-2527" y="119649"/>
                    <a:pt x="-2527" y="119266"/>
                    <a:pt x="-2527" y="118884"/>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grpSp>
    </p:spTree>
    <p:extLst>
      <p:ext uri="{BB962C8B-B14F-4D97-AF65-F5344CB8AC3E}">
        <p14:creationId xmlns:p14="http://schemas.microsoft.com/office/powerpoint/2010/main" val="3399063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250"/>
                                        <p:tgtEl>
                                          <p:spTgt spid="6"/>
                                        </p:tgtEl>
                                      </p:cBhvr>
                                    </p:animEffect>
                                  </p:childTnLst>
                                </p:cTn>
                              </p:par>
                            </p:childTnLst>
                          </p:cTn>
                        </p:par>
                        <p:par>
                          <p:cTn id="8" fill="hold">
                            <p:stCondLst>
                              <p:cond delay="125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One firm. Your firm. strapline">
    <p:bg>
      <p:bgPr>
        <a:solidFill>
          <a:schemeClr val="accent6"/>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p>
            <a:r>
              <a:rPr lang="en-US" noProof="0"/>
              <a:t>dd Month 2021</a:t>
            </a:r>
            <a:endParaRPr lang="en-GB" noProof="0"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r>
              <a:rPr lang="en-GB" noProof="0"/>
              <a:t>Update Footer to add the Document title</a:t>
            </a:r>
            <a:endParaRPr lang="en-GB" noProof="0" dirty="0"/>
          </a:p>
        </p:txBody>
      </p:sp>
      <p:grpSp>
        <p:nvGrpSpPr>
          <p:cNvPr id="6" name="Group 5">
            <a:extLst>
              <a:ext uri="{FF2B5EF4-FFF2-40B4-BE49-F238E27FC236}">
                <a16:creationId xmlns:a16="http://schemas.microsoft.com/office/drawing/2014/main" id="{09EDC675-7209-4569-9F65-274519B2E492}"/>
              </a:ext>
            </a:extLst>
          </p:cNvPr>
          <p:cNvGrpSpPr/>
          <p:nvPr userDrawn="1"/>
        </p:nvGrpSpPr>
        <p:grpSpPr>
          <a:xfrm>
            <a:off x="709879" y="2215726"/>
            <a:ext cx="7409594" cy="1432213"/>
            <a:chOff x="709879" y="718571"/>
            <a:chExt cx="7409594" cy="1432213"/>
          </a:xfrm>
        </p:grpSpPr>
        <p:sp>
          <p:nvSpPr>
            <p:cNvPr id="8" name="Freeform: Shape 7">
              <a:extLst>
                <a:ext uri="{FF2B5EF4-FFF2-40B4-BE49-F238E27FC236}">
                  <a16:creationId xmlns:a16="http://schemas.microsoft.com/office/drawing/2014/main" id="{377A88E0-DF56-4A5E-A11B-8EE905C14401}"/>
                </a:ext>
              </a:extLst>
            </p:cNvPr>
            <p:cNvSpPr/>
            <p:nvPr/>
          </p:nvSpPr>
          <p:spPr>
            <a:xfrm>
              <a:off x="709879" y="832169"/>
              <a:ext cx="1166783" cy="1315015"/>
            </a:xfrm>
            <a:custGeom>
              <a:avLst/>
              <a:gdLst>
                <a:gd name="connsiteX0" fmla="*/ 955513 w 1166783"/>
                <a:gd name="connsiteY0" fmla="*/ 680926 h 1315015"/>
                <a:gd name="connsiteX1" fmla="*/ 573857 w 1166783"/>
                <a:gd name="connsiteY1" fmla="*/ 88432 h 1315015"/>
                <a:gd name="connsiteX2" fmla="*/ 207078 w 1166783"/>
                <a:gd name="connsiteY2" fmla="*/ 644240 h 1315015"/>
                <a:gd name="connsiteX3" fmla="*/ 586748 w 1166783"/>
                <a:gd name="connsiteY3" fmla="*/ 1224977 h 1315015"/>
                <a:gd name="connsiteX4" fmla="*/ 955087 w 1166783"/>
                <a:gd name="connsiteY4" fmla="*/ 680359 h 1315015"/>
                <a:gd name="connsiteX5" fmla="*/ -2593 w 1166783"/>
                <a:gd name="connsiteY5" fmla="*/ 674835 h 1315015"/>
                <a:gd name="connsiteX6" fmla="*/ 590010 w 1166783"/>
                <a:gd name="connsiteY6" fmla="*/ -237 h 1315015"/>
                <a:gd name="connsiteX7" fmla="*/ 1164191 w 1166783"/>
                <a:gd name="connsiteY7" fmla="*/ 649056 h 1315015"/>
                <a:gd name="connsiteX8" fmla="*/ 571592 w 1166783"/>
                <a:gd name="connsiteY8" fmla="*/ 1314779 h 1315015"/>
                <a:gd name="connsiteX9" fmla="*/ -2593 w 1166783"/>
                <a:gd name="connsiteY9" fmla="*/ 674693 h 131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783" h="1315015">
                  <a:moveTo>
                    <a:pt x="955513" y="680926"/>
                  </a:moveTo>
                  <a:cubicBezTo>
                    <a:pt x="955513" y="387441"/>
                    <a:pt x="872922" y="88432"/>
                    <a:pt x="573857" y="88432"/>
                  </a:cubicBezTo>
                  <a:cubicBezTo>
                    <a:pt x="320697" y="88432"/>
                    <a:pt x="207078" y="251605"/>
                    <a:pt x="207078" y="644240"/>
                  </a:cubicBezTo>
                  <a:cubicBezTo>
                    <a:pt x="207078" y="937583"/>
                    <a:pt x="289527" y="1224977"/>
                    <a:pt x="586748" y="1224977"/>
                  </a:cubicBezTo>
                  <a:cubicBezTo>
                    <a:pt x="839912" y="1224977"/>
                    <a:pt x="955087" y="1072853"/>
                    <a:pt x="955087" y="680359"/>
                  </a:cubicBezTo>
                  <a:moveTo>
                    <a:pt x="-2593" y="674835"/>
                  </a:moveTo>
                  <a:cubicBezTo>
                    <a:pt x="-2593" y="199763"/>
                    <a:pt x="285421" y="-237"/>
                    <a:pt x="590010" y="-237"/>
                  </a:cubicBezTo>
                  <a:cubicBezTo>
                    <a:pt x="911030" y="-237"/>
                    <a:pt x="1164191" y="229084"/>
                    <a:pt x="1164191" y="649056"/>
                  </a:cubicBezTo>
                  <a:cubicBezTo>
                    <a:pt x="1164191" y="1124127"/>
                    <a:pt x="876180" y="1314779"/>
                    <a:pt x="571592" y="1314779"/>
                  </a:cubicBezTo>
                  <a:cubicBezTo>
                    <a:pt x="248728" y="1314779"/>
                    <a:pt x="-2593" y="1094665"/>
                    <a:pt x="-2593" y="674693"/>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9" name="Freeform: Shape 8">
              <a:extLst>
                <a:ext uri="{FF2B5EF4-FFF2-40B4-BE49-F238E27FC236}">
                  <a16:creationId xmlns:a16="http://schemas.microsoft.com/office/drawing/2014/main" id="{0472ACF6-2B20-4903-91CE-C924E4F04259}"/>
                </a:ext>
              </a:extLst>
            </p:cNvPr>
            <p:cNvSpPr/>
            <p:nvPr/>
          </p:nvSpPr>
          <p:spPr>
            <a:xfrm>
              <a:off x="1956373" y="1164605"/>
              <a:ext cx="1025401" cy="960624"/>
            </a:xfrm>
            <a:custGeom>
              <a:avLst/>
              <a:gdLst>
                <a:gd name="connsiteX0" fmla="*/ -2593 w 1025401"/>
                <a:gd name="connsiteY0" fmla="*/ 905997 h 960624"/>
                <a:gd name="connsiteX1" fmla="*/ 72634 w 1025401"/>
                <a:gd name="connsiteY1" fmla="*/ 885883 h 960624"/>
                <a:gd name="connsiteX2" fmla="*/ 122077 w 1025401"/>
                <a:gd name="connsiteY2" fmla="*/ 790416 h 960624"/>
                <a:gd name="connsiteX3" fmla="*/ 122077 w 1025401"/>
                <a:gd name="connsiteY3" fmla="*/ 221860 h 960624"/>
                <a:gd name="connsiteX4" fmla="*/ 67111 w 1025401"/>
                <a:gd name="connsiteY4" fmla="*/ 122709 h 960624"/>
                <a:gd name="connsiteX5" fmla="*/ -2593 w 1025401"/>
                <a:gd name="connsiteY5" fmla="*/ 87865 h 960624"/>
                <a:gd name="connsiteX6" fmla="*/ -2593 w 1025401"/>
                <a:gd name="connsiteY6" fmla="*/ 40132 h 960624"/>
                <a:gd name="connsiteX7" fmla="*/ 287265 w 1025401"/>
                <a:gd name="connsiteY7" fmla="*/ 1605 h 960624"/>
                <a:gd name="connsiteX8" fmla="*/ 305537 w 1025401"/>
                <a:gd name="connsiteY8" fmla="*/ 12653 h 960624"/>
                <a:gd name="connsiteX9" fmla="*/ 296472 w 1025401"/>
                <a:gd name="connsiteY9" fmla="*/ 115344 h 960624"/>
                <a:gd name="connsiteX10" fmla="*/ 303697 w 1025401"/>
                <a:gd name="connsiteY10" fmla="*/ 115344 h 960624"/>
                <a:gd name="connsiteX11" fmla="*/ 650502 w 1025401"/>
                <a:gd name="connsiteY11" fmla="*/ -237 h 960624"/>
                <a:gd name="connsiteX12" fmla="*/ 899983 w 1025401"/>
                <a:gd name="connsiteY12" fmla="*/ 243673 h 960624"/>
                <a:gd name="connsiteX13" fmla="*/ 899983 w 1025401"/>
                <a:gd name="connsiteY13" fmla="*/ 789849 h 960624"/>
                <a:gd name="connsiteX14" fmla="*/ 949425 w 1025401"/>
                <a:gd name="connsiteY14" fmla="*/ 885317 h 960624"/>
                <a:gd name="connsiteX15" fmla="*/ 1022809 w 1025401"/>
                <a:gd name="connsiteY15" fmla="*/ 905430 h 960624"/>
                <a:gd name="connsiteX16" fmla="*/ 1022809 w 1025401"/>
                <a:gd name="connsiteY16" fmla="*/ 960388 h 960624"/>
                <a:gd name="connsiteX17" fmla="*/ 593551 w 1025401"/>
                <a:gd name="connsiteY17" fmla="*/ 960388 h 960624"/>
                <a:gd name="connsiteX18" fmla="*/ 593551 w 1025401"/>
                <a:gd name="connsiteY18" fmla="*/ 905997 h 960624"/>
                <a:gd name="connsiteX19" fmla="*/ 668778 w 1025401"/>
                <a:gd name="connsiteY19" fmla="*/ 885883 h 960624"/>
                <a:gd name="connsiteX20" fmla="*/ 716519 w 1025401"/>
                <a:gd name="connsiteY20" fmla="*/ 790416 h 960624"/>
                <a:gd name="connsiteX21" fmla="*/ 716519 w 1025401"/>
                <a:gd name="connsiteY21" fmla="*/ 294665 h 960624"/>
                <a:gd name="connsiteX22" fmla="*/ 556858 w 1025401"/>
                <a:gd name="connsiteY22" fmla="*/ 120443 h 960624"/>
                <a:gd name="connsiteX23" fmla="*/ 305537 w 1025401"/>
                <a:gd name="connsiteY23" fmla="*/ 177100 h 960624"/>
                <a:gd name="connsiteX24" fmla="*/ 305537 w 1025401"/>
                <a:gd name="connsiteY24" fmla="*/ 789849 h 960624"/>
                <a:gd name="connsiteX25" fmla="*/ 353281 w 1025401"/>
                <a:gd name="connsiteY25" fmla="*/ 885317 h 960624"/>
                <a:gd name="connsiteX26" fmla="*/ 428508 w 1025401"/>
                <a:gd name="connsiteY26" fmla="*/ 905430 h 960624"/>
                <a:gd name="connsiteX27" fmla="*/ 428508 w 1025401"/>
                <a:gd name="connsiteY27" fmla="*/ 960388 h 960624"/>
                <a:gd name="connsiteX28" fmla="*/ -2593 w 1025401"/>
                <a:gd name="connsiteY28" fmla="*/ 960388 h 96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25401" h="960624">
                  <a:moveTo>
                    <a:pt x="-2593" y="905997"/>
                  </a:moveTo>
                  <a:lnTo>
                    <a:pt x="72634" y="885883"/>
                  </a:lnTo>
                  <a:cubicBezTo>
                    <a:pt x="109328" y="876677"/>
                    <a:pt x="122077" y="861946"/>
                    <a:pt x="122077" y="790416"/>
                  </a:cubicBezTo>
                  <a:lnTo>
                    <a:pt x="122077" y="221860"/>
                  </a:lnTo>
                  <a:cubicBezTo>
                    <a:pt x="122077" y="148489"/>
                    <a:pt x="113011" y="144806"/>
                    <a:pt x="67111" y="122709"/>
                  </a:cubicBezTo>
                  <a:lnTo>
                    <a:pt x="-2593" y="87865"/>
                  </a:lnTo>
                  <a:lnTo>
                    <a:pt x="-2593" y="40132"/>
                  </a:lnTo>
                  <a:lnTo>
                    <a:pt x="287265" y="1605"/>
                  </a:lnTo>
                  <a:lnTo>
                    <a:pt x="305537" y="12653"/>
                  </a:lnTo>
                  <a:lnTo>
                    <a:pt x="296472" y="115344"/>
                  </a:lnTo>
                  <a:lnTo>
                    <a:pt x="303697" y="115344"/>
                  </a:lnTo>
                  <a:cubicBezTo>
                    <a:pt x="395498" y="56704"/>
                    <a:pt x="533058" y="-237"/>
                    <a:pt x="650502" y="-237"/>
                  </a:cubicBezTo>
                  <a:cubicBezTo>
                    <a:pt x="835806" y="-237"/>
                    <a:pt x="899983" y="78659"/>
                    <a:pt x="899983" y="243673"/>
                  </a:cubicBezTo>
                  <a:lnTo>
                    <a:pt x="899983" y="789849"/>
                  </a:lnTo>
                  <a:cubicBezTo>
                    <a:pt x="899983" y="860671"/>
                    <a:pt x="914150" y="876110"/>
                    <a:pt x="949425" y="885317"/>
                  </a:cubicBezTo>
                  <a:lnTo>
                    <a:pt x="1022809" y="905430"/>
                  </a:lnTo>
                  <a:lnTo>
                    <a:pt x="1022809" y="960388"/>
                  </a:lnTo>
                  <a:lnTo>
                    <a:pt x="593551" y="960388"/>
                  </a:lnTo>
                  <a:lnTo>
                    <a:pt x="593551" y="905997"/>
                  </a:lnTo>
                  <a:lnTo>
                    <a:pt x="668778" y="885883"/>
                  </a:lnTo>
                  <a:cubicBezTo>
                    <a:pt x="705468" y="876677"/>
                    <a:pt x="716519" y="867470"/>
                    <a:pt x="716519" y="790416"/>
                  </a:cubicBezTo>
                  <a:lnTo>
                    <a:pt x="716519" y="294665"/>
                  </a:lnTo>
                  <a:cubicBezTo>
                    <a:pt x="716519" y="166336"/>
                    <a:pt x="674018" y="120443"/>
                    <a:pt x="556858" y="120443"/>
                  </a:cubicBezTo>
                  <a:cubicBezTo>
                    <a:pt x="467042" y="120443"/>
                    <a:pt x="358521" y="157129"/>
                    <a:pt x="305537" y="177100"/>
                  </a:cubicBezTo>
                  <a:lnTo>
                    <a:pt x="305537" y="789849"/>
                  </a:lnTo>
                  <a:cubicBezTo>
                    <a:pt x="305537" y="866903"/>
                    <a:pt x="316588" y="876110"/>
                    <a:pt x="353281" y="885317"/>
                  </a:cubicBezTo>
                  <a:lnTo>
                    <a:pt x="428508" y="905430"/>
                  </a:lnTo>
                  <a:lnTo>
                    <a:pt x="428508" y="960388"/>
                  </a:lnTo>
                  <a:lnTo>
                    <a:pt x="-2593" y="960388"/>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0" name="Freeform: Shape 9">
              <a:extLst>
                <a:ext uri="{FF2B5EF4-FFF2-40B4-BE49-F238E27FC236}">
                  <a16:creationId xmlns:a16="http://schemas.microsoft.com/office/drawing/2014/main" id="{0E7D2CBE-BF42-4862-8D62-893E7C002CF7}"/>
                </a:ext>
              </a:extLst>
            </p:cNvPr>
            <p:cNvSpPr/>
            <p:nvPr/>
          </p:nvSpPr>
          <p:spPr>
            <a:xfrm>
              <a:off x="3030141" y="1166081"/>
              <a:ext cx="827628" cy="984703"/>
            </a:xfrm>
            <a:custGeom>
              <a:avLst/>
              <a:gdLst>
                <a:gd name="connsiteX0" fmla="*/ 194326 w 827628"/>
                <a:gd name="connsiteY0" fmla="*/ 390415 h 984703"/>
                <a:gd name="connsiteX1" fmla="*/ 619332 w 827628"/>
                <a:gd name="connsiteY1" fmla="*/ 368461 h 984703"/>
                <a:gd name="connsiteX2" fmla="*/ 443097 w 827628"/>
                <a:gd name="connsiteY2" fmla="*/ 76817 h 984703"/>
                <a:gd name="connsiteX3" fmla="*/ 193620 w 827628"/>
                <a:gd name="connsiteY3" fmla="*/ 390415 h 984703"/>
                <a:gd name="connsiteX4" fmla="*/ -2593 w 827628"/>
                <a:gd name="connsiteY4" fmla="*/ 485883 h 984703"/>
                <a:gd name="connsiteX5" fmla="*/ 450748 w 827628"/>
                <a:gd name="connsiteY5" fmla="*/ -237 h 984703"/>
                <a:gd name="connsiteX6" fmla="*/ 825036 w 827628"/>
                <a:gd name="connsiteY6" fmla="*/ 467186 h 984703"/>
                <a:gd name="connsiteX7" fmla="*/ 192486 w 827628"/>
                <a:gd name="connsiteY7" fmla="*/ 467186 h 984703"/>
                <a:gd name="connsiteX8" fmla="*/ 511808 w 827628"/>
                <a:gd name="connsiteY8" fmla="*/ 867045 h 984703"/>
                <a:gd name="connsiteX9" fmla="*/ 807044 w 827628"/>
                <a:gd name="connsiteY9" fmla="*/ 789991 h 984703"/>
                <a:gd name="connsiteX10" fmla="*/ 807044 w 827628"/>
                <a:gd name="connsiteY10" fmla="*/ 863362 h 984703"/>
                <a:gd name="connsiteX11" fmla="*/ 451173 w 827628"/>
                <a:gd name="connsiteY11" fmla="*/ 984467 h 984703"/>
                <a:gd name="connsiteX12" fmla="*/ -2167 w 827628"/>
                <a:gd name="connsiteY12" fmla="*/ 485599 h 98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7628" h="984703">
                  <a:moveTo>
                    <a:pt x="194326" y="390415"/>
                  </a:moveTo>
                  <a:lnTo>
                    <a:pt x="619332" y="368461"/>
                  </a:lnTo>
                  <a:cubicBezTo>
                    <a:pt x="619332" y="157554"/>
                    <a:pt x="584482" y="76817"/>
                    <a:pt x="443097" y="76817"/>
                  </a:cubicBezTo>
                  <a:cubicBezTo>
                    <a:pt x="309221" y="76817"/>
                    <a:pt x="208354" y="173984"/>
                    <a:pt x="193620" y="390415"/>
                  </a:cubicBezTo>
                  <a:moveTo>
                    <a:pt x="-2593" y="485883"/>
                  </a:moveTo>
                  <a:cubicBezTo>
                    <a:pt x="-2593" y="192398"/>
                    <a:pt x="208354" y="-237"/>
                    <a:pt x="450748" y="-237"/>
                  </a:cubicBezTo>
                  <a:cubicBezTo>
                    <a:pt x="683793" y="-237"/>
                    <a:pt x="825036" y="126392"/>
                    <a:pt x="825036" y="467186"/>
                  </a:cubicBezTo>
                  <a:lnTo>
                    <a:pt x="192486" y="467186"/>
                  </a:lnTo>
                  <a:cubicBezTo>
                    <a:pt x="198009" y="746081"/>
                    <a:pt x="324664" y="867045"/>
                    <a:pt x="511808" y="867045"/>
                  </a:cubicBezTo>
                  <a:cubicBezTo>
                    <a:pt x="653477" y="867045"/>
                    <a:pt x="737344" y="822994"/>
                    <a:pt x="807044" y="789991"/>
                  </a:cubicBezTo>
                  <a:lnTo>
                    <a:pt x="807044" y="863362"/>
                  </a:lnTo>
                  <a:cubicBezTo>
                    <a:pt x="705043" y="941775"/>
                    <a:pt x="579952" y="984339"/>
                    <a:pt x="451173" y="984467"/>
                  </a:cubicBezTo>
                  <a:cubicBezTo>
                    <a:pt x="146727" y="984467"/>
                    <a:pt x="-2167" y="782625"/>
                    <a:pt x="-2167" y="485599"/>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1" name="Freeform: Shape 10">
              <a:extLst>
                <a:ext uri="{FF2B5EF4-FFF2-40B4-BE49-F238E27FC236}">
                  <a16:creationId xmlns:a16="http://schemas.microsoft.com/office/drawing/2014/main" id="{98277667-578C-452F-BEDC-F79A15656C7A}"/>
                </a:ext>
              </a:extLst>
            </p:cNvPr>
            <p:cNvSpPr/>
            <p:nvPr/>
          </p:nvSpPr>
          <p:spPr>
            <a:xfrm>
              <a:off x="4373105" y="718571"/>
              <a:ext cx="982759" cy="1407367"/>
            </a:xfrm>
            <a:custGeom>
              <a:avLst/>
              <a:gdLst>
                <a:gd name="connsiteX0" fmla="*/ 310213 w 982759"/>
                <a:gd name="connsiteY0" fmla="*/ 473418 h 1407367"/>
                <a:gd name="connsiteX1" fmla="*/ 647808 w 982759"/>
                <a:gd name="connsiteY1" fmla="*/ 473418 h 1407367"/>
                <a:gd name="connsiteX2" fmla="*/ 846145 w 982759"/>
                <a:gd name="connsiteY2" fmla="*/ 447781 h 1407367"/>
                <a:gd name="connsiteX3" fmla="*/ 866406 w 982759"/>
                <a:gd name="connsiteY3" fmla="*/ 458829 h 1407367"/>
                <a:gd name="connsiteX4" fmla="*/ 857195 w 982759"/>
                <a:gd name="connsiteY4" fmla="*/ 627526 h 1407367"/>
                <a:gd name="connsiteX5" fmla="*/ 857195 w 982759"/>
                <a:gd name="connsiteY5" fmla="*/ 1236592 h 1407367"/>
                <a:gd name="connsiteX6" fmla="*/ 904939 w 982759"/>
                <a:gd name="connsiteY6" fmla="*/ 1332060 h 1407367"/>
                <a:gd name="connsiteX7" fmla="*/ 980166 w 982759"/>
                <a:gd name="connsiteY7" fmla="*/ 1352173 h 1407367"/>
                <a:gd name="connsiteX8" fmla="*/ 980166 w 982759"/>
                <a:gd name="connsiteY8" fmla="*/ 1407130 h 1407367"/>
                <a:gd name="connsiteX9" fmla="*/ 555159 w 982759"/>
                <a:gd name="connsiteY9" fmla="*/ 1407130 h 1407367"/>
                <a:gd name="connsiteX10" fmla="*/ 555159 w 982759"/>
                <a:gd name="connsiteY10" fmla="*/ 1352031 h 1407367"/>
                <a:gd name="connsiteX11" fmla="*/ 624860 w 982759"/>
                <a:gd name="connsiteY11" fmla="*/ 1331918 h 1407367"/>
                <a:gd name="connsiteX12" fmla="*/ 674302 w 982759"/>
                <a:gd name="connsiteY12" fmla="*/ 1236451 h 1407367"/>
                <a:gd name="connsiteX13" fmla="*/ 674302 w 982759"/>
                <a:gd name="connsiteY13" fmla="*/ 667894 h 1407367"/>
                <a:gd name="connsiteX14" fmla="*/ 600918 w 982759"/>
                <a:gd name="connsiteY14" fmla="*/ 570727 h 1407367"/>
                <a:gd name="connsiteX15" fmla="*/ 311061 w 982759"/>
                <a:gd name="connsiteY15" fmla="*/ 570727 h 1407367"/>
                <a:gd name="connsiteX16" fmla="*/ 311061 w 982759"/>
                <a:gd name="connsiteY16" fmla="*/ 1227244 h 1407367"/>
                <a:gd name="connsiteX17" fmla="*/ 358805 w 982759"/>
                <a:gd name="connsiteY17" fmla="*/ 1331918 h 1407367"/>
                <a:gd name="connsiteX18" fmla="*/ 434032 w 982759"/>
                <a:gd name="connsiteY18" fmla="*/ 1352031 h 1407367"/>
                <a:gd name="connsiteX19" fmla="*/ 434032 w 982759"/>
                <a:gd name="connsiteY19" fmla="*/ 1406989 h 1407367"/>
                <a:gd name="connsiteX20" fmla="*/ 2931 w 982759"/>
                <a:gd name="connsiteY20" fmla="*/ 1406989 h 1407367"/>
                <a:gd name="connsiteX21" fmla="*/ 2931 w 982759"/>
                <a:gd name="connsiteY21" fmla="*/ 1352031 h 1407367"/>
                <a:gd name="connsiteX22" fmla="*/ 78158 w 982759"/>
                <a:gd name="connsiteY22" fmla="*/ 1331918 h 1407367"/>
                <a:gd name="connsiteX23" fmla="*/ 127600 w 982759"/>
                <a:gd name="connsiteY23" fmla="*/ 1236451 h 1407367"/>
                <a:gd name="connsiteX24" fmla="*/ 127600 w 982759"/>
                <a:gd name="connsiteY24" fmla="*/ 570161 h 1407367"/>
                <a:gd name="connsiteX25" fmla="*/ -2593 w 982759"/>
                <a:gd name="connsiteY25" fmla="*/ 570161 h 1407367"/>
                <a:gd name="connsiteX26" fmla="*/ -2593 w 982759"/>
                <a:gd name="connsiteY26" fmla="*/ 515061 h 1407367"/>
                <a:gd name="connsiteX27" fmla="*/ 127600 w 982759"/>
                <a:gd name="connsiteY27" fmla="*/ 471152 h 1407367"/>
                <a:gd name="connsiteX28" fmla="*/ 127600 w 982759"/>
                <a:gd name="connsiteY28" fmla="*/ 397781 h 1407367"/>
                <a:gd name="connsiteX29" fmla="*/ 567908 w 982759"/>
                <a:gd name="connsiteY29" fmla="*/ -237 h 1407367"/>
                <a:gd name="connsiteX30" fmla="*/ 778852 w 982759"/>
                <a:gd name="connsiteY30" fmla="*/ 115203 h 1407367"/>
                <a:gd name="connsiteX31" fmla="*/ 679684 w 982759"/>
                <a:gd name="connsiteY31" fmla="*/ 216194 h 1407367"/>
                <a:gd name="connsiteX32" fmla="*/ 566348 w 982759"/>
                <a:gd name="connsiteY32" fmla="*/ 113361 h 1407367"/>
                <a:gd name="connsiteX33" fmla="*/ 515066 w 982759"/>
                <a:gd name="connsiteY33" fmla="*/ 65769 h 1407367"/>
                <a:gd name="connsiteX34" fmla="*/ 311344 w 982759"/>
                <a:gd name="connsiteY34" fmla="*/ 300472 h 140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759" h="1407367">
                  <a:moveTo>
                    <a:pt x="310213" y="473418"/>
                  </a:moveTo>
                  <a:lnTo>
                    <a:pt x="647808" y="473418"/>
                  </a:lnTo>
                  <a:lnTo>
                    <a:pt x="846145" y="447781"/>
                  </a:lnTo>
                  <a:lnTo>
                    <a:pt x="866406" y="458829"/>
                  </a:lnTo>
                  <a:cubicBezTo>
                    <a:pt x="860311" y="514849"/>
                    <a:pt x="857195" y="571166"/>
                    <a:pt x="857195" y="627526"/>
                  </a:cubicBezTo>
                  <a:lnTo>
                    <a:pt x="857195" y="1236592"/>
                  </a:lnTo>
                  <a:cubicBezTo>
                    <a:pt x="857195" y="1313646"/>
                    <a:pt x="868246" y="1322853"/>
                    <a:pt x="904939" y="1332060"/>
                  </a:cubicBezTo>
                  <a:lnTo>
                    <a:pt x="980166" y="1352173"/>
                  </a:lnTo>
                  <a:lnTo>
                    <a:pt x="980166" y="1407130"/>
                  </a:lnTo>
                  <a:lnTo>
                    <a:pt x="555159" y="1407130"/>
                  </a:lnTo>
                  <a:lnTo>
                    <a:pt x="555159" y="1352031"/>
                  </a:lnTo>
                  <a:lnTo>
                    <a:pt x="624860" y="1331918"/>
                  </a:lnTo>
                  <a:cubicBezTo>
                    <a:pt x="659710" y="1322711"/>
                    <a:pt x="674302" y="1307980"/>
                    <a:pt x="674302" y="1236451"/>
                  </a:cubicBezTo>
                  <a:lnTo>
                    <a:pt x="674302" y="667894"/>
                  </a:lnTo>
                  <a:cubicBezTo>
                    <a:pt x="674302" y="594523"/>
                    <a:pt x="648659" y="570727"/>
                    <a:pt x="600918" y="570727"/>
                  </a:cubicBezTo>
                  <a:lnTo>
                    <a:pt x="311061" y="570727"/>
                  </a:lnTo>
                  <a:lnTo>
                    <a:pt x="311061" y="1227244"/>
                  </a:lnTo>
                  <a:cubicBezTo>
                    <a:pt x="311061" y="1313505"/>
                    <a:pt x="318428" y="1320870"/>
                    <a:pt x="358805" y="1331918"/>
                  </a:cubicBezTo>
                  <a:lnTo>
                    <a:pt x="434032" y="1352031"/>
                  </a:lnTo>
                  <a:lnTo>
                    <a:pt x="434032" y="1406989"/>
                  </a:lnTo>
                  <a:lnTo>
                    <a:pt x="2931" y="1406989"/>
                  </a:lnTo>
                  <a:lnTo>
                    <a:pt x="2931" y="1352031"/>
                  </a:lnTo>
                  <a:lnTo>
                    <a:pt x="78158" y="1331918"/>
                  </a:lnTo>
                  <a:cubicBezTo>
                    <a:pt x="114851" y="1322711"/>
                    <a:pt x="127600" y="1307980"/>
                    <a:pt x="127600" y="1236451"/>
                  </a:cubicBezTo>
                  <a:lnTo>
                    <a:pt x="127600" y="570161"/>
                  </a:lnTo>
                  <a:lnTo>
                    <a:pt x="-2593" y="570161"/>
                  </a:lnTo>
                  <a:lnTo>
                    <a:pt x="-2593" y="515061"/>
                  </a:lnTo>
                  <a:lnTo>
                    <a:pt x="127600" y="471152"/>
                  </a:lnTo>
                  <a:lnTo>
                    <a:pt x="127600" y="397781"/>
                  </a:lnTo>
                  <a:cubicBezTo>
                    <a:pt x="127600" y="142823"/>
                    <a:pt x="305537" y="-237"/>
                    <a:pt x="567908" y="-237"/>
                  </a:cubicBezTo>
                  <a:cubicBezTo>
                    <a:pt x="714675" y="-237"/>
                    <a:pt x="778852" y="51038"/>
                    <a:pt x="778852" y="115203"/>
                  </a:cubicBezTo>
                  <a:cubicBezTo>
                    <a:pt x="778852" y="184891"/>
                    <a:pt x="738620" y="216194"/>
                    <a:pt x="679684" y="216194"/>
                  </a:cubicBezTo>
                  <a:cubicBezTo>
                    <a:pt x="608144" y="216194"/>
                    <a:pt x="575134" y="175826"/>
                    <a:pt x="566348" y="113361"/>
                  </a:cubicBezTo>
                  <a:cubicBezTo>
                    <a:pt x="562665" y="84041"/>
                    <a:pt x="549916" y="65769"/>
                    <a:pt x="515066" y="65769"/>
                  </a:cubicBezTo>
                  <a:cubicBezTo>
                    <a:pt x="406829" y="65769"/>
                    <a:pt x="311344" y="109820"/>
                    <a:pt x="311344" y="300472"/>
                  </a:cubicBez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2" name="Freeform: Shape 11">
              <a:extLst>
                <a:ext uri="{FF2B5EF4-FFF2-40B4-BE49-F238E27FC236}">
                  <a16:creationId xmlns:a16="http://schemas.microsoft.com/office/drawing/2014/main" id="{BD499510-7205-4BBD-B3DB-C99AABA529EE}"/>
                </a:ext>
              </a:extLst>
            </p:cNvPr>
            <p:cNvSpPr/>
            <p:nvPr/>
          </p:nvSpPr>
          <p:spPr>
            <a:xfrm>
              <a:off x="5442055" y="1162197"/>
              <a:ext cx="697719" cy="963032"/>
            </a:xfrm>
            <a:custGeom>
              <a:avLst/>
              <a:gdLst>
                <a:gd name="connsiteX0" fmla="*/ -1600 w 697719"/>
                <a:gd name="connsiteY0" fmla="*/ 908405 h 963032"/>
                <a:gd name="connsiteX1" fmla="*/ 73627 w 697719"/>
                <a:gd name="connsiteY1" fmla="*/ 888291 h 963032"/>
                <a:gd name="connsiteX2" fmla="*/ 123211 w 697719"/>
                <a:gd name="connsiteY2" fmla="*/ 792824 h 963032"/>
                <a:gd name="connsiteX3" fmla="*/ 123211 w 697719"/>
                <a:gd name="connsiteY3" fmla="*/ 224268 h 963032"/>
                <a:gd name="connsiteX4" fmla="*/ 68100 w 697719"/>
                <a:gd name="connsiteY4" fmla="*/ 125118 h 963032"/>
                <a:gd name="connsiteX5" fmla="*/ -1600 w 697719"/>
                <a:gd name="connsiteY5" fmla="*/ 90273 h 963032"/>
                <a:gd name="connsiteX6" fmla="*/ -1600 w 697719"/>
                <a:gd name="connsiteY6" fmla="*/ 42540 h 963032"/>
                <a:gd name="connsiteX7" fmla="*/ 288254 w 697719"/>
                <a:gd name="connsiteY7" fmla="*/ 4013 h 963032"/>
                <a:gd name="connsiteX8" fmla="*/ 306672 w 697719"/>
                <a:gd name="connsiteY8" fmla="*/ 18177 h 963032"/>
                <a:gd name="connsiteX9" fmla="*/ 297461 w 697719"/>
                <a:gd name="connsiteY9" fmla="*/ 124551 h 963032"/>
                <a:gd name="connsiteX10" fmla="*/ 304828 w 697719"/>
                <a:gd name="connsiteY10" fmla="*/ 124551 h 963032"/>
                <a:gd name="connsiteX11" fmla="*/ 573999 w 697719"/>
                <a:gd name="connsiteY11" fmla="*/ -237 h 963032"/>
                <a:gd name="connsiteX12" fmla="*/ 695127 w 697719"/>
                <a:gd name="connsiteY12" fmla="*/ 109820 h 963032"/>
                <a:gd name="connsiteX13" fmla="*/ 595958 w 697719"/>
                <a:gd name="connsiteY13" fmla="*/ 212512 h 963032"/>
                <a:gd name="connsiteX14" fmla="*/ 491267 w 697719"/>
                <a:gd name="connsiteY14" fmla="*/ 153871 h 963032"/>
                <a:gd name="connsiteX15" fmla="*/ 448766 w 697719"/>
                <a:gd name="connsiteY15" fmla="*/ 122710 h 963032"/>
                <a:gd name="connsiteX16" fmla="*/ 305679 w 697719"/>
                <a:gd name="connsiteY16" fmla="*/ 203446 h 963032"/>
                <a:gd name="connsiteX17" fmla="*/ 305679 w 697719"/>
                <a:gd name="connsiteY17" fmla="*/ 792257 h 963032"/>
                <a:gd name="connsiteX18" fmla="*/ 353281 w 697719"/>
                <a:gd name="connsiteY18" fmla="*/ 887725 h 963032"/>
                <a:gd name="connsiteX19" fmla="*/ 446922 w 697719"/>
                <a:gd name="connsiteY19" fmla="*/ 907838 h 963032"/>
                <a:gd name="connsiteX20" fmla="*/ 446922 w 697719"/>
                <a:gd name="connsiteY20" fmla="*/ 962796 h 963032"/>
                <a:gd name="connsiteX21" fmla="*/ -2593 w 697719"/>
                <a:gd name="connsiteY21" fmla="*/ 962796 h 96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719" h="963032">
                  <a:moveTo>
                    <a:pt x="-1600" y="908405"/>
                  </a:moveTo>
                  <a:lnTo>
                    <a:pt x="73627" y="888291"/>
                  </a:lnTo>
                  <a:cubicBezTo>
                    <a:pt x="110317" y="879085"/>
                    <a:pt x="123211" y="864354"/>
                    <a:pt x="123211" y="792824"/>
                  </a:cubicBezTo>
                  <a:lnTo>
                    <a:pt x="123211" y="224268"/>
                  </a:lnTo>
                  <a:cubicBezTo>
                    <a:pt x="123211" y="150897"/>
                    <a:pt x="114000" y="147214"/>
                    <a:pt x="68100" y="125118"/>
                  </a:cubicBezTo>
                  <a:lnTo>
                    <a:pt x="-1600" y="90273"/>
                  </a:lnTo>
                  <a:lnTo>
                    <a:pt x="-1600" y="42540"/>
                  </a:lnTo>
                  <a:lnTo>
                    <a:pt x="288254" y="4013"/>
                  </a:lnTo>
                  <a:lnTo>
                    <a:pt x="306672" y="18177"/>
                  </a:lnTo>
                  <a:lnTo>
                    <a:pt x="297461" y="124551"/>
                  </a:lnTo>
                  <a:lnTo>
                    <a:pt x="304828" y="124551"/>
                  </a:lnTo>
                  <a:cubicBezTo>
                    <a:pt x="369005" y="60387"/>
                    <a:pt x="482765" y="-237"/>
                    <a:pt x="573999" y="-237"/>
                  </a:cubicBezTo>
                  <a:cubicBezTo>
                    <a:pt x="649226" y="-237"/>
                    <a:pt x="695127" y="40132"/>
                    <a:pt x="695127" y="109820"/>
                  </a:cubicBezTo>
                  <a:cubicBezTo>
                    <a:pt x="695127" y="179509"/>
                    <a:pt x="649226" y="212512"/>
                    <a:pt x="595958" y="212512"/>
                  </a:cubicBezTo>
                  <a:cubicBezTo>
                    <a:pt x="527957" y="212512"/>
                    <a:pt x="507841" y="194240"/>
                    <a:pt x="491267" y="153871"/>
                  </a:cubicBezTo>
                  <a:cubicBezTo>
                    <a:pt x="480358" y="128234"/>
                    <a:pt x="467464" y="122710"/>
                    <a:pt x="448766" y="122710"/>
                  </a:cubicBezTo>
                  <a:cubicBezTo>
                    <a:pt x="412072" y="122710"/>
                    <a:pt x="338689" y="166761"/>
                    <a:pt x="305679" y="203446"/>
                  </a:cubicBezTo>
                  <a:lnTo>
                    <a:pt x="305679" y="792257"/>
                  </a:lnTo>
                  <a:cubicBezTo>
                    <a:pt x="305679" y="869311"/>
                    <a:pt x="316588" y="880359"/>
                    <a:pt x="353281" y="887725"/>
                  </a:cubicBezTo>
                  <a:lnTo>
                    <a:pt x="446922" y="907838"/>
                  </a:lnTo>
                  <a:lnTo>
                    <a:pt x="446922" y="962796"/>
                  </a:lnTo>
                  <a:lnTo>
                    <a:pt x="-2593" y="962796"/>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3" name="Freeform: Shape 12">
              <a:extLst>
                <a:ext uri="{FF2B5EF4-FFF2-40B4-BE49-F238E27FC236}">
                  <a16:creationId xmlns:a16="http://schemas.microsoft.com/office/drawing/2014/main" id="{588BD3B2-4F0C-4865-B0C2-18264B05F1DD}"/>
                </a:ext>
              </a:extLst>
            </p:cNvPr>
            <p:cNvSpPr/>
            <p:nvPr/>
          </p:nvSpPr>
          <p:spPr>
            <a:xfrm>
              <a:off x="6218809" y="1164181"/>
              <a:ext cx="1561616" cy="961757"/>
            </a:xfrm>
            <a:custGeom>
              <a:avLst/>
              <a:gdLst>
                <a:gd name="connsiteX0" fmla="*/ -2167 w 1561616"/>
                <a:gd name="connsiteY0" fmla="*/ 906422 h 961757"/>
                <a:gd name="connsiteX1" fmla="*/ 73060 w 1561616"/>
                <a:gd name="connsiteY1" fmla="*/ 886308 h 961757"/>
                <a:gd name="connsiteX2" fmla="*/ 122502 w 1561616"/>
                <a:gd name="connsiteY2" fmla="*/ 790841 h 961757"/>
                <a:gd name="connsiteX3" fmla="*/ 122502 w 1561616"/>
                <a:gd name="connsiteY3" fmla="*/ 222285 h 961757"/>
                <a:gd name="connsiteX4" fmla="*/ 67533 w 1561616"/>
                <a:gd name="connsiteY4" fmla="*/ 123134 h 961757"/>
                <a:gd name="connsiteX5" fmla="*/ -2167 w 1561616"/>
                <a:gd name="connsiteY5" fmla="*/ 88290 h 961757"/>
                <a:gd name="connsiteX6" fmla="*/ -2167 w 1561616"/>
                <a:gd name="connsiteY6" fmla="*/ 40557 h 961757"/>
                <a:gd name="connsiteX7" fmla="*/ 287687 w 1561616"/>
                <a:gd name="connsiteY7" fmla="*/ 2030 h 961757"/>
                <a:gd name="connsiteX8" fmla="*/ 305963 w 1561616"/>
                <a:gd name="connsiteY8" fmla="*/ 16194 h 961757"/>
                <a:gd name="connsiteX9" fmla="*/ 296894 w 1561616"/>
                <a:gd name="connsiteY9" fmla="*/ 115344 h 961757"/>
                <a:gd name="connsiteX10" fmla="*/ 304261 w 1561616"/>
                <a:gd name="connsiteY10" fmla="*/ 115344 h 961757"/>
                <a:gd name="connsiteX11" fmla="*/ 634350 w 1561616"/>
                <a:gd name="connsiteY11" fmla="*/ -237 h 961757"/>
                <a:gd name="connsiteX12" fmla="*/ 856348 w 1561616"/>
                <a:gd name="connsiteY12" fmla="*/ 119027 h 961757"/>
                <a:gd name="connsiteX13" fmla="*/ 863711 w 1561616"/>
                <a:gd name="connsiteY13" fmla="*/ 119027 h 961757"/>
                <a:gd name="connsiteX14" fmla="*/ 1212218 w 1561616"/>
                <a:gd name="connsiteY14" fmla="*/ -237 h 961757"/>
                <a:gd name="connsiteX15" fmla="*/ 1436056 w 1561616"/>
                <a:gd name="connsiteY15" fmla="*/ 245514 h 961757"/>
                <a:gd name="connsiteX16" fmla="*/ 1436056 w 1561616"/>
                <a:gd name="connsiteY16" fmla="*/ 790274 h 961757"/>
                <a:gd name="connsiteX17" fmla="*/ 1483797 w 1561616"/>
                <a:gd name="connsiteY17" fmla="*/ 885742 h 961757"/>
                <a:gd name="connsiteX18" fmla="*/ 1559024 w 1561616"/>
                <a:gd name="connsiteY18" fmla="*/ 905855 h 961757"/>
                <a:gd name="connsiteX19" fmla="*/ 1559024 w 1561616"/>
                <a:gd name="connsiteY19" fmla="*/ 960813 h 961757"/>
                <a:gd name="connsiteX20" fmla="*/ 1127359 w 1561616"/>
                <a:gd name="connsiteY20" fmla="*/ 960813 h 961757"/>
                <a:gd name="connsiteX21" fmla="*/ 1127359 w 1561616"/>
                <a:gd name="connsiteY21" fmla="*/ 906422 h 961757"/>
                <a:gd name="connsiteX22" fmla="*/ 1202586 w 1561616"/>
                <a:gd name="connsiteY22" fmla="*/ 886308 h 961757"/>
                <a:gd name="connsiteX23" fmla="*/ 1252170 w 1561616"/>
                <a:gd name="connsiteY23" fmla="*/ 790841 h 961757"/>
                <a:gd name="connsiteX24" fmla="*/ 1252170 w 1561616"/>
                <a:gd name="connsiteY24" fmla="*/ 297497 h 961757"/>
                <a:gd name="connsiteX25" fmla="*/ 1109083 w 1561616"/>
                <a:gd name="connsiteY25" fmla="*/ 121435 h 961757"/>
                <a:gd name="connsiteX26" fmla="*/ 870653 w 1561616"/>
                <a:gd name="connsiteY26" fmla="*/ 181916 h 961757"/>
                <a:gd name="connsiteX27" fmla="*/ 870653 w 1561616"/>
                <a:gd name="connsiteY27" fmla="*/ 790982 h 961757"/>
                <a:gd name="connsiteX28" fmla="*/ 918255 w 1561616"/>
                <a:gd name="connsiteY28" fmla="*/ 886450 h 961757"/>
                <a:gd name="connsiteX29" fmla="*/ 993482 w 1561616"/>
                <a:gd name="connsiteY29" fmla="*/ 906563 h 961757"/>
                <a:gd name="connsiteX30" fmla="*/ 993482 w 1561616"/>
                <a:gd name="connsiteY30" fmla="*/ 961521 h 961757"/>
                <a:gd name="connsiteX31" fmla="*/ 562385 w 1561616"/>
                <a:gd name="connsiteY31" fmla="*/ 961521 h 961757"/>
                <a:gd name="connsiteX32" fmla="*/ 562385 w 1561616"/>
                <a:gd name="connsiteY32" fmla="*/ 906422 h 961757"/>
                <a:gd name="connsiteX33" fmla="*/ 637608 w 1561616"/>
                <a:gd name="connsiteY33" fmla="*/ 886308 h 961757"/>
                <a:gd name="connsiteX34" fmla="*/ 687192 w 1561616"/>
                <a:gd name="connsiteY34" fmla="*/ 790841 h 961757"/>
                <a:gd name="connsiteX35" fmla="*/ 687192 w 1561616"/>
                <a:gd name="connsiteY35" fmla="*/ 297497 h 961757"/>
                <a:gd name="connsiteX36" fmla="*/ 544109 w 1561616"/>
                <a:gd name="connsiteY36" fmla="*/ 121435 h 961757"/>
                <a:gd name="connsiteX37" fmla="*/ 305537 w 1561616"/>
                <a:gd name="connsiteY37" fmla="*/ 178092 h 961757"/>
                <a:gd name="connsiteX38" fmla="*/ 305537 w 1561616"/>
                <a:gd name="connsiteY38" fmla="*/ 790274 h 961757"/>
                <a:gd name="connsiteX39" fmla="*/ 353281 w 1561616"/>
                <a:gd name="connsiteY39" fmla="*/ 885742 h 961757"/>
                <a:gd name="connsiteX40" fmla="*/ 428505 w 1561616"/>
                <a:gd name="connsiteY40" fmla="*/ 905855 h 961757"/>
                <a:gd name="connsiteX41" fmla="*/ 428505 w 1561616"/>
                <a:gd name="connsiteY41" fmla="*/ 960813 h 961757"/>
                <a:gd name="connsiteX42" fmla="*/ -2593 w 1561616"/>
                <a:gd name="connsiteY42" fmla="*/ 960813 h 96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616" h="961757">
                  <a:moveTo>
                    <a:pt x="-2167" y="906422"/>
                  </a:moveTo>
                  <a:lnTo>
                    <a:pt x="73060" y="886308"/>
                  </a:lnTo>
                  <a:cubicBezTo>
                    <a:pt x="109750" y="877101"/>
                    <a:pt x="122502" y="862370"/>
                    <a:pt x="122502" y="790841"/>
                  </a:cubicBezTo>
                  <a:lnTo>
                    <a:pt x="122502" y="222285"/>
                  </a:lnTo>
                  <a:cubicBezTo>
                    <a:pt x="122502" y="148914"/>
                    <a:pt x="113433" y="145231"/>
                    <a:pt x="67533" y="123134"/>
                  </a:cubicBezTo>
                  <a:lnTo>
                    <a:pt x="-2167" y="88290"/>
                  </a:lnTo>
                  <a:lnTo>
                    <a:pt x="-2167" y="40557"/>
                  </a:lnTo>
                  <a:lnTo>
                    <a:pt x="287687" y="2030"/>
                  </a:lnTo>
                  <a:lnTo>
                    <a:pt x="305963" y="16194"/>
                  </a:lnTo>
                  <a:lnTo>
                    <a:pt x="296894" y="115344"/>
                  </a:lnTo>
                  <a:lnTo>
                    <a:pt x="304261" y="115344"/>
                  </a:lnTo>
                  <a:cubicBezTo>
                    <a:pt x="395924" y="56704"/>
                    <a:pt x="520590" y="-237"/>
                    <a:pt x="634350" y="-237"/>
                  </a:cubicBezTo>
                  <a:cubicBezTo>
                    <a:pt x="768368" y="-237"/>
                    <a:pt x="823338" y="43814"/>
                    <a:pt x="856348" y="119027"/>
                  </a:cubicBezTo>
                  <a:lnTo>
                    <a:pt x="863711" y="119027"/>
                  </a:lnTo>
                  <a:cubicBezTo>
                    <a:pt x="964581" y="60387"/>
                    <a:pt x="1076215" y="-237"/>
                    <a:pt x="1212218" y="-237"/>
                  </a:cubicBezTo>
                  <a:cubicBezTo>
                    <a:pt x="1373720" y="-237"/>
                    <a:pt x="1436056" y="80500"/>
                    <a:pt x="1436056" y="245514"/>
                  </a:cubicBezTo>
                  <a:lnTo>
                    <a:pt x="1436056" y="790274"/>
                  </a:lnTo>
                  <a:cubicBezTo>
                    <a:pt x="1436056" y="861096"/>
                    <a:pt x="1450223" y="876535"/>
                    <a:pt x="1483797" y="885742"/>
                  </a:cubicBezTo>
                  <a:lnTo>
                    <a:pt x="1559024" y="905855"/>
                  </a:lnTo>
                  <a:lnTo>
                    <a:pt x="1559024" y="960813"/>
                  </a:lnTo>
                  <a:lnTo>
                    <a:pt x="1127359" y="960813"/>
                  </a:lnTo>
                  <a:lnTo>
                    <a:pt x="1127359" y="906422"/>
                  </a:lnTo>
                  <a:lnTo>
                    <a:pt x="1202586" y="886308"/>
                  </a:lnTo>
                  <a:cubicBezTo>
                    <a:pt x="1241119" y="877101"/>
                    <a:pt x="1252170" y="867895"/>
                    <a:pt x="1252170" y="790841"/>
                  </a:cubicBezTo>
                  <a:lnTo>
                    <a:pt x="1252170" y="297497"/>
                  </a:lnTo>
                  <a:cubicBezTo>
                    <a:pt x="1252170" y="174551"/>
                    <a:pt x="1221004" y="121435"/>
                    <a:pt x="1109083" y="121435"/>
                  </a:cubicBezTo>
                  <a:cubicBezTo>
                    <a:pt x="1019267" y="121435"/>
                    <a:pt x="925622" y="156279"/>
                    <a:pt x="870653" y="181916"/>
                  </a:cubicBezTo>
                  <a:lnTo>
                    <a:pt x="870653" y="790982"/>
                  </a:lnTo>
                  <a:cubicBezTo>
                    <a:pt x="870653" y="861804"/>
                    <a:pt x="884820" y="877243"/>
                    <a:pt x="918255" y="886450"/>
                  </a:cubicBezTo>
                  <a:lnTo>
                    <a:pt x="993482" y="906563"/>
                  </a:lnTo>
                  <a:lnTo>
                    <a:pt x="993482" y="961521"/>
                  </a:lnTo>
                  <a:lnTo>
                    <a:pt x="562385" y="961521"/>
                  </a:lnTo>
                  <a:lnTo>
                    <a:pt x="562385" y="906422"/>
                  </a:lnTo>
                  <a:lnTo>
                    <a:pt x="637608" y="886308"/>
                  </a:lnTo>
                  <a:cubicBezTo>
                    <a:pt x="676142" y="877101"/>
                    <a:pt x="687192" y="867895"/>
                    <a:pt x="687192" y="790841"/>
                  </a:cubicBezTo>
                  <a:lnTo>
                    <a:pt x="687192" y="297497"/>
                  </a:lnTo>
                  <a:cubicBezTo>
                    <a:pt x="687192" y="176392"/>
                    <a:pt x="656026" y="121435"/>
                    <a:pt x="544109" y="121435"/>
                  </a:cubicBezTo>
                  <a:cubicBezTo>
                    <a:pt x="454148" y="121435"/>
                    <a:pt x="358805" y="156279"/>
                    <a:pt x="305537" y="178092"/>
                  </a:cubicBezTo>
                  <a:lnTo>
                    <a:pt x="305537" y="790274"/>
                  </a:lnTo>
                  <a:cubicBezTo>
                    <a:pt x="305537" y="867328"/>
                    <a:pt x="316588" y="876535"/>
                    <a:pt x="353281" y="885742"/>
                  </a:cubicBezTo>
                  <a:lnTo>
                    <a:pt x="428505" y="905855"/>
                  </a:lnTo>
                  <a:lnTo>
                    <a:pt x="428505" y="960813"/>
                  </a:lnTo>
                  <a:lnTo>
                    <a:pt x="-2593" y="960813"/>
                  </a:lnTo>
                  <a:close/>
                </a:path>
              </a:pathLst>
            </a:custGeom>
            <a:solidFill>
              <a:schemeClr val="tx1"/>
            </a:solidFill>
            <a:ln w="14153" cap="flat">
              <a:noFill/>
              <a:prstDash val="solid"/>
              <a:miter/>
            </a:ln>
          </p:spPr>
          <p:txBody>
            <a:bodyPr rtlCol="0" anchor="ctr"/>
            <a:lstStyle/>
            <a:p>
              <a:endParaRPr lang="en-GB" dirty="0">
                <a:solidFill>
                  <a:schemeClr val="tx1"/>
                </a:solidFill>
              </a:endParaRPr>
            </a:p>
          </p:txBody>
        </p:sp>
        <p:sp>
          <p:nvSpPr>
            <p:cNvPr id="14" name="Freeform: Shape 13">
              <a:extLst>
                <a:ext uri="{FF2B5EF4-FFF2-40B4-BE49-F238E27FC236}">
                  <a16:creationId xmlns:a16="http://schemas.microsoft.com/office/drawing/2014/main" id="{BFF832B6-3402-4CD7-8CD9-DBF06FA7A041}"/>
                </a:ext>
              </a:extLst>
            </p:cNvPr>
            <p:cNvSpPr/>
            <p:nvPr userDrawn="1"/>
          </p:nvSpPr>
          <p:spPr>
            <a:xfrm>
              <a:off x="7853110" y="1875449"/>
              <a:ext cx="266363" cy="266347"/>
            </a:xfrm>
            <a:custGeom>
              <a:avLst/>
              <a:gdLst>
                <a:gd name="connsiteX0" fmla="*/ -2527 w 230343"/>
                <a:gd name="connsiteY0" fmla="*/ 118884 h 230329"/>
                <a:gd name="connsiteX1" fmla="*/ 108684 w 230343"/>
                <a:gd name="connsiteY1" fmla="*/ -167 h 230329"/>
                <a:gd name="connsiteX2" fmla="*/ 227685 w 230343"/>
                <a:gd name="connsiteY2" fmla="*/ 110952 h 230329"/>
                <a:gd name="connsiteX3" fmla="*/ 116477 w 230343"/>
                <a:gd name="connsiteY3" fmla="*/ 230003 h 230329"/>
                <a:gd name="connsiteX4" fmla="*/ 111801 w 230343"/>
                <a:gd name="connsiteY4" fmla="*/ 230074 h 230329"/>
                <a:gd name="connsiteX5" fmla="*/ -2527 w 230343"/>
                <a:gd name="connsiteY5" fmla="*/ 119762 h 230329"/>
                <a:gd name="connsiteX6" fmla="*/ -2527 w 230343"/>
                <a:gd name="connsiteY6" fmla="*/ 118884 h 23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43" h="230329">
                  <a:moveTo>
                    <a:pt x="-2527" y="118884"/>
                  </a:moveTo>
                  <a:cubicBezTo>
                    <a:pt x="-4651" y="55329"/>
                    <a:pt x="45075" y="2029"/>
                    <a:pt x="108684" y="-167"/>
                  </a:cubicBezTo>
                  <a:cubicBezTo>
                    <a:pt x="172152" y="-2362"/>
                    <a:pt x="225561" y="47397"/>
                    <a:pt x="227685" y="110952"/>
                  </a:cubicBezTo>
                  <a:cubicBezTo>
                    <a:pt x="229812" y="174522"/>
                    <a:pt x="180086" y="227822"/>
                    <a:pt x="116477" y="230003"/>
                  </a:cubicBezTo>
                  <a:cubicBezTo>
                    <a:pt x="114917" y="230060"/>
                    <a:pt x="113360" y="230088"/>
                    <a:pt x="111801" y="230074"/>
                  </a:cubicBezTo>
                  <a:cubicBezTo>
                    <a:pt x="49748" y="231179"/>
                    <a:pt x="-1393" y="181788"/>
                    <a:pt x="-2527" y="119762"/>
                  </a:cubicBezTo>
                  <a:cubicBezTo>
                    <a:pt x="-2527" y="119465"/>
                    <a:pt x="-2527" y="119182"/>
                    <a:pt x="-2527" y="118884"/>
                  </a:cubicBezTo>
                </a:path>
              </a:pathLst>
            </a:custGeom>
            <a:solidFill>
              <a:schemeClr val="tx1"/>
            </a:solidFill>
            <a:ln w="14153" cap="flat">
              <a:noFill/>
              <a:prstDash val="solid"/>
              <a:miter/>
            </a:ln>
          </p:spPr>
          <p:txBody>
            <a:bodyPr rtlCol="0" anchor="ctr"/>
            <a:lstStyle/>
            <a:p>
              <a:endParaRPr lang="en-GB">
                <a:solidFill>
                  <a:schemeClr val="tx1"/>
                </a:solidFill>
              </a:endParaRPr>
            </a:p>
          </p:txBody>
        </p:sp>
      </p:grpSp>
      <p:grpSp>
        <p:nvGrpSpPr>
          <p:cNvPr id="2" name="Group 1">
            <a:extLst>
              <a:ext uri="{FF2B5EF4-FFF2-40B4-BE49-F238E27FC236}">
                <a16:creationId xmlns:a16="http://schemas.microsoft.com/office/drawing/2014/main" id="{FF6A65B9-ADDA-482F-9F23-565796B0C61B}"/>
              </a:ext>
            </a:extLst>
          </p:cNvPr>
          <p:cNvGrpSpPr/>
          <p:nvPr userDrawn="1"/>
        </p:nvGrpSpPr>
        <p:grpSpPr>
          <a:xfrm>
            <a:off x="709879" y="4058926"/>
            <a:ext cx="8016437" cy="1431305"/>
            <a:chOff x="709879" y="2561771"/>
            <a:chExt cx="8016437" cy="1431305"/>
          </a:xfrm>
        </p:grpSpPr>
        <p:sp>
          <p:nvSpPr>
            <p:cNvPr id="15" name="Freeform: Shape 14">
              <a:extLst>
                <a:ext uri="{FF2B5EF4-FFF2-40B4-BE49-F238E27FC236}">
                  <a16:creationId xmlns:a16="http://schemas.microsoft.com/office/drawing/2014/main" id="{2842B283-E38F-4698-A84D-EFA2E277B030}"/>
                </a:ext>
              </a:extLst>
            </p:cNvPr>
            <p:cNvSpPr/>
            <p:nvPr/>
          </p:nvSpPr>
          <p:spPr>
            <a:xfrm>
              <a:off x="709879" y="2697323"/>
              <a:ext cx="1139300" cy="1271389"/>
            </a:xfrm>
            <a:custGeom>
              <a:avLst/>
              <a:gdLst>
                <a:gd name="connsiteX0" fmla="*/ 329762 w 1139300"/>
                <a:gd name="connsiteY0" fmla="*/ 1214071 h 1271389"/>
                <a:gd name="connsiteX1" fmla="*/ 419581 w 1139300"/>
                <a:gd name="connsiteY1" fmla="*/ 1197499 h 1271389"/>
                <a:gd name="connsiteX2" fmla="*/ 476249 w 1139300"/>
                <a:gd name="connsiteY2" fmla="*/ 1087442 h 1271389"/>
                <a:gd name="connsiteX3" fmla="*/ 476249 w 1139300"/>
                <a:gd name="connsiteY3" fmla="*/ 757271 h 1271389"/>
                <a:gd name="connsiteX4" fmla="*/ 188235 w 1139300"/>
                <a:gd name="connsiteY4" fmla="*/ 230925 h 1271389"/>
                <a:gd name="connsiteX5" fmla="*/ 43308 w 1139300"/>
                <a:gd name="connsiteY5" fmla="*/ 67752 h 1271389"/>
                <a:gd name="connsiteX6" fmla="*/ -2593 w 1139300"/>
                <a:gd name="connsiteY6" fmla="*/ 54863 h 1271389"/>
                <a:gd name="connsiteX7" fmla="*/ -2593 w 1139300"/>
                <a:gd name="connsiteY7" fmla="*/ -237 h 1271389"/>
                <a:gd name="connsiteX8" fmla="*/ 479932 w 1139300"/>
                <a:gd name="connsiteY8" fmla="*/ -237 h 1271389"/>
                <a:gd name="connsiteX9" fmla="*/ 479932 w 1139300"/>
                <a:gd name="connsiteY9" fmla="*/ 54863 h 1271389"/>
                <a:gd name="connsiteX10" fmla="*/ 434032 w 1139300"/>
                <a:gd name="connsiteY10" fmla="*/ 65911 h 1271389"/>
                <a:gd name="connsiteX11" fmla="*/ 356961 w 1139300"/>
                <a:gd name="connsiteY11" fmla="*/ 131917 h 1271389"/>
                <a:gd name="connsiteX12" fmla="*/ 397338 w 1139300"/>
                <a:gd name="connsiteY12" fmla="*/ 231067 h 1271389"/>
                <a:gd name="connsiteX13" fmla="*/ 617776 w 1139300"/>
                <a:gd name="connsiteY13" fmla="*/ 653305 h 1271389"/>
                <a:gd name="connsiteX14" fmla="*/ 625143 w 1139300"/>
                <a:gd name="connsiteY14" fmla="*/ 653305 h 1271389"/>
                <a:gd name="connsiteX15" fmla="*/ 837647 w 1139300"/>
                <a:gd name="connsiteY15" fmla="*/ 231492 h 1271389"/>
                <a:gd name="connsiteX16" fmla="*/ 868813 w 1139300"/>
                <a:gd name="connsiteY16" fmla="*/ 132342 h 1271389"/>
                <a:gd name="connsiteX17" fmla="*/ 802793 w 1139300"/>
                <a:gd name="connsiteY17" fmla="*/ 68177 h 1271389"/>
                <a:gd name="connsiteX18" fmla="*/ 744002 w 1139300"/>
                <a:gd name="connsiteY18" fmla="*/ 55288 h 1271389"/>
                <a:gd name="connsiteX19" fmla="*/ 744002 w 1139300"/>
                <a:gd name="connsiteY19" fmla="*/ 189 h 1271389"/>
                <a:gd name="connsiteX20" fmla="*/ 1136708 w 1139300"/>
                <a:gd name="connsiteY20" fmla="*/ 189 h 1271389"/>
                <a:gd name="connsiteX21" fmla="*/ 1136708 w 1139300"/>
                <a:gd name="connsiteY21" fmla="*/ 55288 h 1271389"/>
                <a:gd name="connsiteX22" fmla="*/ 1096334 w 1139300"/>
                <a:gd name="connsiteY22" fmla="*/ 68177 h 1271389"/>
                <a:gd name="connsiteX23" fmla="*/ 931146 w 1139300"/>
                <a:gd name="connsiteY23" fmla="*/ 256987 h 1271389"/>
                <a:gd name="connsiteX24" fmla="*/ 676142 w 1139300"/>
                <a:gd name="connsiteY24" fmla="*/ 743107 h 1271389"/>
                <a:gd name="connsiteX25" fmla="*/ 676142 w 1139300"/>
                <a:gd name="connsiteY25" fmla="*/ 1087867 h 1271389"/>
                <a:gd name="connsiteX26" fmla="*/ 734937 w 1139300"/>
                <a:gd name="connsiteY26" fmla="*/ 1197924 h 1271389"/>
                <a:gd name="connsiteX27" fmla="*/ 824752 w 1139300"/>
                <a:gd name="connsiteY27" fmla="*/ 1214496 h 1271389"/>
                <a:gd name="connsiteX28" fmla="*/ 824752 w 1139300"/>
                <a:gd name="connsiteY28" fmla="*/ 1271153 h 1271389"/>
                <a:gd name="connsiteX29" fmla="*/ 328911 w 1139300"/>
                <a:gd name="connsiteY29" fmla="*/ 1271153 h 127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39300" h="1271389">
                  <a:moveTo>
                    <a:pt x="329762" y="1214071"/>
                  </a:moveTo>
                  <a:lnTo>
                    <a:pt x="419581" y="1197499"/>
                  </a:lnTo>
                  <a:cubicBezTo>
                    <a:pt x="463638" y="1188292"/>
                    <a:pt x="476249" y="1179227"/>
                    <a:pt x="476249" y="1087442"/>
                  </a:cubicBezTo>
                  <a:lnTo>
                    <a:pt x="476249" y="757271"/>
                  </a:lnTo>
                  <a:lnTo>
                    <a:pt x="188235" y="230925"/>
                  </a:lnTo>
                  <a:cubicBezTo>
                    <a:pt x="122218" y="113503"/>
                    <a:pt x="94590" y="82341"/>
                    <a:pt x="43308" y="67752"/>
                  </a:cubicBezTo>
                  <a:lnTo>
                    <a:pt x="-2593" y="54863"/>
                  </a:lnTo>
                  <a:lnTo>
                    <a:pt x="-2593" y="-237"/>
                  </a:lnTo>
                  <a:lnTo>
                    <a:pt x="479932" y="-237"/>
                  </a:lnTo>
                  <a:lnTo>
                    <a:pt x="479932" y="54863"/>
                  </a:lnTo>
                  <a:lnTo>
                    <a:pt x="434032" y="65911"/>
                  </a:lnTo>
                  <a:cubicBezTo>
                    <a:pt x="375379" y="78659"/>
                    <a:pt x="356961" y="98913"/>
                    <a:pt x="356961" y="131917"/>
                  </a:cubicBezTo>
                  <a:cubicBezTo>
                    <a:pt x="356961" y="155713"/>
                    <a:pt x="373539" y="185033"/>
                    <a:pt x="397338" y="231067"/>
                  </a:cubicBezTo>
                  <a:lnTo>
                    <a:pt x="617776" y="653305"/>
                  </a:lnTo>
                  <a:lnTo>
                    <a:pt x="625143" y="653305"/>
                  </a:lnTo>
                  <a:lnTo>
                    <a:pt x="837647" y="231492"/>
                  </a:lnTo>
                  <a:cubicBezTo>
                    <a:pt x="859602" y="185600"/>
                    <a:pt x="868813" y="156279"/>
                    <a:pt x="868813" y="132342"/>
                  </a:cubicBezTo>
                  <a:cubicBezTo>
                    <a:pt x="868813" y="97497"/>
                    <a:pt x="848694" y="79084"/>
                    <a:pt x="802793" y="68177"/>
                  </a:cubicBezTo>
                  <a:lnTo>
                    <a:pt x="744002" y="55288"/>
                  </a:lnTo>
                  <a:lnTo>
                    <a:pt x="744002" y="189"/>
                  </a:lnTo>
                  <a:lnTo>
                    <a:pt x="1136708" y="189"/>
                  </a:lnTo>
                  <a:lnTo>
                    <a:pt x="1136708" y="55288"/>
                  </a:lnTo>
                  <a:lnTo>
                    <a:pt x="1096334" y="68177"/>
                  </a:lnTo>
                  <a:cubicBezTo>
                    <a:pt x="1033856" y="88290"/>
                    <a:pt x="1002689" y="113928"/>
                    <a:pt x="931146" y="256987"/>
                  </a:cubicBezTo>
                  <a:lnTo>
                    <a:pt x="676142" y="743107"/>
                  </a:lnTo>
                  <a:lnTo>
                    <a:pt x="676142" y="1087867"/>
                  </a:lnTo>
                  <a:cubicBezTo>
                    <a:pt x="676142" y="1179652"/>
                    <a:pt x="683509" y="1188717"/>
                    <a:pt x="734937" y="1197924"/>
                  </a:cubicBezTo>
                  <a:lnTo>
                    <a:pt x="824752" y="1214496"/>
                  </a:lnTo>
                  <a:lnTo>
                    <a:pt x="824752" y="1271153"/>
                  </a:lnTo>
                  <a:lnTo>
                    <a:pt x="328911" y="1271153"/>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6" name="Freeform: Shape 15">
              <a:extLst>
                <a:ext uri="{FF2B5EF4-FFF2-40B4-BE49-F238E27FC236}">
                  <a16:creationId xmlns:a16="http://schemas.microsoft.com/office/drawing/2014/main" id="{536ADBA9-BD5E-4F5B-B3C6-6727491B57EA}"/>
                </a:ext>
              </a:extLst>
            </p:cNvPr>
            <p:cNvSpPr/>
            <p:nvPr/>
          </p:nvSpPr>
          <p:spPr>
            <a:xfrm>
              <a:off x="1721900" y="3006248"/>
              <a:ext cx="926375" cy="986828"/>
            </a:xfrm>
            <a:custGeom>
              <a:avLst/>
              <a:gdLst>
                <a:gd name="connsiteX0" fmla="*/ 722610 w 926375"/>
                <a:gd name="connsiteY0" fmla="*/ 508970 h 986828"/>
                <a:gd name="connsiteX1" fmla="*/ 454715 w 926375"/>
                <a:gd name="connsiteY1" fmla="*/ 76109 h 986828"/>
                <a:gd name="connsiteX2" fmla="*/ 199711 w 926375"/>
                <a:gd name="connsiteY2" fmla="*/ 468602 h 986828"/>
                <a:gd name="connsiteX3" fmla="*/ 468882 w 926375"/>
                <a:gd name="connsiteY3" fmla="*/ 907696 h 986828"/>
                <a:gd name="connsiteX4" fmla="*/ 722046 w 926375"/>
                <a:gd name="connsiteY4" fmla="*/ 509679 h 986828"/>
                <a:gd name="connsiteX5" fmla="*/ -2593 w 926375"/>
                <a:gd name="connsiteY5" fmla="*/ 495515 h 986828"/>
                <a:gd name="connsiteX6" fmla="*/ 461515 w 926375"/>
                <a:gd name="connsiteY6" fmla="*/ -237 h 986828"/>
                <a:gd name="connsiteX7" fmla="*/ 923782 w 926375"/>
                <a:gd name="connsiteY7" fmla="*/ 483900 h 986828"/>
                <a:gd name="connsiteX8" fmla="*/ 461515 w 926375"/>
                <a:gd name="connsiteY8" fmla="*/ 986591 h 986828"/>
                <a:gd name="connsiteX9" fmla="*/ -2593 w 926375"/>
                <a:gd name="connsiteY9" fmla="*/ 494948 h 98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375" h="986828">
                  <a:moveTo>
                    <a:pt x="722610" y="508970"/>
                  </a:moveTo>
                  <a:cubicBezTo>
                    <a:pt x="722610" y="197355"/>
                    <a:pt x="634492" y="76109"/>
                    <a:pt x="454715" y="76109"/>
                  </a:cubicBezTo>
                  <a:cubicBezTo>
                    <a:pt x="289672" y="76109"/>
                    <a:pt x="199711" y="193531"/>
                    <a:pt x="199711" y="468602"/>
                  </a:cubicBezTo>
                  <a:cubicBezTo>
                    <a:pt x="199711" y="780217"/>
                    <a:pt x="289672" y="907696"/>
                    <a:pt x="468882" y="907696"/>
                  </a:cubicBezTo>
                  <a:cubicBezTo>
                    <a:pt x="633925" y="907696"/>
                    <a:pt x="722046" y="784750"/>
                    <a:pt x="722046" y="509679"/>
                  </a:cubicBezTo>
                  <a:moveTo>
                    <a:pt x="-2593" y="495515"/>
                  </a:moveTo>
                  <a:cubicBezTo>
                    <a:pt x="-2593" y="174551"/>
                    <a:pt x="221245" y="-237"/>
                    <a:pt x="461515" y="-237"/>
                  </a:cubicBezTo>
                  <a:cubicBezTo>
                    <a:pt x="722046" y="-237"/>
                    <a:pt x="923782" y="159253"/>
                    <a:pt x="923782" y="483900"/>
                  </a:cubicBezTo>
                  <a:cubicBezTo>
                    <a:pt x="923782" y="805005"/>
                    <a:pt x="699945" y="986591"/>
                    <a:pt x="461515" y="986591"/>
                  </a:cubicBezTo>
                  <a:cubicBezTo>
                    <a:pt x="199144" y="986591"/>
                    <a:pt x="-2593" y="819594"/>
                    <a:pt x="-2593" y="494948"/>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7" name="Freeform: Shape 16">
              <a:extLst>
                <a:ext uri="{FF2B5EF4-FFF2-40B4-BE49-F238E27FC236}">
                  <a16:creationId xmlns:a16="http://schemas.microsoft.com/office/drawing/2014/main" id="{D5AA8B4A-9A21-4C86-ABC7-8AD2968130E6}"/>
                </a:ext>
              </a:extLst>
            </p:cNvPr>
            <p:cNvSpPr/>
            <p:nvPr/>
          </p:nvSpPr>
          <p:spPr>
            <a:xfrm>
              <a:off x="2689950" y="3009222"/>
              <a:ext cx="1025401" cy="981446"/>
            </a:xfrm>
            <a:custGeom>
              <a:avLst/>
              <a:gdLst>
                <a:gd name="connsiteX0" fmla="*/ 122077 w 1025401"/>
                <a:gd name="connsiteY0" fmla="*/ 740699 h 981446"/>
                <a:gd name="connsiteX1" fmla="*/ 122077 w 1025401"/>
                <a:gd name="connsiteY1" fmla="*/ 201463 h 981446"/>
                <a:gd name="connsiteX2" fmla="*/ 72634 w 1025401"/>
                <a:gd name="connsiteY2" fmla="*/ 113503 h 981446"/>
                <a:gd name="connsiteX3" fmla="*/ -2593 w 1025401"/>
                <a:gd name="connsiteY3" fmla="*/ 80500 h 981446"/>
                <a:gd name="connsiteX4" fmla="*/ -2593 w 1025401"/>
                <a:gd name="connsiteY4" fmla="*/ 30924 h 981446"/>
                <a:gd name="connsiteX5" fmla="*/ 278054 w 1025401"/>
                <a:gd name="connsiteY5" fmla="*/ -237 h 981446"/>
                <a:gd name="connsiteX6" fmla="*/ 305537 w 1025401"/>
                <a:gd name="connsiteY6" fmla="*/ 18035 h 981446"/>
                <a:gd name="connsiteX7" fmla="*/ 305537 w 1025401"/>
                <a:gd name="connsiteY7" fmla="*/ 697923 h 981446"/>
                <a:gd name="connsiteX8" fmla="*/ 463358 w 1025401"/>
                <a:gd name="connsiteY8" fmla="*/ 861238 h 981446"/>
                <a:gd name="connsiteX9" fmla="*/ 716519 w 1025401"/>
                <a:gd name="connsiteY9" fmla="*/ 793390 h 981446"/>
                <a:gd name="connsiteX10" fmla="*/ 716519 w 1025401"/>
                <a:gd name="connsiteY10" fmla="*/ 201463 h 981446"/>
                <a:gd name="connsiteX11" fmla="*/ 666935 w 1025401"/>
                <a:gd name="connsiteY11" fmla="*/ 113503 h 981446"/>
                <a:gd name="connsiteX12" fmla="*/ 593551 w 1025401"/>
                <a:gd name="connsiteY12" fmla="*/ 80500 h 981446"/>
                <a:gd name="connsiteX13" fmla="*/ 593551 w 1025401"/>
                <a:gd name="connsiteY13" fmla="*/ 30924 h 981446"/>
                <a:gd name="connsiteX14" fmla="*/ 874337 w 1025401"/>
                <a:gd name="connsiteY14" fmla="*/ -237 h 981446"/>
                <a:gd name="connsiteX15" fmla="*/ 899979 w 1025401"/>
                <a:gd name="connsiteY15" fmla="*/ 18035 h 981446"/>
                <a:gd name="connsiteX16" fmla="*/ 899979 w 1025401"/>
                <a:gd name="connsiteY16" fmla="*/ 748064 h 981446"/>
                <a:gd name="connsiteX17" fmla="*/ 954949 w 1025401"/>
                <a:gd name="connsiteY17" fmla="*/ 861379 h 981446"/>
                <a:gd name="connsiteX18" fmla="*/ 1022809 w 1025401"/>
                <a:gd name="connsiteY18" fmla="*/ 892541 h 981446"/>
                <a:gd name="connsiteX19" fmla="*/ 1022809 w 1025401"/>
                <a:gd name="connsiteY19" fmla="*/ 942116 h 981446"/>
                <a:gd name="connsiteX20" fmla="*/ 736635 w 1025401"/>
                <a:gd name="connsiteY20" fmla="*/ 980643 h 981446"/>
                <a:gd name="connsiteX21" fmla="*/ 716519 w 1025401"/>
                <a:gd name="connsiteY21" fmla="*/ 966478 h 981446"/>
                <a:gd name="connsiteX22" fmla="*/ 725726 w 1025401"/>
                <a:gd name="connsiteY22" fmla="*/ 856421 h 981446"/>
                <a:gd name="connsiteX23" fmla="*/ 718362 w 1025401"/>
                <a:gd name="connsiteY23" fmla="*/ 856421 h 981446"/>
                <a:gd name="connsiteX24" fmla="*/ 369855 w 1025401"/>
                <a:gd name="connsiteY24" fmla="*/ 981209 h 981446"/>
                <a:gd name="connsiteX25" fmla="*/ 122077 w 1025401"/>
                <a:gd name="connsiteY25" fmla="*/ 740416 h 98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25401" h="981446">
                  <a:moveTo>
                    <a:pt x="122077" y="740699"/>
                  </a:moveTo>
                  <a:lnTo>
                    <a:pt x="122077" y="201463"/>
                  </a:lnTo>
                  <a:cubicBezTo>
                    <a:pt x="122077" y="133616"/>
                    <a:pt x="114851" y="131775"/>
                    <a:pt x="72634" y="113503"/>
                  </a:cubicBezTo>
                  <a:lnTo>
                    <a:pt x="-2593" y="80500"/>
                  </a:lnTo>
                  <a:lnTo>
                    <a:pt x="-2593" y="30924"/>
                  </a:lnTo>
                  <a:lnTo>
                    <a:pt x="278054" y="-237"/>
                  </a:lnTo>
                  <a:lnTo>
                    <a:pt x="305537" y="18035"/>
                  </a:lnTo>
                  <a:lnTo>
                    <a:pt x="305537" y="697923"/>
                  </a:lnTo>
                  <a:cubicBezTo>
                    <a:pt x="305537" y="804297"/>
                    <a:pt x="353281" y="861238"/>
                    <a:pt x="463358" y="861238"/>
                  </a:cubicBezTo>
                  <a:cubicBezTo>
                    <a:pt x="553174" y="861238"/>
                    <a:pt x="648659" y="822711"/>
                    <a:pt x="716519" y="793390"/>
                  </a:cubicBezTo>
                  <a:lnTo>
                    <a:pt x="716519" y="201463"/>
                  </a:lnTo>
                  <a:cubicBezTo>
                    <a:pt x="716519" y="133616"/>
                    <a:pt x="710995" y="131775"/>
                    <a:pt x="666935" y="113503"/>
                  </a:cubicBezTo>
                  <a:lnTo>
                    <a:pt x="593551" y="80500"/>
                  </a:lnTo>
                  <a:lnTo>
                    <a:pt x="593551" y="30924"/>
                  </a:lnTo>
                  <a:lnTo>
                    <a:pt x="874337" y="-237"/>
                  </a:lnTo>
                  <a:lnTo>
                    <a:pt x="899979" y="18035"/>
                  </a:lnTo>
                  <a:lnTo>
                    <a:pt x="899979" y="748064"/>
                  </a:lnTo>
                  <a:cubicBezTo>
                    <a:pt x="899979" y="830643"/>
                    <a:pt x="911030" y="841549"/>
                    <a:pt x="954949" y="861379"/>
                  </a:cubicBezTo>
                  <a:lnTo>
                    <a:pt x="1022809" y="892541"/>
                  </a:lnTo>
                  <a:lnTo>
                    <a:pt x="1022809" y="942116"/>
                  </a:lnTo>
                  <a:lnTo>
                    <a:pt x="736635" y="980643"/>
                  </a:lnTo>
                  <a:lnTo>
                    <a:pt x="716519" y="966478"/>
                  </a:lnTo>
                  <a:lnTo>
                    <a:pt x="725726" y="856421"/>
                  </a:lnTo>
                  <a:lnTo>
                    <a:pt x="718362" y="856421"/>
                  </a:lnTo>
                  <a:cubicBezTo>
                    <a:pt x="621176" y="920586"/>
                    <a:pt x="498208" y="981209"/>
                    <a:pt x="369855" y="981209"/>
                  </a:cubicBezTo>
                  <a:cubicBezTo>
                    <a:pt x="215718" y="981209"/>
                    <a:pt x="122077" y="896223"/>
                    <a:pt x="122077" y="740416"/>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8" name="Freeform: Shape 17">
              <a:extLst>
                <a:ext uri="{FF2B5EF4-FFF2-40B4-BE49-F238E27FC236}">
                  <a16:creationId xmlns:a16="http://schemas.microsoft.com/office/drawing/2014/main" id="{946FCCF5-48EF-48E2-87BE-2AD683778623}"/>
                </a:ext>
              </a:extLst>
            </p:cNvPr>
            <p:cNvSpPr/>
            <p:nvPr/>
          </p:nvSpPr>
          <p:spPr>
            <a:xfrm>
              <a:off x="3797828" y="3005114"/>
              <a:ext cx="697435" cy="962890"/>
            </a:xfrm>
            <a:custGeom>
              <a:avLst/>
              <a:gdLst>
                <a:gd name="connsiteX0" fmla="*/ -1745 w 697435"/>
                <a:gd name="connsiteY0" fmla="*/ 908121 h 962890"/>
                <a:gd name="connsiteX1" fmla="*/ 73482 w 697435"/>
                <a:gd name="connsiteY1" fmla="*/ 887867 h 962890"/>
                <a:gd name="connsiteX2" fmla="*/ 122924 w 697435"/>
                <a:gd name="connsiteY2" fmla="*/ 792540 h 962890"/>
                <a:gd name="connsiteX3" fmla="*/ 122924 w 697435"/>
                <a:gd name="connsiteY3" fmla="*/ 223985 h 962890"/>
                <a:gd name="connsiteX4" fmla="*/ 67958 w 697435"/>
                <a:gd name="connsiteY4" fmla="*/ 124834 h 962890"/>
                <a:gd name="connsiteX5" fmla="*/ -1745 w 697435"/>
                <a:gd name="connsiteY5" fmla="*/ 89990 h 962890"/>
                <a:gd name="connsiteX6" fmla="*/ -1745 w 697435"/>
                <a:gd name="connsiteY6" fmla="*/ 42398 h 962890"/>
                <a:gd name="connsiteX7" fmla="*/ 288109 w 697435"/>
                <a:gd name="connsiteY7" fmla="*/ 3871 h 962890"/>
                <a:gd name="connsiteX8" fmla="*/ 306385 w 697435"/>
                <a:gd name="connsiteY8" fmla="*/ 18035 h 962890"/>
                <a:gd name="connsiteX9" fmla="*/ 297319 w 697435"/>
                <a:gd name="connsiteY9" fmla="*/ 124410 h 962890"/>
                <a:gd name="connsiteX10" fmla="*/ 304544 w 697435"/>
                <a:gd name="connsiteY10" fmla="*/ 124410 h 962890"/>
                <a:gd name="connsiteX11" fmla="*/ 573716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745" y="908121"/>
                  </a:moveTo>
                  <a:lnTo>
                    <a:pt x="73482" y="887867"/>
                  </a:lnTo>
                  <a:cubicBezTo>
                    <a:pt x="110175" y="878660"/>
                    <a:pt x="122924" y="864070"/>
                    <a:pt x="122924" y="792540"/>
                  </a:cubicBezTo>
                  <a:lnTo>
                    <a:pt x="122924" y="223985"/>
                  </a:lnTo>
                  <a:cubicBezTo>
                    <a:pt x="122924" y="150613"/>
                    <a:pt x="113859" y="146931"/>
                    <a:pt x="67958" y="124834"/>
                  </a:cubicBezTo>
                  <a:lnTo>
                    <a:pt x="-1745" y="89990"/>
                  </a:lnTo>
                  <a:lnTo>
                    <a:pt x="-1745" y="42398"/>
                  </a:lnTo>
                  <a:lnTo>
                    <a:pt x="288109" y="3871"/>
                  </a:lnTo>
                  <a:lnTo>
                    <a:pt x="306385" y="18035"/>
                  </a:lnTo>
                  <a:lnTo>
                    <a:pt x="297319" y="124410"/>
                  </a:lnTo>
                  <a:lnTo>
                    <a:pt x="304544" y="124410"/>
                  </a:lnTo>
                  <a:cubicBezTo>
                    <a:pt x="368863" y="60245"/>
                    <a:pt x="482482" y="-237"/>
                    <a:pt x="573716" y="-237"/>
                  </a:cubicBezTo>
                  <a:cubicBezTo>
                    <a:pt x="648943" y="-237"/>
                    <a:pt x="694843" y="40132"/>
                    <a:pt x="694843" y="109820"/>
                  </a:cubicBezTo>
                  <a:cubicBezTo>
                    <a:pt x="694843" y="179509"/>
                    <a:pt x="648943" y="212511"/>
                    <a:pt x="595675" y="212511"/>
                  </a:cubicBezTo>
                  <a:cubicBezTo>
                    <a:pt x="527815" y="212511"/>
                    <a:pt x="507696" y="194098"/>
                    <a:pt x="491121" y="153871"/>
                  </a:cubicBezTo>
                  <a:cubicBezTo>
                    <a:pt x="480213" y="128092"/>
                    <a:pt x="467322" y="122568"/>
                    <a:pt x="448621" y="122568"/>
                  </a:cubicBezTo>
                  <a:cubicBezTo>
                    <a:pt x="411927"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9" name="Freeform: Shape 18">
              <a:extLst>
                <a:ext uri="{FF2B5EF4-FFF2-40B4-BE49-F238E27FC236}">
                  <a16:creationId xmlns:a16="http://schemas.microsoft.com/office/drawing/2014/main" id="{E6C9BFD1-C9BB-438B-AD5A-1A227956C157}"/>
                </a:ext>
              </a:extLst>
            </p:cNvPr>
            <p:cNvSpPr/>
            <p:nvPr/>
          </p:nvSpPr>
          <p:spPr>
            <a:xfrm>
              <a:off x="4980338" y="2561771"/>
              <a:ext cx="982613" cy="1406800"/>
            </a:xfrm>
            <a:custGeom>
              <a:avLst/>
              <a:gdLst>
                <a:gd name="connsiteX0" fmla="*/ 310777 w 982613"/>
                <a:gd name="connsiteY0" fmla="*/ 472852 h 1406800"/>
                <a:gd name="connsiteX1" fmla="*/ 647808 w 982613"/>
                <a:gd name="connsiteY1" fmla="*/ 472852 h 1406800"/>
                <a:gd name="connsiteX2" fmla="*/ 846145 w 982613"/>
                <a:gd name="connsiteY2" fmla="*/ 447214 h 1406800"/>
                <a:gd name="connsiteX3" fmla="*/ 866260 w 982613"/>
                <a:gd name="connsiteY3" fmla="*/ 458121 h 1406800"/>
                <a:gd name="connsiteX4" fmla="*/ 857195 w 982613"/>
                <a:gd name="connsiteY4" fmla="*/ 626959 h 1406800"/>
                <a:gd name="connsiteX5" fmla="*/ 857195 w 982613"/>
                <a:gd name="connsiteY5" fmla="*/ 1236025 h 1406800"/>
                <a:gd name="connsiteX6" fmla="*/ 904794 w 982613"/>
                <a:gd name="connsiteY6" fmla="*/ 1331351 h 1406800"/>
                <a:gd name="connsiteX7" fmla="*/ 980021 w 982613"/>
                <a:gd name="connsiteY7" fmla="*/ 1351606 h 1406800"/>
                <a:gd name="connsiteX8" fmla="*/ 980021 w 982613"/>
                <a:gd name="connsiteY8" fmla="*/ 1406564 h 1406800"/>
                <a:gd name="connsiteX9" fmla="*/ 555014 w 982613"/>
                <a:gd name="connsiteY9" fmla="*/ 1406564 h 1406800"/>
                <a:gd name="connsiteX10" fmla="*/ 555014 w 982613"/>
                <a:gd name="connsiteY10" fmla="*/ 1351606 h 1406800"/>
                <a:gd name="connsiteX11" fmla="*/ 624718 w 982613"/>
                <a:gd name="connsiteY11" fmla="*/ 1331351 h 1406800"/>
                <a:gd name="connsiteX12" fmla="*/ 674302 w 982613"/>
                <a:gd name="connsiteY12" fmla="*/ 1236025 h 1406800"/>
                <a:gd name="connsiteX13" fmla="*/ 674302 w 982613"/>
                <a:gd name="connsiteY13" fmla="*/ 667328 h 1406800"/>
                <a:gd name="connsiteX14" fmla="*/ 600915 w 982613"/>
                <a:gd name="connsiteY14" fmla="*/ 570019 h 1406800"/>
                <a:gd name="connsiteX15" fmla="*/ 311061 w 982613"/>
                <a:gd name="connsiteY15" fmla="*/ 570019 h 1406800"/>
                <a:gd name="connsiteX16" fmla="*/ 311061 w 982613"/>
                <a:gd name="connsiteY16" fmla="*/ 1226677 h 1406800"/>
                <a:gd name="connsiteX17" fmla="*/ 358805 w 982613"/>
                <a:gd name="connsiteY17" fmla="*/ 1331210 h 1406800"/>
                <a:gd name="connsiteX18" fmla="*/ 434028 w 982613"/>
                <a:gd name="connsiteY18" fmla="*/ 1351465 h 1406800"/>
                <a:gd name="connsiteX19" fmla="*/ 434028 w 982613"/>
                <a:gd name="connsiteY19" fmla="*/ 1406422 h 1406800"/>
                <a:gd name="connsiteX20" fmla="*/ 2789 w 982613"/>
                <a:gd name="connsiteY20" fmla="*/ 1406422 h 1406800"/>
                <a:gd name="connsiteX21" fmla="*/ 2789 w 982613"/>
                <a:gd name="connsiteY21" fmla="*/ 1351465 h 1406800"/>
                <a:gd name="connsiteX22" fmla="*/ 78016 w 982613"/>
                <a:gd name="connsiteY22" fmla="*/ 1331210 h 1406800"/>
                <a:gd name="connsiteX23" fmla="*/ 127600 w 982613"/>
                <a:gd name="connsiteY23" fmla="*/ 1235884 h 1406800"/>
                <a:gd name="connsiteX24" fmla="*/ 127600 w 982613"/>
                <a:gd name="connsiteY24" fmla="*/ 570160 h 1406800"/>
                <a:gd name="connsiteX25" fmla="*/ -2593 w 982613"/>
                <a:gd name="connsiteY25" fmla="*/ 570160 h 1406800"/>
                <a:gd name="connsiteX26" fmla="*/ -2593 w 982613"/>
                <a:gd name="connsiteY26" fmla="*/ 515203 h 1406800"/>
                <a:gd name="connsiteX27" fmla="*/ 127600 w 982613"/>
                <a:gd name="connsiteY27" fmla="*/ 471152 h 1406800"/>
                <a:gd name="connsiteX28" fmla="*/ 127600 w 982613"/>
                <a:gd name="connsiteY28" fmla="*/ 397781 h 1406800"/>
                <a:gd name="connsiteX29" fmla="*/ 567908 w 982613"/>
                <a:gd name="connsiteY29" fmla="*/ -237 h 1406800"/>
                <a:gd name="connsiteX30" fmla="*/ 778852 w 982613"/>
                <a:gd name="connsiteY30" fmla="*/ 115344 h 1406800"/>
                <a:gd name="connsiteX31" fmla="*/ 679684 w 982613"/>
                <a:gd name="connsiteY31" fmla="*/ 216194 h 1406800"/>
                <a:gd name="connsiteX32" fmla="*/ 566348 w 982613"/>
                <a:gd name="connsiteY32" fmla="*/ 113503 h 1406800"/>
                <a:gd name="connsiteX33" fmla="*/ 514924 w 982613"/>
                <a:gd name="connsiteY33" fmla="*/ 65769 h 1406800"/>
                <a:gd name="connsiteX34" fmla="*/ 311344 w 982613"/>
                <a:gd name="connsiteY34" fmla="*/ 300613 h 140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613" h="1406800">
                  <a:moveTo>
                    <a:pt x="310777" y="472852"/>
                  </a:moveTo>
                  <a:lnTo>
                    <a:pt x="647808" y="472852"/>
                  </a:lnTo>
                  <a:lnTo>
                    <a:pt x="846145" y="447214"/>
                  </a:lnTo>
                  <a:lnTo>
                    <a:pt x="866260" y="458121"/>
                  </a:lnTo>
                  <a:cubicBezTo>
                    <a:pt x="860170" y="514197"/>
                    <a:pt x="857195" y="570557"/>
                    <a:pt x="857195" y="626959"/>
                  </a:cubicBezTo>
                  <a:lnTo>
                    <a:pt x="857195" y="1236025"/>
                  </a:lnTo>
                  <a:cubicBezTo>
                    <a:pt x="857195" y="1313079"/>
                    <a:pt x="868104" y="1322286"/>
                    <a:pt x="904794" y="1331351"/>
                  </a:cubicBezTo>
                  <a:lnTo>
                    <a:pt x="980021" y="1351606"/>
                  </a:lnTo>
                  <a:lnTo>
                    <a:pt x="980021" y="1406564"/>
                  </a:lnTo>
                  <a:lnTo>
                    <a:pt x="555014" y="1406564"/>
                  </a:lnTo>
                  <a:lnTo>
                    <a:pt x="555014" y="1351606"/>
                  </a:lnTo>
                  <a:lnTo>
                    <a:pt x="624718" y="1331351"/>
                  </a:lnTo>
                  <a:cubicBezTo>
                    <a:pt x="659568" y="1322286"/>
                    <a:pt x="674302" y="1307555"/>
                    <a:pt x="674302" y="1236025"/>
                  </a:cubicBezTo>
                  <a:lnTo>
                    <a:pt x="674302" y="667328"/>
                  </a:lnTo>
                  <a:cubicBezTo>
                    <a:pt x="674302" y="593956"/>
                    <a:pt x="648517" y="570019"/>
                    <a:pt x="600915" y="570019"/>
                  </a:cubicBezTo>
                  <a:lnTo>
                    <a:pt x="311061" y="570019"/>
                  </a:lnTo>
                  <a:lnTo>
                    <a:pt x="311061" y="1226677"/>
                  </a:lnTo>
                  <a:cubicBezTo>
                    <a:pt x="311061" y="1312938"/>
                    <a:pt x="318428" y="1320303"/>
                    <a:pt x="358805" y="1331210"/>
                  </a:cubicBezTo>
                  <a:lnTo>
                    <a:pt x="434028" y="1351465"/>
                  </a:lnTo>
                  <a:lnTo>
                    <a:pt x="434028" y="1406422"/>
                  </a:lnTo>
                  <a:lnTo>
                    <a:pt x="2789" y="1406422"/>
                  </a:lnTo>
                  <a:lnTo>
                    <a:pt x="2789" y="1351465"/>
                  </a:lnTo>
                  <a:lnTo>
                    <a:pt x="78016" y="1331210"/>
                  </a:lnTo>
                  <a:cubicBezTo>
                    <a:pt x="114709" y="1322144"/>
                    <a:pt x="127600" y="1307413"/>
                    <a:pt x="127600" y="1235884"/>
                  </a:cubicBezTo>
                  <a:lnTo>
                    <a:pt x="127600" y="570160"/>
                  </a:lnTo>
                  <a:lnTo>
                    <a:pt x="-2593" y="570160"/>
                  </a:lnTo>
                  <a:lnTo>
                    <a:pt x="-2593" y="515203"/>
                  </a:lnTo>
                  <a:lnTo>
                    <a:pt x="127600" y="471152"/>
                  </a:lnTo>
                  <a:lnTo>
                    <a:pt x="127600" y="397781"/>
                  </a:lnTo>
                  <a:cubicBezTo>
                    <a:pt x="127600" y="142823"/>
                    <a:pt x="305537" y="-237"/>
                    <a:pt x="567908" y="-237"/>
                  </a:cubicBezTo>
                  <a:cubicBezTo>
                    <a:pt x="714675" y="-237"/>
                    <a:pt x="778852" y="51180"/>
                    <a:pt x="778852" y="115344"/>
                  </a:cubicBezTo>
                  <a:cubicBezTo>
                    <a:pt x="778852" y="185032"/>
                    <a:pt x="738475" y="216194"/>
                    <a:pt x="679684" y="216194"/>
                  </a:cubicBezTo>
                  <a:cubicBezTo>
                    <a:pt x="608849" y="216194"/>
                    <a:pt x="574992" y="175826"/>
                    <a:pt x="566348" y="113503"/>
                  </a:cubicBezTo>
                  <a:cubicBezTo>
                    <a:pt x="562665" y="84182"/>
                    <a:pt x="549774" y="65769"/>
                    <a:pt x="514924" y="65769"/>
                  </a:cubicBezTo>
                  <a:cubicBezTo>
                    <a:pt x="406687" y="65769"/>
                    <a:pt x="311344" y="109820"/>
                    <a:pt x="311344" y="300613"/>
                  </a:cubicBez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0" name="Freeform: Shape 19">
              <a:extLst>
                <a:ext uri="{FF2B5EF4-FFF2-40B4-BE49-F238E27FC236}">
                  <a16:creationId xmlns:a16="http://schemas.microsoft.com/office/drawing/2014/main" id="{46279AA3-3300-4D7C-937A-A489B7CA46EA}"/>
                </a:ext>
              </a:extLst>
            </p:cNvPr>
            <p:cNvSpPr/>
            <p:nvPr/>
          </p:nvSpPr>
          <p:spPr>
            <a:xfrm>
              <a:off x="6051098" y="3005114"/>
              <a:ext cx="697435" cy="962890"/>
            </a:xfrm>
            <a:custGeom>
              <a:avLst/>
              <a:gdLst>
                <a:gd name="connsiteX0" fmla="*/ -1604 w 697435"/>
                <a:gd name="connsiteY0" fmla="*/ 908121 h 962890"/>
                <a:gd name="connsiteX1" fmla="*/ 73623 w 697435"/>
                <a:gd name="connsiteY1" fmla="*/ 887867 h 962890"/>
                <a:gd name="connsiteX2" fmla="*/ 123066 w 697435"/>
                <a:gd name="connsiteY2" fmla="*/ 792540 h 962890"/>
                <a:gd name="connsiteX3" fmla="*/ 123066 w 697435"/>
                <a:gd name="connsiteY3" fmla="*/ 223985 h 962890"/>
                <a:gd name="connsiteX4" fmla="*/ 68100 w 697435"/>
                <a:gd name="connsiteY4" fmla="*/ 124834 h 962890"/>
                <a:gd name="connsiteX5" fmla="*/ -1604 w 697435"/>
                <a:gd name="connsiteY5" fmla="*/ 89990 h 962890"/>
                <a:gd name="connsiteX6" fmla="*/ -1604 w 697435"/>
                <a:gd name="connsiteY6" fmla="*/ 42398 h 962890"/>
                <a:gd name="connsiteX7" fmla="*/ 288250 w 697435"/>
                <a:gd name="connsiteY7" fmla="*/ 3871 h 962890"/>
                <a:gd name="connsiteX8" fmla="*/ 306526 w 697435"/>
                <a:gd name="connsiteY8" fmla="*/ 18035 h 962890"/>
                <a:gd name="connsiteX9" fmla="*/ 297319 w 697435"/>
                <a:gd name="connsiteY9" fmla="*/ 124410 h 962890"/>
                <a:gd name="connsiteX10" fmla="*/ 304686 w 697435"/>
                <a:gd name="connsiteY10" fmla="*/ 124410 h 962890"/>
                <a:gd name="connsiteX11" fmla="*/ 573857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604" y="908121"/>
                  </a:moveTo>
                  <a:lnTo>
                    <a:pt x="73623" y="887867"/>
                  </a:lnTo>
                  <a:cubicBezTo>
                    <a:pt x="110317" y="878660"/>
                    <a:pt x="123066" y="864070"/>
                    <a:pt x="123066" y="792540"/>
                  </a:cubicBezTo>
                  <a:lnTo>
                    <a:pt x="123066" y="223985"/>
                  </a:lnTo>
                  <a:cubicBezTo>
                    <a:pt x="123066" y="150613"/>
                    <a:pt x="113859" y="146931"/>
                    <a:pt x="68100" y="124834"/>
                  </a:cubicBezTo>
                  <a:lnTo>
                    <a:pt x="-1604" y="89990"/>
                  </a:lnTo>
                  <a:lnTo>
                    <a:pt x="-1604" y="42398"/>
                  </a:lnTo>
                  <a:lnTo>
                    <a:pt x="288250" y="3871"/>
                  </a:lnTo>
                  <a:lnTo>
                    <a:pt x="306526" y="18035"/>
                  </a:lnTo>
                  <a:lnTo>
                    <a:pt x="297319" y="124410"/>
                  </a:lnTo>
                  <a:lnTo>
                    <a:pt x="304686" y="124410"/>
                  </a:lnTo>
                  <a:cubicBezTo>
                    <a:pt x="368863" y="60245"/>
                    <a:pt x="482623" y="-237"/>
                    <a:pt x="573857" y="-237"/>
                  </a:cubicBezTo>
                  <a:cubicBezTo>
                    <a:pt x="649084" y="-237"/>
                    <a:pt x="694843" y="40132"/>
                    <a:pt x="694843" y="109820"/>
                  </a:cubicBezTo>
                  <a:cubicBezTo>
                    <a:pt x="694843" y="179509"/>
                    <a:pt x="649084" y="212511"/>
                    <a:pt x="595675" y="212511"/>
                  </a:cubicBezTo>
                  <a:cubicBezTo>
                    <a:pt x="527815" y="212511"/>
                    <a:pt x="507696" y="194098"/>
                    <a:pt x="491121" y="153871"/>
                  </a:cubicBezTo>
                  <a:cubicBezTo>
                    <a:pt x="480071" y="128092"/>
                    <a:pt x="467322" y="122568"/>
                    <a:pt x="448621" y="122568"/>
                  </a:cubicBezTo>
                  <a:cubicBezTo>
                    <a:pt x="411931"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1" name="Freeform: Shape 20">
              <a:extLst>
                <a:ext uri="{FF2B5EF4-FFF2-40B4-BE49-F238E27FC236}">
                  <a16:creationId xmlns:a16="http://schemas.microsoft.com/office/drawing/2014/main" id="{B5E217A5-A8A8-44A5-ACCB-4BA33AF862DA}"/>
                </a:ext>
              </a:extLst>
            </p:cNvPr>
            <p:cNvSpPr/>
            <p:nvPr/>
          </p:nvSpPr>
          <p:spPr>
            <a:xfrm>
              <a:off x="6823717" y="3006956"/>
              <a:ext cx="1561052" cy="961615"/>
            </a:xfrm>
            <a:custGeom>
              <a:avLst/>
              <a:gdLst>
                <a:gd name="connsiteX0" fmla="*/ -2593 w 1561052"/>
                <a:gd name="connsiteY0" fmla="*/ 906280 h 961615"/>
                <a:gd name="connsiteX1" fmla="*/ 72492 w 1561052"/>
                <a:gd name="connsiteY1" fmla="*/ 886025 h 961615"/>
                <a:gd name="connsiteX2" fmla="*/ 122077 w 1561052"/>
                <a:gd name="connsiteY2" fmla="*/ 790699 h 961615"/>
                <a:gd name="connsiteX3" fmla="*/ 122077 w 1561052"/>
                <a:gd name="connsiteY3" fmla="*/ 222143 h 961615"/>
                <a:gd name="connsiteX4" fmla="*/ 66969 w 1561052"/>
                <a:gd name="connsiteY4" fmla="*/ 122993 h 961615"/>
                <a:gd name="connsiteX5" fmla="*/ -2593 w 1561052"/>
                <a:gd name="connsiteY5" fmla="*/ 88148 h 961615"/>
                <a:gd name="connsiteX6" fmla="*/ -2593 w 1561052"/>
                <a:gd name="connsiteY6" fmla="*/ 40557 h 961615"/>
                <a:gd name="connsiteX7" fmla="*/ 287123 w 1561052"/>
                <a:gd name="connsiteY7" fmla="*/ 2030 h 961615"/>
                <a:gd name="connsiteX8" fmla="*/ 305537 w 1561052"/>
                <a:gd name="connsiteY8" fmla="*/ 16194 h 961615"/>
                <a:gd name="connsiteX9" fmla="*/ 296330 w 1561052"/>
                <a:gd name="connsiteY9" fmla="*/ 115344 h 961615"/>
                <a:gd name="connsiteX10" fmla="*/ 303697 w 1561052"/>
                <a:gd name="connsiteY10" fmla="*/ 115344 h 961615"/>
                <a:gd name="connsiteX11" fmla="*/ 633928 w 1561052"/>
                <a:gd name="connsiteY11" fmla="*/ -237 h 961615"/>
                <a:gd name="connsiteX12" fmla="*/ 855922 w 1561052"/>
                <a:gd name="connsiteY12" fmla="*/ 118885 h 961615"/>
                <a:gd name="connsiteX13" fmla="*/ 863148 w 1561052"/>
                <a:gd name="connsiteY13" fmla="*/ 118885 h 961615"/>
                <a:gd name="connsiteX14" fmla="*/ 1211796 w 1561052"/>
                <a:gd name="connsiteY14" fmla="*/ -237 h 961615"/>
                <a:gd name="connsiteX15" fmla="*/ 1435489 w 1561052"/>
                <a:gd name="connsiteY15" fmla="*/ 245514 h 961615"/>
                <a:gd name="connsiteX16" fmla="*/ 1435489 w 1561052"/>
                <a:gd name="connsiteY16" fmla="*/ 790274 h 961615"/>
                <a:gd name="connsiteX17" fmla="*/ 1483233 w 1561052"/>
                <a:gd name="connsiteY17" fmla="*/ 885600 h 961615"/>
                <a:gd name="connsiteX18" fmla="*/ 1558460 w 1561052"/>
                <a:gd name="connsiteY18" fmla="*/ 905855 h 961615"/>
                <a:gd name="connsiteX19" fmla="*/ 1558460 w 1561052"/>
                <a:gd name="connsiteY19" fmla="*/ 960813 h 961615"/>
                <a:gd name="connsiteX20" fmla="*/ 1127359 w 1561052"/>
                <a:gd name="connsiteY20" fmla="*/ 960813 h 961615"/>
                <a:gd name="connsiteX21" fmla="*/ 1127359 w 1561052"/>
                <a:gd name="connsiteY21" fmla="*/ 905855 h 961615"/>
                <a:gd name="connsiteX22" fmla="*/ 1202586 w 1561052"/>
                <a:gd name="connsiteY22" fmla="*/ 885600 h 961615"/>
                <a:gd name="connsiteX23" fmla="*/ 1252170 w 1561052"/>
                <a:gd name="connsiteY23" fmla="*/ 790274 h 961615"/>
                <a:gd name="connsiteX24" fmla="*/ 1252170 w 1561052"/>
                <a:gd name="connsiteY24" fmla="*/ 297356 h 961615"/>
                <a:gd name="connsiteX25" fmla="*/ 1109086 w 1561052"/>
                <a:gd name="connsiteY25" fmla="*/ 121152 h 961615"/>
                <a:gd name="connsiteX26" fmla="*/ 870515 w 1561052"/>
                <a:gd name="connsiteY26" fmla="*/ 181775 h 961615"/>
                <a:gd name="connsiteX27" fmla="*/ 870515 w 1561052"/>
                <a:gd name="connsiteY27" fmla="*/ 790841 h 961615"/>
                <a:gd name="connsiteX28" fmla="*/ 918255 w 1561052"/>
                <a:gd name="connsiteY28" fmla="*/ 886166 h 961615"/>
                <a:gd name="connsiteX29" fmla="*/ 993482 w 1561052"/>
                <a:gd name="connsiteY29" fmla="*/ 906422 h 961615"/>
                <a:gd name="connsiteX30" fmla="*/ 993482 w 1561052"/>
                <a:gd name="connsiteY30" fmla="*/ 961379 h 961615"/>
                <a:gd name="connsiteX31" fmla="*/ 562385 w 1561052"/>
                <a:gd name="connsiteY31" fmla="*/ 961379 h 961615"/>
                <a:gd name="connsiteX32" fmla="*/ 562385 w 1561052"/>
                <a:gd name="connsiteY32" fmla="*/ 906422 h 961615"/>
                <a:gd name="connsiteX33" fmla="*/ 637612 w 1561052"/>
                <a:gd name="connsiteY33" fmla="*/ 886166 h 961615"/>
                <a:gd name="connsiteX34" fmla="*/ 687054 w 1561052"/>
                <a:gd name="connsiteY34" fmla="*/ 790841 h 961615"/>
                <a:gd name="connsiteX35" fmla="*/ 687054 w 1561052"/>
                <a:gd name="connsiteY35" fmla="*/ 297356 h 961615"/>
                <a:gd name="connsiteX36" fmla="*/ 543967 w 1561052"/>
                <a:gd name="connsiteY36" fmla="*/ 121152 h 961615"/>
                <a:gd name="connsiteX37" fmla="*/ 305537 w 1561052"/>
                <a:gd name="connsiteY37" fmla="*/ 177809 h 961615"/>
                <a:gd name="connsiteX38" fmla="*/ 305537 w 1561052"/>
                <a:gd name="connsiteY38" fmla="*/ 790416 h 961615"/>
                <a:gd name="connsiteX39" fmla="*/ 353281 w 1561052"/>
                <a:gd name="connsiteY39" fmla="*/ 885742 h 961615"/>
                <a:gd name="connsiteX40" fmla="*/ 428366 w 1561052"/>
                <a:gd name="connsiteY40" fmla="*/ 905997 h 961615"/>
                <a:gd name="connsiteX41" fmla="*/ 428366 w 1561052"/>
                <a:gd name="connsiteY41" fmla="*/ 960954 h 961615"/>
                <a:gd name="connsiteX42" fmla="*/ -2593 w 1561052"/>
                <a:gd name="connsiteY42" fmla="*/ 960954 h 96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052" h="961615">
                  <a:moveTo>
                    <a:pt x="-2593" y="906280"/>
                  </a:moveTo>
                  <a:lnTo>
                    <a:pt x="72492" y="886025"/>
                  </a:lnTo>
                  <a:cubicBezTo>
                    <a:pt x="109186" y="876818"/>
                    <a:pt x="122077" y="862229"/>
                    <a:pt x="122077" y="790699"/>
                  </a:cubicBezTo>
                  <a:lnTo>
                    <a:pt x="122077" y="222143"/>
                  </a:lnTo>
                  <a:cubicBezTo>
                    <a:pt x="122077" y="148772"/>
                    <a:pt x="112869" y="145089"/>
                    <a:pt x="66969" y="122993"/>
                  </a:cubicBezTo>
                  <a:lnTo>
                    <a:pt x="-2593" y="88148"/>
                  </a:lnTo>
                  <a:lnTo>
                    <a:pt x="-2593" y="40557"/>
                  </a:lnTo>
                  <a:lnTo>
                    <a:pt x="287123" y="2030"/>
                  </a:lnTo>
                  <a:lnTo>
                    <a:pt x="305537" y="16194"/>
                  </a:lnTo>
                  <a:lnTo>
                    <a:pt x="296330" y="115344"/>
                  </a:lnTo>
                  <a:lnTo>
                    <a:pt x="303697" y="115344"/>
                  </a:lnTo>
                  <a:cubicBezTo>
                    <a:pt x="395357" y="56562"/>
                    <a:pt x="520168" y="-237"/>
                    <a:pt x="633928" y="-237"/>
                  </a:cubicBezTo>
                  <a:cubicBezTo>
                    <a:pt x="767805" y="-237"/>
                    <a:pt x="822912" y="43814"/>
                    <a:pt x="855922" y="118885"/>
                  </a:cubicBezTo>
                  <a:lnTo>
                    <a:pt x="863148" y="118885"/>
                  </a:lnTo>
                  <a:cubicBezTo>
                    <a:pt x="964156" y="60245"/>
                    <a:pt x="1075651" y="-237"/>
                    <a:pt x="1211796" y="-237"/>
                  </a:cubicBezTo>
                  <a:cubicBezTo>
                    <a:pt x="1373156" y="-237"/>
                    <a:pt x="1435489" y="80500"/>
                    <a:pt x="1435489" y="245514"/>
                  </a:cubicBezTo>
                  <a:lnTo>
                    <a:pt x="1435489" y="790274"/>
                  </a:lnTo>
                  <a:cubicBezTo>
                    <a:pt x="1435489" y="861804"/>
                    <a:pt x="1449656" y="876393"/>
                    <a:pt x="1483233" y="885600"/>
                  </a:cubicBezTo>
                  <a:lnTo>
                    <a:pt x="1558460" y="905855"/>
                  </a:lnTo>
                  <a:lnTo>
                    <a:pt x="1558460" y="960813"/>
                  </a:lnTo>
                  <a:lnTo>
                    <a:pt x="1127359" y="960813"/>
                  </a:lnTo>
                  <a:lnTo>
                    <a:pt x="1127359" y="905855"/>
                  </a:lnTo>
                  <a:lnTo>
                    <a:pt x="1202586" y="885600"/>
                  </a:lnTo>
                  <a:cubicBezTo>
                    <a:pt x="1241119" y="876393"/>
                    <a:pt x="1252170" y="867328"/>
                    <a:pt x="1252170" y="790274"/>
                  </a:cubicBezTo>
                  <a:lnTo>
                    <a:pt x="1252170" y="297356"/>
                  </a:lnTo>
                  <a:cubicBezTo>
                    <a:pt x="1252170" y="174409"/>
                    <a:pt x="1220862" y="121152"/>
                    <a:pt x="1109086" y="121152"/>
                  </a:cubicBezTo>
                  <a:cubicBezTo>
                    <a:pt x="1019125" y="121152"/>
                    <a:pt x="925622" y="155996"/>
                    <a:pt x="870515" y="181775"/>
                  </a:cubicBezTo>
                  <a:lnTo>
                    <a:pt x="870515" y="790841"/>
                  </a:lnTo>
                  <a:cubicBezTo>
                    <a:pt x="870515" y="862370"/>
                    <a:pt x="884682" y="876960"/>
                    <a:pt x="918255" y="886166"/>
                  </a:cubicBezTo>
                  <a:lnTo>
                    <a:pt x="993482" y="906422"/>
                  </a:lnTo>
                  <a:lnTo>
                    <a:pt x="993482" y="961379"/>
                  </a:lnTo>
                  <a:lnTo>
                    <a:pt x="562385" y="961379"/>
                  </a:lnTo>
                  <a:lnTo>
                    <a:pt x="562385" y="906422"/>
                  </a:lnTo>
                  <a:lnTo>
                    <a:pt x="637612" y="886166"/>
                  </a:lnTo>
                  <a:cubicBezTo>
                    <a:pt x="676145" y="876960"/>
                    <a:pt x="687054" y="867895"/>
                    <a:pt x="687054" y="790841"/>
                  </a:cubicBezTo>
                  <a:lnTo>
                    <a:pt x="687054" y="297356"/>
                  </a:lnTo>
                  <a:cubicBezTo>
                    <a:pt x="687054" y="176251"/>
                    <a:pt x="655884" y="121152"/>
                    <a:pt x="543967" y="121152"/>
                  </a:cubicBezTo>
                  <a:cubicBezTo>
                    <a:pt x="454148" y="121152"/>
                    <a:pt x="358663" y="155996"/>
                    <a:pt x="305537" y="177809"/>
                  </a:cubicBezTo>
                  <a:lnTo>
                    <a:pt x="305537" y="790416"/>
                  </a:lnTo>
                  <a:cubicBezTo>
                    <a:pt x="305537" y="867470"/>
                    <a:pt x="316588" y="876535"/>
                    <a:pt x="353281" y="885742"/>
                  </a:cubicBezTo>
                  <a:lnTo>
                    <a:pt x="428366" y="905997"/>
                  </a:lnTo>
                  <a:lnTo>
                    <a:pt x="428366" y="960954"/>
                  </a:lnTo>
                  <a:lnTo>
                    <a:pt x="-2593" y="960954"/>
                  </a:lnTo>
                  <a:close/>
                </a:path>
              </a:pathLst>
            </a:custGeom>
            <a:solidFill>
              <a:schemeClr val="tx1"/>
            </a:solidFill>
            <a:ln w="14153" cap="flat">
              <a:noFill/>
              <a:prstDash val="solid"/>
              <a:miter/>
            </a:ln>
          </p:spPr>
          <p:txBody>
            <a:bodyPr rtlCol="0" anchor="ctr"/>
            <a:lstStyle/>
            <a:p>
              <a:endParaRPr lang="en-GB" dirty="0">
                <a:solidFill>
                  <a:schemeClr val="tx1">
                    <a:alpha val="47000"/>
                  </a:schemeClr>
                </a:solidFill>
              </a:endParaRPr>
            </a:p>
          </p:txBody>
        </p:sp>
        <p:sp>
          <p:nvSpPr>
            <p:cNvPr id="22" name="Freeform: Shape 21">
              <a:extLst>
                <a:ext uri="{FF2B5EF4-FFF2-40B4-BE49-F238E27FC236}">
                  <a16:creationId xmlns:a16="http://schemas.microsoft.com/office/drawing/2014/main" id="{71F2EC77-E8CE-465C-896A-E7D0576B4689}"/>
                </a:ext>
              </a:extLst>
            </p:cNvPr>
            <p:cNvSpPr/>
            <p:nvPr/>
          </p:nvSpPr>
          <p:spPr>
            <a:xfrm>
              <a:off x="8459953" y="3722418"/>
              <a:ext cx="266363" cy="266339"/>
            </a:xfrm>
            <a:custGeom>
              <a:avLst/>
              <a:gdLst>
                <a:gd name="connsiteX0" fmla="*/ -2527 w 230352"/>
                <a:gd name="connsiteY0" fmla="*/ 118884 h 230331"/>
                <a:gd name="connsiteX1" fmla="*/ 108681 w 230352"/>
                <a:gd name="connsiteY1" fmla="*/ -167 h 230331"/>
                <a:gd name="connsiteX2" fmla="*/ 227685 w 230352"/>
                <a:gd name="connsiteY2" fmla="*/ 110952 h 230331"/>
                <a:gd name="connsiteX3" fmla="*/ 116615 w 230352"/>
                <a:gd name="connsiteY3" fmla="*/ 230003 h 230331"/>
                <a:gd name="connsiteX4" fmla="*/ 111797 w 230352"/>
                <a:gd name="connsiteY4" fmla="*/ 230074 h 230331"/>
                <a:gd name="connsiteX5" fmla="*/ -2527 w 230352"/>
                <a:gd name="connsiteY5" fmla="*/ 120046 h 230331"/>
                <a:gd name="connsiteX6" fmla="*/ -2527 w 230352"/>
                <a:gd name="connsiteY6" fmla="*/ 118884 h 2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52" h="230331">
                  <a:moveTo>
                    <a:pt x="-2527" y="118884"/>
                  </a:moveTo>
                  <a:cubicBezTo>
                    <a:pt x="-4654" y="55329"/>
                    <a:pt x="45072" y="2029"/>
                    <a:pt x="108681" y="-167"/>
                  </a:cubicBezTo>
                  <a:cubicBezTo>
                    <a:pt x="172148" y="-2363"/>
                    <a:pt x="225558" y="47397"/>
                    <a:pt x="227685" y="110952"/>
                  </a:cubicBezTo>
                  <a:cubicBezTo>
                    <a:pt x="229950" y="174521"/>
                    <a:pt x="180083" y="227822"/>
                    <a:pt x="116615" y="230003"/>
                  </a:cubicBezTo>
                  <a:cubicBezTo>
                    <a:pt x="114917" y="230060"/>
                    <a:pt x="113357" y="230088"/>
                    <a:pt x="111797" y="230074"/>
                  </a:cubicBezTo>
                  <a:cubicBezTo>
                    <a:pt x="49890" y="231250"/>
                    <a:pt x="-1396" y="181986"/>
                    <a:pt x="-2527" y="120046"/>
                  </a:cubicBezTo>
                  <a:cubicBezTo>
                    <a:pt x="-2527" y="119649"/>
                    <a:pt x="-2527" y="119266"/>
                    <a:pt x="-2527" y="118884"/>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grpSp>
      <p:sp>
        <p:nvSpPr>
          <p:cNvPr id="23" name="TextBox 22">
            <a:extLst>
              <a:ext uri="{FF2B5EF4-FFF2-40B4-BE49-F238E27FC236}">
                <a16:creationId xmlns:a16="http://schemas.microsoft.com/office/drawing/2014/main" id="{B66A4CE8-02C5-492B-8875-F35E4A96973E}"/>
              </a:ext>
            </a:extLst>
          </p:cNvPr>
          <p:cNvSpPr txBox="1"/>
          <p:nvPr userDrawn="1"/>
        </p:nvSpPr>
        <p:spPr>
          <a:xfrm>
            <a:off x="719137" y="685241"/>
            <a:ext cx="9356847" cy="794765"/>
          </a:xfrm>
          <a:prstGeom prst="rect">
            <a:avLst/>
          </a:prstGeom>
          <a:noFill/>
        </p:spPr>
        <p:txBody>
          <a:bodyPr wrap="square">
            <a:spAutoFit/>
          </a:bodyPr>
          <a:lstStyle/>
          <a:p>
            <a:pPr>
              <a:spcBef>
                <a:spcPts val="1200"/>
              </a:spcBef>
            </a:pPr>
            <a:r>
              <a:rPr lang="en-GB" sz="2400" i="1" dirty="0">
                <a:latin typeface="+mj-lt"/>
              </a:rPr>
              <a:t>We'll work as one seamless international team across our business and yours. Giving you access to a whole world of expertise. </a:t>
            </a:r>
          </a:p>
        </p:txBody>
      </p:sp>
    </p:spTree>
    <p:extLst>
      <p:ext uri="{BB962C8B-B14F-4D97-AF65-F5344CB8AC3E}">
        <p14:creationId xmlns:p14="http://schemas.microsoft.com/office/powerpoint/2010/main" val="2740768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1500"/>
                                        <p:tgtEl>
                                          <p:spTgt spid="23"/>
                                        </p:tgtEl>
                                      </p:cBhvr>
                                    </p:animEffect>
                                  </p:childTnLst>
                                </p:cTn>
                              </p:par>
                            </p:childTnLst>
                          </p:cTn>
                        </p:par>
                        <p:par>
                          <p:cTn id="8" fill="hold">
                            <p:stCondLst>
                              <p:cond delay="1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125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ntents 2">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78C42CE-F3F9-40D1-BE5C-F5C6570708AD}"/>
              </a:ext>
            </a:extLst>
          </p:cNvPr>
          <p:cNvGrpSpPr/>
          <p:nvPr userDrawn="1"/>
        </p:nvGrpSpPr>
        <p:grpSpPr>
          <a:xfrm>
            <a:off x="3794125" y="2056860"/>
            <a:ext cx="8398510" cy="4801139"/>
            <a:chOff x="3794125" y="2056860"/>
            <a:chExt cx="8398510" cy="4801139"/>
          </a:xfrm>
        </p:grpSpPr>
        <p:sp>
          <p:nvSpPr>
            <p:cNvPr id="18" name="Freeform: Shape 17">
              <a:extLst>
                <a:ext uri="{FF2B5EF4-FFF2-40B4-BE49-F238E27FC236}">
                  <a16:creationId xmlns:a16="http://schemas.microsoft.com/office/drawing/2014/main" id="{8818C944-C96E-4346-8A1F-E2402D380083}"/>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rgbClr val="EDC2B2"/>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7DA10CC-F106-4584-AEE9-7CB25C96D758}"/>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rgbClr val="005C8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6" name="Rectangle">
            <a:extLst>
              <a:ext uri="{FF2B5EF4-FFF2-40B4-BE49-F238E27FC236}">
                <a16:creationId xmlns:a16="http://schemas.microsoft.com/office/drawing/2014/main" id="{E5FF33AD-31C0-4DA6-9424-1CBFD3123C45}"/>
              </a:ext>
            </a:extLst>
          </p:cNvPr>
          <p:cNvSpPr/>
          <p:nvPr userDrawn="1"/>
        </p:nvSpPr>
        <p:spPr>
          <a:xfrm>
            <a:off x="-374" y="1799990"/>
            <a:ext cx="6005888" cy="39766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16" name="Text Placeholder 1">
            <a:extLst>
              <a:ext uri="{FF2B5EF4-FFF2-40B4-BE49-F238E27FC236}">
                <a16:creationId xmlns:a16="http://schemas.microsoft.com/office/drawing/2014/main" id="{95D91B36-D041-4B27-916C-CC12250E85AE}"/>
              </a:ext>
            </a:extLst>
          </p:cNvPr>
          <p:cNvSpPr>
            <a:spLocks noGrp="1"/>
          </p:cNvSpPr>
          <p:nvPr>
            <p:ph type="body" sz="quarter" idx="12"/>
          </p:nvPr>
        </p:nvSpPr>
        <p:spPr>
          <a:xfrm>
            <a:off x="719139" y="2060197"/>
            <a:ext cx="4554536" cy="3455231"/>
          </a:xfrm>
        </p:spPr>
        <p:txBody>
          <a:bodyPr/>
          <a:lstStyle>
            <a:lvl1pPr>
              <a:tabLst>
                <a:tab pos="4572000" algn="r"/>
              </a:tabLs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238940003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ntents 3">
    <p:bg>
      <p:bgPr>
        <a:solidFill>
          <a:schemeClr val="accent1"/>
        </a:soli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6E084A6F-7A75-4748-B44C-74FFAF511EDA}"/>
              </a:ext>
            </a:extLst>
          </p:cNvPr>
          <p:cNvGrpSpPr/>
          <p:nvPr userDrawn="1"/>
        </p:nvGrpSpPr>
        <p:grpSpPr>
          <a:xfrm>
            <a:off x="0" y="844422"/>
            <a:ext cx="12193016" cy="5257927"/>
            <a:chOff x="0" y="844422"/>
            <a:chExt cx="12193016" cy="5257927"/>
          </a:xfrm>
        </p:grpSpPr>
        <p:sp>
          <p:nvSpPr>
            <p:cNvPr id="11" name="Freeform: Shape 10">
              <a:extLst>
                <a:ext uri="{FF2B5EF4-FFF2-40B4-BE49-F238E27FC236}">
                  <a16:creationId xmlns:a16="http://schemas.microsoft.com/office/drawing/2014/main" id="{A95B30E7-1427-4658-BA4F-8B7A9A18D4A7}"/>
                </a:ext>
              </a:extLst>
            </p:cNvPr>
            <p:cNvSpPr/>
            <p:nvPr/>
          </p:nvSpPr>
          <p:spPr>
            <a:xfrm>
              <a:off x="8381116" y="844422"/>
              <a:ext cx="3811900" cy="962438"/>
            </a:xfrm>
            <a:custGeom>
              <a:avLst/>
              <a:gdLst>
                <a:gd name="connsiteX0" fmla="*/ 7742 w 3811900"/>
                <a:gd name="connsiteY0" fmla="*/ 873887 h 962438"/>
                <a:gd name="connsiteX1" fmla="*/ 178596 w 3811900"/>
                <a:gd name="connsiteY1" fmla="*/ 954563 h 962438"/>
                <a:gd name="connsiteX2" fmla="*/ 178683 w 3811900"/>
                <a:gd name="connsiteY2" fmla="*/ 954532 h 962438"/>
                <a:gd name="connsiteX3" fmla="*/ 3811900 w 3811900"/>
                <a:gd name="connsiteY3" fmla="*/ 266700 h 962438"/>
                <a:gd name="connsiteX4" fmla="*/ 3811900 w 3811900"/>
                <a:gd name="connsiteY4" fmla="*/ 0 h 962438"/>
                <a:gd name="connsiteX5" fmla="*/ 88641 w 3811900"/>
                <a:gd name="connsiteY5" fmla="*/ 703707 h 962438"/>
                <a:gd name="connsiteX6" fmla="*/ 7730 w 3811900"/>
                <a:gd name="connsiteY6" fmla="*/ 873855 h 962438"/>
                <a:gd name="connsiteX7" fmla="*/ 7742 w 3811900"/>
                <a:gd name="connsiteY7" fmla="*/ 873887 h 96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1900" h="962438">
                  <a:moveTo>
                    <a:pt x="7742" y="873887"/>
                  </a:moveTo>
                  <a:cubicBezTo>
                    <a:pt x="32644" y="943345"/>
                    <a:pt x="109138" y="979466"/>
                    <a:pt x="178596" y="954563"/>
                  </a:cubicBezTo>
                  <a:cubicBezTo>
                    <a:pt x="178625" y="954553"/>
                    <a:pt x="178655" y="954543"/>
                    <a:pt x="178683" y="954532"/>
                  </a:cubicBezTo>
                  <a:cubicBezTo>
                    <a:pt x="1219449" y="581406"/>
                    <a:pt x="2435728" y="351536"/>
                    <a:pt x="3811900" y="266700"/>
                  </a:cubicBezTo>
                  <a:lnTo>
                    <a:pt x="3811900" y="0"/>
                  </a:lnTo>
                  <a:cubicBezTo>
                    <a:pt x="2403597" y="85598"/>
                    <a:pt x="1157600" y="320802"/>
                    <a:pt x="88641" y="703707"/>
                  </a:cubicBezTo>
                  <a:cubicBezTo>
                    <a:pt x="19313" y="728349"/>
                    <a:pt x="-16912" y="804527"/>
                    <a:pt x="7730" y="873855"/>
                  </a:cubicBezTo>
                  <a:cubicBezTo>
                    <a:pt x="7734" y="873866"/>
                    <a:pt x="7738" y="873876"/>
                    <a:pt x="7742" y="873887"/>
                  </a:cubicBezTo>
                  <a:close/>
                </a:path>
              </a:pathLst>
            </a:custGeom>
            <a:solidFill>
              <a:srgbClr val="FFFFFF"/>
            </a:solidFill>
            <a:ln w="12700"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C1265EEA-DFE0-4DC3-AE64-4FEBF9E0EC70}"/>
                </a:ext>
              </a:extLst>
            </p:cNvPr>
            <p:cNvSpPr/>
            <p:nvPr/>
          </p:nvSpPr>
          <p:spPr>
            <a:xfrm>
              <a:off x="6143713" y="1545414"/>
              <a:ext cx="2505521" cy="1500553"/>
            </a:xfrm>
            <a:custGeom>
              <a:avLst/>
              <a:gdLst>
                <a:gd name="connsiteX0" fmla="*/ 133261 w 2505521"/>
                <a:gd name="connsiteY0" fmla="*/ 1500554 h 1500553"/>
                <a:gd name="connsiteX1" fmla="*/ 0 w 2505521"/>
                <a:gd name="connsiteY1" fmla="*/ 1367115 h 1500553"/>
                <a:gd name="connsiteX2" fmla="*/ 48806 w 2505521"/>
                <a:gd name="connsiteY2" fmla="*/ 1264080 h 1500553"/>
                <a:gd name="connsiteX3" fmla="*/ 2323249 w 2505521"/>
                <a:gd name="connsiteY3" fmla="*/ 9320 h 1500553"/>
                <a:gd name="connsiteX4" fmla="*/ 2496202 w 2505521"/>
                <a:gd name="connsiteY4" fmla="*/ 84500 h 1500553"/>
                <a:gd name="connsiteX5" fmla="*/ 2421022 w 2505521"/>
                <a:gd name="connsiteY5" fmla="*/ 257452 h 1500553"/>
                <a:gd name="connsiteX6" fmla="*/ 2413928 w 2505521"/>
                <a:gd name="connsiteY6" fmla="*/ 260017 h 1500553"/>
                <a:gd name="connsiteX7" fmla="*/ 217716 w 2505521"/>
                <a:gd name="connsiteY7" fmla="*/ 1470455 h 1500553"/>
                <a:gd name="connsiteX8" fmla="*/ 133261 w 2505521"/>
                <a:gd name="connsiteY8" fmla="*/ 1500554 h 150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521" h="1500553">
                  <a:moveTo>
                    <a:pt x="133261" y="1500554"/>
                  </a:moveTo>
                  <a:cubicBezTo>
                    <a:pt x="59614" y="1500505"/>
                    <a:pt x="-49" y="1440762"/>
                    <a:pt x="0" y="1367115"/>
                  </a:cubicBezTo>
                  <a:cubicBezTo>
                    <a:pt x="27" y="1327196"/>
                    <a:pt x="17935" y="1289388"/>
                    <a:pt x="48806" y="1264080"/>
                  </a:cubicBezTo>
                  <a:cubicBezTo>
                    <a:pt x="677964" y="749730"/>
                    <a:pt x="1443140" y="327582"/>
                    <a:pt x="2323249" y="9320"/>
                  </a:cubicBezTo>
                  <a:cubicBezTo>
                    <a:pt x="2391769" y="-17679"/>
                    <a:pt x="2469203" y="15980"/>
                    <a:pt x="2496202" y="84500"/>
                  </a:cubicBezTo>
                  <a:cubicBezTo>
                    <a:pt x="2523201" y="153020"/>
                    <a:pt x="2489541" y="230453"/>
                    <a:pt x="2421022" y="257452"/>
                  </a:cubicBezTo>
                  <a:cubicBezTo>
                    <a:pt x="2418682" y="258374"/>
                    <a:pt x="2416317" y="259229"/>
                    <a:pt x="2413928" y="260017"/>
                  </a:cubicBezTo>
                  <a:cubicBezTo>
                    <a:pt x="1562266" y="568120"/>
                    <a:pt x="823253" y="975282"/>
                    <a:pt x="217716" y="1470455"/>
                  </a:cubicBezTo>
                  <a:cubicBezTo>
                    <a:pt x="193898" y="1489962"/>
                    <a:pt x="164049" y="1500601"/>
                    <a:pt x="133261" y="1500554"/>
                  </a:cubicBezTo>
                  <a:close/>
                </a:path>
              </a:pathLst>
            </a:custGeom>
            <a:solidFill>
              <a:srgbClr val="9EDED4"/>
            </a:solid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A2B590BA-1EDF-4937-BB2F-0CB0F6F6A74C}"/>
                </a:ext>
              </a:extLst>
            </p:cNvPr>
            <p:cNvSpPr/>
            <p:nvPr/>
          </p:nvSpPr>
          <p:spPr>
            <a:xfrm>
              <a:off x="0" y="2778450"/>
              <a:ext cx="6411400" cy="3323899"/>
            </a:xfrm>
            <a:custGeom>
              <a:avLst/>
              <a:gdLst>
                <a:gd name="connsiteX0" fmla="*/ 4562475 w 6411400"/>
                <a:gd name="connsiteY0" fmla="*/ 3200329 h 3323899"/>
                <a:gd name="connsiteX1" fmla="*/ 4834890 w 6411400"/>
                <a:gd name="connsiteY1" fmla="*/ 2230557 h 3323899"/>
                <a:gd name="connsiteX2" fmla="*/ 6361430 w 6411400"/>
                <a:gd name="connsiteY2" fmla="*/ 237419 h 3323899"/>
                <a:gd name="connsiteX3" fmla="*/ 6382110 w 6411400"/>
                <a:gd name="connsiteY3" fmla="*/ 49971 h 3323899"/>
                <a:gd name="connsiteX4" fmla="*/ 6194662 w 6411400"/>
                <a:gd name="connsiteY4" fmla="*/ 29291 h 3323899"/>
                <a:gd name="connsiteX5" fmla="*/ 6192520 w 6411400"/>
                <a:gd name="connsiteY5" fmla="*/ 31044 h 3323899"/>
                <a:gd name="connsiteX6" fmla="*/ 4584192 w 6411400"/>
                <a:gd name="connsiteY6" fmla="*/ 2139244 h 3323899"/>
                <a:gd name="connsiteX7" fmla="*/ 4312285 w 6411400"/>
                <a:gd name="connsiteY7" fmla="*/ 3057200 h 3323899"/>
                <a:gd name="connsiteX8" fmla="*/ 0 w 6411400"/>
                <a:gd name="connsiteY8" fmla="*/ 3057200 h 3323899"/>
                <a:gd name="connsiteX9" fmla="*/ 0 w 6411400"/>
                <a:gd name="connsiteY9" fmla="*/ 3323900 h 3323899"/>
                <a:gd name="connsiteX10" fmla="*/ 4429506 w 6411400"/>
                <a:gd name="connsiteY10" fmla="*/ 3323900 h 3323899"/>
                <a:gd name="connsiteX11" fmla="*/ 4562475 w 6411400"/>
                <a:gd name="connsiteY11" fmla="*/ 3200329 h 332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11400" h="3323899">
                  <a:moveTo>
                    <a:pt x="4562475" y="3200329"/>
                  </a:moveTo>
                  <a:cubicBezTo>
                    <a:pt x="4562475" y="3196265"/>
                    <a:pt x="4596765" y="2793929"/>
                    <a:pt x="4834890" y="2230557"/>
                  </a:cubicBezTo>
                  <a:cubicBezTo>
                    <a:pt x="5054346" y="1711254"/>
                    <a:pt x="5497322" y="944047"/>
                    <a:pt x="6361430" y="237419"/>
                  </a:cubicBezTo>
                  <a:cubicBezTo>
                    <a:pt x="6418903" y="191367"/>
                    <a:pt x="6428162" y="107444"/>
                    <a:pt x="6382110" y="49971"/>
                  </a:cubicBezTo>
                  <a:cubicBezTo>
                    <a:pt x="6336058" y="-7502"/>
                    <a:pt x="6252135" y="-16761"/>
                    <a:pt x="6194662" y="29291"/>
                  </a:cubicBezTo>
                  <a:cubicBezTo>
                    <a:pt x="6193942" y="29868"/>
                    <a:pt x="6193228" y="30452"/>
                    <a:pt x="6192520" y="31044"/>
                  </a:cubicBezTo>
                  <a:cubicBezTo>
                    <a:pt x="5281295" y="776026"/>
                    <a:pt x="4814951" y="1588445"/>
                    <a:pt x="4584192" y="2139244"/>
                  </a:cubicBezTo>
                  <a:cubicBezTo>
                    <a:pt x="4409186" y="2556439"/>
                    <a:pt x="4339209" y="2887655"/>
                    <a:pt x="4312285" y="3057200"/>
                  </a:cubicBezTo>
                  <a:lnTo>
                    <a:pt x="0" y="3057200"/>
                  </a:lnTo>
                  <a:lnTo>
                    <a:pt x="0" y="3323900"/>
                  </a:lnTo>
                  <a:lnTo>
                    <a:pt x="4429506" y="3323900"/>
                  </a:lnTo>
                  <a:cubicBezTo>
                    <a:pt x="4499302" y="3323766"/>
                    <a:pt x="4557234" y="3269928"/>
                    <a:pt x="4562475" y="3200329"/>
                  </a:cubicBezTo>
                  <a:close/>
                </a:path>
              </a:pathLst>
            </a:custGeom>
            <a:solidFill>
              <a:srgbClr val="005C8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20" name="Rectangle">
            <a:extLst>
              <a:ext uri="{FF2B5EF4-FFF2-40B4-BE49-F238E27FC236}">
                <a16:creationId xmlns:a16="http://schemas.microsoft.com/office/drawing/2014/main" id="{EBB36A23-9562-4079-AE73-EDA22851B3F8}"/>
              </a:ext>
            </a:extLst>
          </p:cNvPr>
          <p:cNvSpPr/>
          <p:nvPr userDrawn="1"/>
        </p:nvSpPr>
        <p:spPr>
          <a:xfrm>
            <a:off x="-375" y="1799991"/>
            <a:ext cx="6005887" cy="37154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21" name="Text Placeholder 1">
            <a:extLst>
              <a:ext uri="{FF2B5EF4-FFF2-40B4-BE49-F238E27FC236}">
                <a16:creationId xmlns:a16="http://schemas.microsoft.com/office/drawing/2014/main" id="{D0BCB2A8-A2F1-424B-ACCE-1CDDC0263C06}"/>
              </a:ext>
            </a:extLst>
          </p:cNvPr>
          <p:cNvSpPr>
            <a:spLocks noGrp="1"/>
          </p:cNvSpPr>
          <p:nvPr>
            <p:ph type="body" sz="quarter" idx="12"/>
          </p:nvPr>
        </p:nvSpPr>
        <p:spPr>
          <a:xfrm>
            <a:off x="719139" y="2060197"/>
            <a:ext cx="4554536" cy="3199959"/>
          </a:xfrm>
        </p:spPr>
        <p:txBody>
          <a:bodyPr/>
          <a:lstStyle>
            <a:lvl1pPr>
              <a:tabLst>
                <a:tab pos="4572000" algn="r"/>
              </a:tabLs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7108826" cy="720000"/>
          </a:xfrm>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i="0">
                <a:solidFill>
                  <a:schemeClr val="bg1"/>
                </a:solidFill>
              </a:defRPr>
            </a:lvl5pPr>
            <a:lvl6pPr>
              <a:defRPr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19666362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accent6"/>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703F501-5AF0-4B2D-B2B2-F826C468E6DA}"/>
              </a:ext>
            </a:extLst>
          </p:cNvPr>
          <p:cNvSpPr/>
          <p:nvPr/>
        </p:nvSpPr>
        <p:spPr>
          <a:xfrm>
            <a:off x="0" y="0"/>
            <a:ext cx="12191625" cy="6857146"/>
          </a:xfrm>
          <a:custGeom>
            <a:avLst/>
            <a:gdLst>
              <a:gd name="connsiteX0" fmla="*/ 0 w 1920180"/>
              <a:gd name="connsiteY0" fmla="*/ 0 h 1080000"/>
              <a:gd name="connsiteX1" fmla="*/ 1920180 w 1920180"/>
              <a:gd name="connsiteY1" fmla="*/ 0 h 1080000"/>
              <a:gd name="connsiteX2" fmla="*/ 1920180 w 1920180"/>
              <a:gd name="connsiteY2" fmla="*/ 1080000 h 1080000"/>
              <a:gd name="connsiteX3" fmla="*/ 0 w 1920180"/>
              <a:gd name="connsiteY3" fmla="*/ 1080000 h 1080000"/>
            </a:gdLst>
            <a:ahLst/>
            <a:cxnLst>
              <a:cxn ang="0">
                <a:pos x="connsiteX0" y="connsiteY0"/>
              </a:cxn>
              <a:cxn ang="0">
                <a:pos x="connsiteX1" y="connsiteY1"/>
              </a:cxn>
              <a:cxn ang="0">
                <a:pos x="connsiteX2" y="connsiteY2"/>
              </a:cxn>
              <a:cxn ang="0">
                <a:pos x="connsiteX3" y="connsiteY3"/>
              </a:cxn>
            </a:cxnLst>
            <a:rect l="l" t="t" r="r" b="b"/>
            <a:pathLst>
              <a:path w="1920180" h="1080000">
                <a:moveTo>
                  <a:pt x="0" y="0"/>
                </a:moveTo>
                <a:lnTo>
                  <a:pt x="1920180" y="0"/>
                </a:lnTo>
                <a:lnTo>
                  <a:pt x="1920180" y="1080000"/>
                </a:lnTo>
                <a:lnTo>
                  <a:pt x="0" y="1080000"/>
                </a:lnTo>
                <a:close/>
              </a:path>
            </a:pathLst>
          </a:custGeom>
          <a:noFill/>
          <a:ln w="1994" cap="flat">
            <a:noFill/>
            <a:prstDash val="solid"/>
            <a:miter/>
          </a:ln>
        </p:spPr>
        <p:txBody>
          <a:bodyPr rtlCol="0" anchor="ctr"/>
          <a:lstStyle/>
          <a:p>
            <a:endParaRPr lang="en-GB" dirty="0"/>
          </a:p>
        </p:txBody>
      </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r>
              <a:rPr lang="en-US"/>
              <a:t>24 October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Testing footer2</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hasCustomPrompt="1"/>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GB" dirty="0"/>
              <a:t>Contents</a:t>
            </a:r>
          </a:p>
        </p:txBody>
      </p:sp>
      <p:grpSp>
        <p:nvGrpSpPr>
          <p:cNvPr id="15" name="Group 14">
            <a:extLst>
              <a:ext uri="{FF2B5EF4-FFF2-40B4-BE49-F238E27FC236}">
                <a16:creationId xmlns:a16="http://schemas.microsoft.com/office/drawing/2014/main" id="{59843ED0-6A19-4339-BF6B-1592DEE61674}"/>
              </a:ext>
            </a:extLst>
          </p:cNvPr>
          <p:cNvGrpSpPr/>
          <p:nvPr userDrawn="1"/>
        </p:nvGrpSpPr>
        <p:grpSpPr>
          <a:xfrm>
            <a:off x="3794125" y="2056860"/>
            <a:ext cx="8398510" cy="4801139"/>
            <a:chOff x="3794125" y="2056860"/>
            <a:chExt cx="8398510" cy="4801139"/>
          </a:xfrm>
        </p:grpSpPr>
        <p:sp>
          <p:nvSpPr>
            <p:cNvPr id="16" name="Freeform: Shape 15">
              <a:extLst>
                <a:ext uri="{FF2B5EF4-FFF2-40B4-BE49-F238E27FC236}">
                  <a16:creationId xmlns:a16="http://schemas.microsoft.com/office/drawing/2014/main" id="{DFEFA15E-E50A-4FB6-B766-516D84D7356B}"/>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rgbClr val="EDC2B2"/>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BEF742D8-191B-4073-81D4-16A1900062D6}"/>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rgbClr val="005C82"/>
            </a:solidFill>
            <a:ln w="12700" cap="flat">
              <a:noFill/>
              <a:prstDash val="solid"/>
              <a:miter/>
            </a:ln>
          </p:spPr>
          <p:txBody>
            <a:bodyPr rtlCol="0" anchor="ctr"/>
            <a:lstStyle/>
            <a:p>
              <a:endParaRPr lang="en-GB"/>
            </a:p>
          </p:txBody>
        </p:sp>
      </p:grpSp>
      <p:sp>
        <p:nvSpPr>
          <p:cNvPr id="18" name="Rectangle">
            <a:extLst>
              <a:ext uri="{FF2B5EF4-FFF2-40B4-BE49-F238E27FC236}">
                <a16:creationId xmlns:a16="http://schemas.microsoft.com/office/drawing/2014/main" id="{21C6EBF0-A7A4-413E-A7FD-E4F028820495}"/>
              </a:ext>
            </a:extLst>
          </p:cNvPr>
          <p:cNvSpPr/>
          <p:nvPr userDrawn="1"/>
        </p:nvSpPr>
        <p:spPr>
          <a:xfrm>
            <a:off x="-374" y="1584000"/>
            <a:ext cx="7020000" cy="4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graphicFrame>
        <p:nvGraphicFramePr>
          <p:cNvPr id="17" name="TOCTable" hidden="1">
            <a:extLst>
              <a:ext uri="{FF2B5EF4-FFF2-40B4-BE49-F238E27FC236}">
                <a16:creationId xmlns:a16="http://schemas.microsoft.com/office/drawing/2014/main" id="{3433996D-9DBF-4897-BF4F-CD9B1AFE9DB8}"/>
              </a:ext>
            </a:extLst>
          </p:cNvPr>
          <p:cNvGraphicFramePr>
            <a:graphicFrameLocks/>
          </p:cNvGraphicFramePr>
          <p:nvPr userDrawn="1">
            <p:extLst>
              <p:ext uri="{D42A27DB-BD31-4B8C-83A1-F6EECF244321}">
                <p14:modId xmlns:p14="http://schemas.microsoft.com/office/powerpoint/2010/main" val="3892057374"/>
              </p:ext>
            </p:extLst>
          </p:nvPr>
        </p:nvGraphicFramePr>
        <p:xfrm>
          <a:off x="724372" y="1692275"/>
          <a:ext cx="6139008" cy="3775248"/>
        </p:xfrm>
        <a:graphic>
          <a:graphicData uri="http://schemas.openxmlformats.org/drawingml/2006/table">
            <a:tbl>
              <a:tblPr bandRow="1">
                <a:tableStyleId>{2D5ABB26-0587-4C30-8999-92F81FD0307C}</a:tableStyleId>
              </a:tblPr>
              <a:tblGrid>
                <a:gridCol w="706395">
                  <a:extLst>
                    <a:ext uri="{9D8B030D-6E8A-4147-A177-3AD203B41FA5}">
                      <a16:colId xmlns:a16="http://schemas.microsoft.com/office/drawing/2014/main" val="623472955"/>
                    </a:ext>
                  </a:extLst>
                </a:gridCol>
                <a:gridCol w="4892920">
                  <a:extLst>
                    <a:ext uri="{9D8B030D-6E8A-4147-A177-3AD203B41FA5}">
                      <a16:colId xmlns:a16="http://schemas.microsoft.com/office/drawing/2014/main" val="3016899469"/>
                    </a:ext>
                  </a:extLst>
                </a:gridCol>
                <a:gridCol w="539693">
                  <a:extLst>
                    <a:ext uri="{9D8B030D-6E8A-4147-A177-3AD203B41FA5}">
                      <a16:colId xmlns:a16="http://schemas.microsoft.com/office/drawing/2014/main" val="4199035927"/>
                    </a:ext>
                  </a:extLst>
                </a:gridCol>
              </a:tblGrid>
              <a:tr h="370840">
                <a:tc>
                  <a:txBody>
                    <a:bodyPr/>
                    <a:lstStyle/>
                    <a:p>
                      <a:pPr algn="l"/>
                      <a:r>
                        <a:rPr lang="en-GB" sz="2400" b="0" baseline="0" dirty="0">
                          <a:solidFill>
                            <a:schemeClr val="tx1"/>
                          </a:solidFill>
                          <a:latin typeface="+mj-lt"/>
                        </a:rPr>
                        <a:t>01</a:t>
                      </a:r>
                      <a:endParaRPr lang="en-GB" sz="2400" b="0" baseline="0" dirty="0">
                        <a:solidFill>
                          <a:schemeClr val="tx1"/>
                        </a:solidFill>
                        <a:latin typeface="+mj-lt"/>
                        <a:cs typeface="Arial" panose="020B0604020202020204" pitchFamily="34" charset="0"/>
                      </a:endParaRPr>
                    </a:p>
                  </a:txBody>
                  <a:tcPr marL="0" marR="181010"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irst item</a:t>
                      </a:r>
                    </a:p>
                  </a:txBody>
                  <a:tcPr marL="90505" marR="90505"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9912683"/>
                  </a:ext>
                </a:extLst>
              </a:tr>
              <a:tr h="370840">
                <a:tc>
                  <a:txBody>
                    <a:bodyPr/>
                    <a:lstStyle/>
                    <a:p>
                      <a:pPr algn="l"/>
                      <a:r>
                        <a:rPr lang="en-GB" sz="2400" b="0" baseline="0" dirty="0">
                          <a:solidFill>
                            <a:schemeClr val="tx1"/>
                          </a:solidFill>
                          <a:latin typeface="+mj-lt"/>
                        </a:rPr>
                        <a:t>02</a:t>
                      </a:r>
                      <a:endParaRPr lang="en-GB" sz="2400" b="0" baseline="0" dirty="0">
                        <a:solidFill>
                          <a:schemeClr val="tx1"/>
                        </a:solidFill>
                        <a:latin typeface="+mj-lt"/>
                        <a:cs typeface="Arial" panose="020B0604020202020204" pitchFamily="34" charset="0"/>
                      </a:endParaRP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econd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5655236"/>
                  </a:ext>
                </a:extLst>
              </a:tr>
              <a:tr h="370840">
                <a:tc>
                  <a:txBody>
                    <a:bodyPr/>
                    <a:lstStyle/>
                    <a:p>
                      <a:pPr algn="l"/>
                      <a:r>
                        <a:rPr lang="en-GB" sz="2400" b="0" baseline="0" dirty="0">
                          <a:solidFill>
                            <a:schemeClr val="tx1"/>
                          </a:solidFill>
                          <a:latin typeface="+mj-lt"/>
                          <a:cs typeface="Arial" panose="020B0604020202020204" pitchFamily="34" charset="0"/>
                        </a:rPr>
                        <a:t>03</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third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5243760"/>
                  </a:ext>
                </a:extLst>
              </a:tr>
              <a:tr h="370840">
                <a:tc>
                  <a:txBody>
                    <a:bodyPr/>
                    <a:lstStyle/>
                    <a:p>
                      <a:pPr algn="l"/>
                      <a:r>
                        <a:rPr lang="en-GB" sz="2400" b="0" baseline="0" dirty="0">
                          <a:solidFill>
                            <a:schemeClr val="tx1"/>
                          </a:solidFill>
                          <a:latin typeface="+mj-lt"/>
                          <a:cs typeface="Arial" panose="020B0604020202020204" pitchFamily="34" charset="0"/>
                        </a:rPr>
                        <a:t>04</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our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84242470"/>
                  </a:ext>
                </a:extLst>
              </a:tr>
              <a:tr h="370840">
                <a:tc>
                  <a:txBody>
                    <a:bodyPr/>
                    <a:lstStyle/>
                    <a:p>
                      <a:pPr algn="l"/>
                      <a:r>
                        <a:rPr lang="en-GB" sz="2400" b="0" baseline="0" dirty="0">
                          <a:solidFill>
                            <a:schemeClr val="tx1"/>
                          </a:solidFill>
                          <a:latin typeface="+mj-lt"/>
                          <a:cs typeface="Arial" panose="020B0604020202020204" pitchFamily="34" charset="0"/>
                        </a:rPr>
                        <a:t>05</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if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5255728"/>
                  </a:ext>
                </a:extLst>
              </a:tr>
              <a:tr h="370840">
                <a:tc>
                  <a:txBody>
                    <a:bodyPr/>
                    <a:lstStyle/>
                    <a:p>
                      <a:pPr algn="l"/>
                      <a:r>
                        <a:rPr lang="en-GB" sz="2400" b="0" baseline="0" dirty="0">
                          <a:solidFill>
                            <a:schemeClr val="tx1"/>
                          </a:solidFill>
                          <a:latin typeface="+mj-lt"/>
                          <a:cs typeface="Arial" panose="020B0604020202020204" pitchFamily="34" charset="0"/>
                        </a:rPr>
                        <a:t>06</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ix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50849912"/>
                  </a:ext>
                </a:extLst>
              </a:tr>
              <a:tr h="370840">
                <a:tc>
                  <a:txBody>
                    <a:bodyPr/>
                    <a:lstStyle/>
                    <a:p>
                      <a:pPr algn="l"/>
                      <a:r>
                        <a:rPr lang="en-GB" sz="2400" b="0" baseline="0" dirty="0">
                          <a:solidFill>
                            <a:schemeClr val="tx1"/>
                          </a:solidFill>
                          <a:latin typeface="+mj-lt"/>
                          <a:cs typeface="Arial" panose="020B0604020202020204" pitchFamily="34" charset="0"/>
                        </a:rPr>
                        <a:t>07</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even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1721349"/>
                  </a:ext>
                </a:extLst>
              </a:tr>
              <a:tr h="370840">
                <a:tc>
                  <a:txBody>
                    <a:bodyPr/>
                    <a:lstStyle/>
                    <a:p>
                      <a:pPr algn="l"/>
                      <a:r>
                        <a:rPr lang="en-GB" sz="2400" b="0" baseline="0" dirty="0">
                          <a:solidFill>
                            <a:schemeClr val="tx1"/>
                          </a:solidFill>
                          <a:latin typeface="+mj-lt"/>
                          <a:cs typeface="Arial" panose="020B0604020202020204" pitchFamily="34" charset="0"/>
                        </a:rPr>
                        <a:t>08</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eigh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232822"/>
                  </a:ext>
                </a:extLst>
              </a:tr>
              <a:tr h="370840">
                <a:tc>
                  <a:txBody>
                    <a:bodyPr/>
                    <a:lstStyle/>
                    <a:p>
                      <a:pPr algn="l"/>
                      <a:r>
                        <a:rPr lang="en-GB" sz="2400" b="0" baseline="0" dirty="0">
                          <a:solidFill>
                            <a:schemeClr val="tx1"/>
                          </a:solidFill>
                          <a:latin typeface="+mj-lt"/>
                          <a:cs typeface="Arial" panose="020B0604020202020204" pitchFamily="34" charset="0"/>
                        </a:rPr>
                        <a:t>09</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nin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5438890"/>
                  </a:ext>
                </a:extLst>
              </a:tr>
            </a:tbl>
          </a:graphicData>
        </a:graphic>
      </p:graphicFrame>
    </p:spTree>
    <p:extLst>
      <p:ext uri="{BB962C8B-B14F-4D97-AF65-F5344CB8AC3E}">
        <p14:creationId xmlns:p14="http://schemas.microsoft.com/office/powerpoint/2010/main" val="113415304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78C42CE-F3F9-40D1-BE5C-F5C6570708AD}"/>
              </a:ext>
            </a:extLst>
          </p:cNvPr>
          <p:cNvGrpSpPr/>
          <p:nvPr userDrawn="1"/>
        </p:nvGrpSpPr>
        <p:grpSpPr>
          <a:xfrm>
            <a:off x="3794125" y="2056860"/>
            <a:ext cx="8398510" cy="4801139"/>
            <a:chOff x="3794125" y="2056860"/>
            <a:chExt cx="8398510" cy="4801139"/>
          </a:xfrm>
        </p:grpSpPr>
        <p:sp>
          <p:nvSpPr>
            <p:cNvPr id="18" name="Freeform: Shape 17">
              <a:extLst>
                <a:ext uri="{FF2B5EF4-FFF2-40B4-BE49-F238E27FC236}">
                  <a16:creationId xmlns:a16="http://schemas.microsoft.com/office/drawing/2014/main" id="{8818C944-C96E-4346-8A1F-E2402D380083}"/>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rgbClr val="EDC2B2"/>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7DA10CC-F106-4584-AEE9-7CB25C96D758}"/>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rgbClr val="005C8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6" name="Rectangle">
            <a:extLst>
              <a:ext uri="{FF2B5EF4-FFF2-40B4-BE49-F238E27FC236}">
                <a16:creationId xmlns:a16="http://schemas.microsoft.com/office/drawing/2014/main" id="{E5FF33AD-31C0-4DA6-9424-1CBFD3123C45}"/>
              </a:ext>
            </a:extLst>
          </p:cNvPr>
          <p:cNvSpPr/>
          <p:nvPr userDrawn="1"/>
        </p:nvSpPr>
        <p:spPr>
          <a:xfrm>
            <a:off x="-374" y="1584000"/>
            <a:ext cx="9360000" cy="4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hasCustomPrompt="1"/>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dirty="0"/>
              <a:t>Agenda 1</a:t>
            </a:r>
            <a:endParaRPr lang="en-GB" dirty="0"/>
          </a:p>
        </p:txBody>
      </p:sp>
      <p:graphicFrame>
        <p:nvGraphicFramePr>
          <p:cNvPr id="10" name="NewSlide_TimeTable" hidden="1">
            <a:extLst>
              <a:ext uri="{FF2B5EF4-FFF2-40B4-BE49-F238E27FC236}">
                <a16:creationId xmlns:a16="http://schemas.microsoft.com/office/drawing/2014/main" id="{949403AE-1064-4981-A893-BF19F302959C}"/>
              </a:ext>
            </a:extLst>
          </p:cNvPr>
          <p:cNvGraphicFramePr>
            <a:graphicFrameLocks noGrp="1"/>
          </p:cNvGraphicFramePr>
          <p:nvPr userDrawn="1">
            <p:extLst>
              <p:ext uri="{D42A27DB-BD31-4B8C-83A1-F6EECF244321}">
                <p14:modId xmlns:p14="http://schemas.microsoft.com/office/powerpoint/2010/main" val="2869790275"/>
              </p:ext>
            </p:extLst>
          </p:nvPr>
        </p:nvGraphicFramePr>
        <p:xfrm>
          <a:off x="209549" y="1806860"/>
          <a:ext cx="8757030" cy="2225040"/>
        </p:xfrm>
        <a:graphic>
          <a:graphicData uri="http://schemas.openxmlformats.org/drawingml/2006/table">
            <a:tbl>
              <a:tblPr>
                <a:tableStyleId>{2D5ABB26-0587-4C30-8999-92F81FD0307C}</a:tableStyleId>
              </a:tblPr>
              <a:tblGrid>
                <a:gridCol w="1414535">
                  <a:extLst>
                    <a:ext uri="{9D8B030D-6E8A-4147-A177-3AD203B41FA5}">
                      <a16:colId xmlns:a16="http://schemas.microsoft.com/office/drawing/2014/main" val="1617866694"/>
                    </a:ext>
                  </a:extLst>
                </a:gridCol>
                <a:gridCol w="5227092">
                  <a:extLst>
                    <a:ext uri="{9D8B030D-6E8A-4147-A177-3AD203B41FA5}">
                      <a16:colId xmlns:a16="http://schemas.microsoft.com/office/drawing/2014/main" val="3951319875"/>
                    </a:ext>
                  </a:extLst>
                </a:gridCol>
                <a:gridCol w="2115403">
                  <a:extLst>
                    <a:ext uri="{9D8B030D-6E8A-4147-A177-3AD203B41FA5}">
                      <a16:colId xmlns:a16="http://schemas.microsoft.com/office/drawing/2014/main" val="2268267403"/>
                    </a:ext>
                  </a:extLst>
                </a:gridCol>
              </a:tblGrid>
              <a:tr h="370840">
                <a:tc>
                  <a:txBody>
                    <a:bodyPr/>
                    <a:lstStyle/>
                    <a:p>
                      <a:r>
                        <a:rPr lang="en-GB" b="1" dirty="0"/>
                        <a:t>Time</a:t>
                      </a:r>
                    </a:p>
                  </a:txBody>
                  <a:tcPr/>
                </a:tc>
                <a:tc>
                  <a:txBody>
                    <a:bodyPr/>
                    <a:lstStyle/>
                    <a:p>
                      <a:r>
                        <a:rPr lang="en-GB" b="1" dirty="0"/>
                        <a:t>Session</a:t>
                      </a:r>
                    </a:p>
                  </a:txBody>
                  <a:tcPr/>
                </a:tc>
                <a:tc>
                  <a:txBody>
                    <a:bodyPr/>
                    <a:lstStyle/>
                    <a:p>
                      <a:r>
                        <a:rPr lang="en-GB" b="1" dirty="0"/>
                        <a:t>Speaker</a:t>
                      </a:r>
                    </a:p>
                  </a:txBody>
                  <a:tcPr/>
                </a:tc>
                <a:extLst>
                  <a:ext uri="{0D108BD9-81ED-4DB2-BD59-A6C34878D82A}">
                    <a16:rowId xmlns:a16="http://schemas.microsoft.com/office/drawing/2014/main" val="4117633094"/>
                  </a:ext>
                </a:extLst>
              </a:tr>
              <a:tr h="370840">
                <a:tc>
                  <a:txBody>
                    <a:bodyPr/>
                    <a:lstStyle/>
                    <a:p>
                      <a:r>
                        <a:rPr lang="en-GB" dirty="0"/>
                        <a:t>12.00-12.30</a:t>
                      </a:r>
                    </a:p>
                  </a:txBody>
                  <a:tcPr/>
                </a:tc>
                <a:tc>
                  <a:txBody>
                    <a:bodyPr/>
                    <a:lstStyle/>
                    <a:p>
                      <a:r>
                        <a:rPr lang="en-GB" dirty="0"/>
                        <a:t>[Session Description]</a:t>
                      </a:r>
                    </a:p>
                  </a:txBody>
                  <a:tcPr/>
                </a:tc>
                <a:tc>
                  <a:txBody>
                    <a:bodyPr/>
                    <a:lstStyle/>
                    <a:p>
                      <a:r>
                        <a:rPr lang="en-GB" dirty="0"/>
                        <a:t>[Name 1]</a:t>
                      </a:r>
                    </a:p>
                  </a:txBody>
                  <a:tcPr/>
                </a:tc>
                <a:extLst>
                  <a:ext uri="{0D108BD9-81ED-4DB2-BD59-A6C34878D82A}">
                    <a16:rowId xmlns:a16="http://schemas.microsoft.com/office/drawing/2014/main" val="3822474379"/>
                  </a:ext>
                </a:extLst>
              </a:tr>
              <a:tr h="370840">
                <a:tc>
                  <a:txBody>
                    <a:bodyPr/>
                    <a:lstStyle/>
                    <a:p>
                      <a:r>
                        <a:rPr lang="en-GB" dirty="0"/>
                        <a:t>[Time]</a:t>
                      </a:r>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r>
                        <a:rPr lang="en-GB" dirty="0"/>
                        <a:t>[Session Description]</a:t>
                      </a:r>
                    </a:p>
                  </a:txBody>
                  <a:tcPr/>
                </a:tc>
                <a:tc>
                  <a:txBody>
                    <a:bodyPr/>
                    <a:lstStyle/>
                    <a:p>
                      <a:r>
                        <a:rPr lang="en-GB" dirty="0"/>
                        <a:t>[Name 1]</a:t>
                      </a:r>
                    </a:p>
                  </a:txBody>
                  <a:tcPr/>
                </a:tc>
                <a:extLst>
                  <a:ext uri="{0D108BD9-81ED-4DB2-BD59-A6C34878D82A}">
                    <a16:rowId xmlns:a16="http://schemas.microsoft.com/office/drawing/2014/main" val="616345027"/>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3545059334"/>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2834895056"/>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1831207383"/>
                  </a:ext>
                </a:extLst>
              </a:tr>
            </a:tbl>
          </a:graphicData>
        </a:graphic>
      </p:graphicFrame>
    </p:spTree>
    <p:extLst>
      <p:ext uri="{BB962C8B-B14F-4D97-AF65-F5344CB8AC3E}">
        <p14:creationId xmlns:p14="http://schemas.microsoft.com/office/powerpoint/2010/main" val="267032189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accent1"/>
        </a:soli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6E084A6F-7A75-4748-B44C-74FFAF511EDA}"/>
              </a:ext>
            </a:extLst>
          </p:cNvPr>
          <p:cNvGrpSpPr/>
          <p:nvPr userDrawn="1"/>
        </p:nvGrpSpPr>
        <p:grpSpPr>
          <a:xfrm>
            <a:off x="0" y="844422"/>
            <a:ext cx="12193016" cy="5257927"/>
            <a:chOff x="0" y="844422"/>
            <a:chExt cx="12193016" cy="5257927"/>
          </a:xfrm>
        </p:grpSpPr>
        <p:sp>
          <p:nvSpPr>
            <p:cNvPr id="11" name="Freeform: Shape 10">
              <a:extLst>
                <a:ext uri="{FF2B5EF4-FFF2-40B4-BE49-F238E27FC236}">
                  <a16:creationId xmlns:a16="http://schemas.microsoft.com/office/drawing/2014/main" id="{A95B30E7-1427-4658-BA4F-8B7A9A18D4A7}"/>
                </a:ext>
              </a:extLst>
            </p:cNvPr>
            <p:cNvSpPr/>
            <p:nvPr/>
          </p:nvSpPr>
          <p:spPr>
            <a:xfrm>
              <a:off x="8381116" y="844422"/>
              <a:ext cx="3811900" cy="962438"/>
            </a:xfrm>
            <a:custGeom>
              <a:avLst/>
              <a:gdLst>
                <a:gd name="connsiteX0" fmla="*/ 7742 w 3811900"/>
                <a:gd name="connsiteY0" fmla="*/ 873887 h 962438"/>
                <a:gd name="connsiteX1" fmla="*/ 178596 w 3811900"/>
                <a:gd name="connsiteY1" fmla="*/ 954563 h 962438"/>
                <a:gd name="connsiteX2" fmla="*/ 178683 w 3811900"/>
                <a:gd name="connsiteY2" fmla="*/ 954532 h 962438"/>
                <a:gd name="connsiteX3" fmla="*/ 3811900 w 3811900"/>
                <a:gd name="connsiteY3" fmla="*/ 266700 h 962438"/>
                <a:gd name="connsiteX4" fmla="*/ 3811900 w 3811900"/>
                <a:gd name="connsiteY4" fmla="*/ 0 h 962438"/>
                <a:gd name="connsiteX5" fmla="*/ 88641 w 3811900"/>
                <a:gd name="connsiteY5" fmla="*/ 703707 h 962438"/>
                <a:gd name="connsiteX6" fmla="*/ 7730 w 3811900"/>
                <a:gd name="connsiteY6" fmla="*/ 873855 h 962438"/>
                <a:gd name="connsiteX7" fmla="*/ 7742 w 3811900"/>
                <a:gd name="connsiteY7" fmla="*/ 873887 h 96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1900" h="962438">
                  <a:moveTo>
                    <a:pt x="7742" y="873887"/>
                  </a:moveTo>
                  <a:cubicBezTo>
                    <a:pt x="32644" y="943345"/>
                    <a:pt x="109138" y="979466"/>
                    <a:pt x="178596" y="954563"/>
                  </a:cubicBezTo>
                  <a:cubicBezTo>
                    <a:pt x="178625" y="954553"/>
                    <a:pt x="178655" y="954543"/>
                    <a:pt x="178683" y="954532"/>
                  </a:cubicBezTo>
                  <a:cubicBezTo>
                    <a:pt x="1219449" y="581406"/>
                    <a:pt x="2435728" y="351536"/>
                    <a:pt x="3811900" y="266700"/>
                  </a:cubicBezTo>
                  <a:lnTo>
                    <a:pt x="3811900" y="0"/>
                  </a:lnTo>
                  <a:cubicBezTo>
                    <a:pt x="2403597" y="85598"/>
                    <a:pt x="1157600" y="320802"/>
                    <a:pt x="88641" y="703707"/>
                  </a:cubicBezTo>
                  <a:cubicBezTo>
                    <a:pt x="19313" y="728349"/>
                    <a:pt x="-16912" y="804527"/>
                    <a:pt x="7730" y="873855"/>
                  </a:cubicBezTo>
                  <a:cubicBezTo>
                    <a:pt x="7734" y="873866"/>
                    <a:pt x="7738" y="873876"/>
                    <a:pt x="7742" y="873887"/>
                  </a:cubicBezTo>
                  <a:close/>
                </a:path>
              </a:pathLst>
            </a:custGeom>
            <a:solidFill>
              <a:srgbClr val="FFFFFF"/>
            </a:solidFill>
            <a:ln w="12700"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C1265EEA-DFE0-4DC3-AE64-4FEBF9E0EC70}"/>
                </a:ext>
              </a:extLst>
            </p:cNvPr>
            <p:cNvSpPr/>
            <p:nvPr/>
          </p:nvSpPr>
          <p:spPr>
            <a:xfrm>
              <a:off x="6143713" y="1545414"/>
              <a:ext cx="2505521" cy="1500553"/>
            </a:xfrm>
            <a:custGeom>
              <a:avLst/>
              <a:gdLst>
                <a:gd name="connsiteX0" fmla="*/ 133261 w 2505521"/>
                <a:gd name="connsiteY0" fmla="*/ 1500554 h 1500553"/>
                <a:gd name="connsiteX1" fmla="*/ 0 w 2505521"/>
                <a:gd name="connsiteY1" fmla="*/ 1367115 h 1500553"/>
                <a:gd name="connsiteX2" fmla="*/ 48806 w 2505521"/>
                <a:gd name="connsiteY2" fmla="*/ 1264080 h 1500553"/>
                <a:gd name="connsiteX3" fmla="*/ 2323249 w 2505521"/>
                <a:gd name="connsiteY3" fmla="*/ 9320 h 1500553"/>
                <a:gd name="connsiteX4" fmla="*/ 2496202 w 2505521"/>
                <a:gd name="connsiteY4" fmla="*/ 84500 h 1500553"/>
                <a:gd name="connsiteX5" fmla="*/ 2421022 w 2505521"/>
                <a:gd name="connsiteY5" fmla="*/ 257452 h 1500553"/>
                <a:gd name="connsiteX6" fmla="*/ 2413928 w 2505521"/>
                <a:gd name="connsiteY6" fmla="*/ 260017 h 1500553"/>
                <a:gd name="connsiteX7" fmla="*/ 217716 w 2505521"/>
                <a:gd name="connsiteY7" fmla="*/ 1470455 h 1500553"/>
                <a:gd name="connsiteX8" fmla="*/ 133261 w 2505521"/>
                <a:gd name="connsiteY8" fmla="*/ 1500554 h 150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521" h="1500553">
                  <a:moveTo>
                    <a:pt x="133261" y="1500554"/>
                  </a:moveTo>
                  <a:cubicBezTo>
                    <a:pt x="59614" y="1500505"/>
                    <a:pt x="-49" y="1440762"/>
                    <a:pt x="0" y="1367115"/>
                  </a:cubicBezTo>
                  <a:cubicBezTo>
                    <a:pt x="27" y="1327196"/>
                    <a:pt x="17935" y="1289388"/>
                    <a:pt x="48806" y="1264080"/>
                  </a:cubicBezTo>
                  <a:cubicBezTo>
                    <a:pt x="677964" y="749730"/>
                    <a:pt x="1443140" y="327582"/>
                    <a:pt x="2323249" y="9320"/>
                  </a:cubicBezTo>
                  <a:cubicBezTo>
                    <a:pt x="2391769" y="-17679"/>
                    <a:pt x="2469203" y="15980"/>
                    <a:pt x="2496202" y="84500"/>
                  </a:cubicBezTo>
                  <a:cubicBezTo>
                    <a:pt x="2523201" y="153020"/>
                    <a:pt x="2489541" y="230453"/>
                    <a:pt x="2421022" y="257452"/>
                  </a:cubicBezTo>
                  <a:cubicBezTo>
                    <a:pt x="2418682" y="258374"/>
                    <a:pt x="2416317" y="259229"/>
                    <a:pt x="2413928" y="260017"/>
                  </a:cubicBezTo>
                  <a:cubicBezTo>
                    <a:pt x="1562266" y="568120"/>
                    <a:pt x="823253" y="975282"/>
                    <a:pt x="217716" y="1470455"/>
                  </a:cubicBezTo>
                  <a:cubicBezTo>
                    <a:pt x="193898" y="1489962"/>
                    <a:pt x="164049" y="1500601"/>
                    <a:pt x="133261" y="1500554"/>
                  </a:cubicBezTo>
                  <a:close/>
                </a:path>
              </a:pathLst>
            </a:custGeom>
            <a:solidFill>
              <a:srgbClr val="9EDED4"/>
            </a:solid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A2B590BA-1EDF-4937-BB2F-0CB0F6F6A74C}"/>
                </a:ext>
              </a:extLst>
            </p:cNvPr>
            <p:cNvSpPr/>
            <p:nvPr/>
          </p:nvSpPr>
          <p:spPr>
            <a:xfrm>
              <a:off x="0" y="2778450"/>
              <a:ext cx="6411400" cy="3323899"/>
            </a:xfrm>
            <a:custGeom>
              <a:avLst/>
              <a:gdLst>
                <a:gd name="connsiteX0" fmla="*/ 4562475 w 6411400"/>
                <a:gd name="connsiteY0" fmla="*/ 3200329 h 3323899"/>
                <a:gd name="connsiteX1" fmla="*/ 4834890 w 6411400"/>
                <a:gd name="connsiteY1" fmla="*/ 2230557 h 3323899"/>
                <a:gd name="connsiteX2" fmla="*/ 6361430 w 6411400"/>
                <a:gd name="connsiteY2" fmla="*/ 237419 h 3323899"/>
                <a:gd name="connsiteX3" fmla="*/ 6382110 w 6411400"/>
                <a:gd name="connsiteY3" fmla="*/ 49971 h 3323899"/>
                <a:gd name="connsiteX4" fmla="*/ 6194662 w 6411400"/>
                <a:gd name="connsiteY4" fmla="*/ 29291 h 3323899"/>
                <a:gd name="connsiteX5" fmla="*/ 6192520 w 6411400"/>
                <a:gd name="connsiteY5" fmla="*/ 31044 h 3323899"/>
                <a:gd name="connsiteX6" fmla="*/ 4584192 w 6411400"/>
                <a:gd name="connsiteY6" fmla="*/ 2139244 h 3323899"/>
                <a:gd name="connsiteX7" fmla="*/ 4312285 w 6411400"/>
                <a:gd name="connsiteY7" fmla="*/ 3057200 h 3323899"/>
                <a:gd name="connsiteX8" fmla="*/ 0 w 6411400"/>
                <a:gd name="connsiteY8" fmla="*/ 3057200 h 3323899"/>
                <a:gd name="connsiteX9" fmla="*/ 0 w 6411400"/>
                <a:gd name="connsiteY9" fmla="*/ 3323900 h 3323899"/>
                <a:gd name="connsiteX10" fmla="*/ 4429506 w 6411400"/>
                <a:gd name="connsiteY10" fmla="*/ 3323900 h 3323899"/>
                <a:gd name="connsiteX11" fmla="*/ 4562475 w 6411400"/>
                <a:gd name="connsiteY11" fmla="*/ 3200329 h 332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11400" h="3323899">
                  <a:moveTo>
                    <a:pt x="4562475" y="3200329"/>
                  </a:moveTo>
                  <a:cubicBezTo>
                    <a:pt x="4562475" y="3196265"/>
                    <a:pt x="4596765" y="2793929"/>
                    <a:pt x="4834890" y="2230557"/>
                  </a:cubicBezTo>
                  <a:cubicBezTo>
                    <a:pt x="5054346" y="1711254"/>
                    <a:pt x="5497322" y="944047"/>
                    <a:pt x="6361430" y="237419"/>
                  </a:cubicBezTo>
                  <a:cubicBezTo>
                    <a:pt x="6418903" y="191367"/>
                    <a:pt x="6428162" y="107444"/>
                    <a:pt x="6382110" y="49971"/>
                  </a:cubicBezTo>
                  <a:cubicBezTo>
                    <a:pt x="6336058" y="-7502"/>
                    <a:pt x="6252135" y="-16761"/>
                    <a:pt x="6194662" y="29291"/>
                  </a:cubicBezTo>
                  <a:cubicBezTo>
                    <a:pt x="6193942" y="29868"/>
                    <a:pt x="6193228" y="30452"/>
                    <a:pt x="6192520" y="31044"/>
                  </a:cubicBezTo>
                  <a:cubicBezTo>
                    <a:pt x="5281295" y="776026"/>
                    <a:pt x="4814951" y="1588445"/>
                    <a:pt x="4584192" y="2139244"/>
                  </a:cubicBezTo>
                  <a:cubicBezTo>
                    <a:pt x="4409186" y="2556439"/>
                    <a:pt x="4339209" y="2887655"/>
                    <a:pt x="4312285" y="3057200"/>
                  </a:cubicBezTo>
                  <a:lnTo>
                    <a:pt x="0" y="3057200"/>
                  </a:lnTo>
                  <a:lnTo>
                    <a:pt x="0" y="3323900"/>
                  </a:lnTo>
                  <a:lnTo>
                    <a:pt x="4429506" y="3323900"/>
                  </a:lnTo>
                  <a:cubicBezTo>
                    <a:pt x="4499302" y="3323766"/>
                    <a:pt x="4557234" y="3269928"/>
                    <a:pt x="4562475" y="3200329"/>
                  </a:cubicBezTo>
                  <a:close/>
                </a:path>
              </a:pathLst>
            </a:custGeom>
            <a:solidFill>
              <a:srgbClr val="005C8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20" name="Rectangle">
            <a:extLst>
              <a:ext uri="{FF2B5EF4-FFF2-40B4-BE49-F238E27FC236}">
                <a16:creationId xmlns:a16="http://schemas.microsoft.com/office/drawing/2014/main" id="{EBB36A23-9562-4079-AE73-EDA22851B3F8}"/>
              </a:ext>
            </a:extLst>
          </p:cNvPr>
          <p:cNvSpPr/>
          <p:nvPr userDrawn="1"/>
        </p:nvSpPr>
        <p:spPr>
          <a:xfrm>
            <a:off x="-376" y="1584000"/>
            <a:ext cx="9360000" cy="4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hasCustomPrompt="1"/>
          </p:nvPr>
        </p:nvSpPr>
        <p:spPr>
          <a:xfrm>
            <a:off x="719137" y="666745"/>
            <a:ext cx="7108826" cy="720000"/>
          </a:xfrm>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i="0">
                <a:solidFill>
                  <a:schemeClr val="bg1"/>
                </a:solidFill>
              </a:defRPr>
            </a:lvl5pPr>
            <a:lvl6pPr>
              <a:defRPr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dirty="0"/>
              <a:t>Agenda 2</a:t>
            </a:r>
            <a:endParaRPr lang="en-GB" dirty="0"/>
          </a:p>
        </p:txBody>
      </p:sp>
      <p:graphicFrame>
        <p:nvGraphicFramePr>
          <p:cNvPr id="2" name="NewSlide_TimeTable" hidden="1">
            <a:extLst>
              <a:ext uri="{FF2B5EF4-FFF2-40B4-BE49-F238E27FC236}">
                <a16:creationId xmlns:a16="http://schemas.microsoft.com/office/drawing/2014/main" id="{381B1669-406C-4682-BB7D-2A73E646FD83}"/>
              </a:ext>
            </a:extLst>
          </p:cNvPr>
          <p:cNvGraphicFramePr>
            <a:graphicFrameLocks noGrp="1"/>
          </p:cNvGraphicFramePr>
          <p:nvPr userDrawn="1">
            <p:extLst>
              <p:ext uri="{D42A27DB-BD31-4B8C-83A1-F6EECF244321}">
                <p14:modId xmlns:p14="http://schemas.microsoft.com/office/powerpoint/2010/main" val="3186519092"/>
              </p:ext>
            </p:extLst>
          </p:nvPr>
        </p:nvGraphicFramePr>
        <p:xfrm>
          <a:off x="209549" y="1806860"/>
          <a:ext cx="8757030" cy="2225040"/>
        </p:xfrm>
        <a:graphic>
          <a:graphicData uri="http://schemas.openxmlformats.org/drawingml/2006/table">
            <a:tbl>
              <a:tblPr>
                <a:tableStyleId>{2D5ABB26-0587-4C30-8999-92F81FD0307C}</a:tableStyleId>
              </a:tblPr>
              <a:tblGrid>
                <a:gridCol w="1414535">
                  <a:extLst>
                    <a:ext uri="{9D8B030D-6E8A-4147-A177-3AD203B41FA5}">
                      <a16:colId xmlns:a16="http://schemas.microsoft.com/office/drawing/2014/main" val="1617866694"/>
                    </a:ext>
                  </a:extLst>
                </a:gridCol>
                <a:gridCol w="5227092">
                  <a:extLst>
                    <a:ext uri="{9D8B030D-6E8A-4147-A177-3AD203B41FA5}">
                      <a16:colId xmlns:a16="http://schemas.microsoft.com/office/drawing/2014/main" val="3951319875"/>
                    </a:ext>
                  </a:extLst>
                </a:gridCol>
                <a:gridCol w="2115403">
                  <a:extLst>
                    <a:ext uri="{9D8B030D-6E8A-4147-A177-3AD203B41FA5}">
                      <a16:colId xmlns:a16="http://schemas.microsoft.com/office/drawing/2014/main" val="2268267403"/>
                    </a:ext>
                  </a:extLst>
                </a:gridCol>
              </a:tblGrid>
              <a:tr h="370840">
                <a:tc>
                  <a:txBody>
                    <a:bodyPr/>
                    <a:lstStyle/>
                    <a:p>
                      <a:r>
                        <a:rPr lang="en-GB" b="1" dirty="0"/>
                        <a:t>Time</a:t>
                      </a:r>
                    </a:p>
                  </a:txBody>
                  <a:tcPr/>
                </a:tc>
                <a:tc>
                  <a:txBody>
                    <a:bodyPr/>
                    <a:lstStyle/>
                    <a:p>
                      <a:r>
                        <a:rPr lang="en-GB" b="1" dirty="0"/>
                        <a:t>Session</a:t>
                      </a:r>
                    </a:p>
                  </a:txBody>
                  <a:tcPr/>
                </a:tc>
                <a:tc>
                  <a:txBody>
                    <a:bodyPr/>
                    <a:lstStyle/>
                    <a:p>
                      <a:r>
                        <a:rPr lang="en-GB" b="1" dirty="0"/>
                        <a:t>Speaker</a:t>
                      </a:r>
                    </a:p>
                  </a:txBody>
                  <a:tcPr/>
                </a:tc>
                <a:extLst>
                  <a:ext uri="{0D108BD9-81ED-4DB2-BD59-A6C34878D82A}">
                    <a16:rowId xmlns:a16="http://schemas.microsoft.com/office/drawing/2014/main" val="4117633094"/>
                  </a:ext>
                </a:extLst>
              </a:tr>
              <a:tr h="370840">
                <a:tc>
                  <a:txBody>
                    <a:bodyPr/>
                    <a:lstStyle/>
                    <a:p>
                      <a:r>
                        <a:rPr lang="en-GB" dirty="0"/>
                        <a:t>12.00-12.30</a:t>
                      </a:r>
                    </a:p>
                  </a:txBody>
                  <a:tcPr/>
                </a:tc>
                <a:tc>
                  <a:txBody>
                    <a:bodyPr/>
                    <a:lstStyle/>
                    <a:p>
                      <a:r>
                        <a:rPr lang="en-GB" dirty="0"/>
                        <a:t>[Session Description]</a:t>
                      </a:r>
                    </a:p>
                  </a:txBody>
                  <a:tcPr/>
                </a:tc>
                <a:tc>
                  <a:txBody>
                    <a:bodyPr/>
                    <a:lstStyle/>
                    <a:p>
                      <a:r>
                        <a:rPr lang="en-GB" dirty="0"/>
                        <a:t>[Name 1]</a:t>
                      </a:r>
                    </a:p>
                  </a:txBody>
                  <a:tcPr/>
                </a:tc>
                <a:extLst>
                  <a:ext uri="{0D108BD9-81ED-4DB2-BD59-A6C34878D82A}">
                    <a16:rowId xmlns:a16="http://schemas.microsoft.com/office/drawing/2014/main" val="3822474379"/>
                  </a:ext>
                </a:extLst>
              </a:tr>
              <a:tr h="370840">
                <a:tc>
                  <a:txBody>
                    <a:bodyPr/>
                    <a:lstStyle/>
                    <a:p>
                      <a:r>
                        <a:rPr lang="en-GB" dirty="0"/>
                        <a:t>[Time]</a:t>
                      </a:r>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r>
                        <a:rPr lang="en-GB" dirty="0"/>
                        <a:t>[Session Description]</a:t>
                      </a:r>
                    </a:p>
                  </a:txBody>
                  <a:tcPr/>
                </a:tc>
                <a:tc>
                  <a:txBody>
                    <a:bodyPr/>
                    <a:lstStyle/>
                    <a:p>
                      <a:r>
                        <a:rPr lang="en-GB" dirty="0"/>
                        <a:t>[Name 1]</a:t>
                      </a:r>
                    </a:p>
                  </a:txBody>
                  <a:tcPr/>
                </a:tc>
                <a:extLst>
                  <a:ext uri="{0D108BD9-81ED-4DB2-BD59-A6C34878D82A}">
                    <a16:rowId xmlns:a16="http://schemas.microsoft.com/office/drawing/2014/main" val="616345027"/>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3545059334"/>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2834895056"/>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1831207383"/>
                  </a:ext>
                </a:extLst>
              </a:tr>
            </a:tbl>
          </a:graphicData>
        </a:graphic>
      </p:graphicFrame>
    </p:spTree>
    <p:extLst>
      <p:ext uri="{BB962C8B-B14F-4D97-AF65-F5344CB8AC3E}">
        <p14:creationId xmlns:p14="http://schemas.microsoft.com/office/powerpoint/2010/main" val="138362180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Backpage 1">
    <p:bg>
      <p:bgPr>
        <a:solidFill>
          <a:schemeClr val="accent1"/>
        </a:solidFill>
        <a:effectLst/>
      </p:bgPr>
    </p:bg>
    <p:spTree>
      <p:nvGrpSpPr>
        <p:cNvPr id="1" name=""/>
        <p:cNvGrpSpPr/>
        <p:nvPr/>
      </p:nvGrpSpPr>
      <p:grpSpPr>
        <a:xfrm>
          <a:off x="0" y="0"/>
          <a:ext cx="0" cy="0"/>
          <a:chOff x="0" y="0"/>
          <a:chExt cx="0" cy="0"/>
        </a:xfrm>
      </p:grpSpPr>
      <p:sp>
        <p:nvSpPr>
          <p:cNvPr id="3" name="Company string">
            <a:extLst>
              <a:ext uri="{FF2B5EF4-FFF2-40B4-BE49-F238E27FC236}">
                <a16:creationId xmlns:a16="http://schemas.microsoft.com/office/drawing/2014/main" id="{EA41C69A-8F66-4841-BB68-FAF02F0649F5}"/>
              </a:ext>
            </a:extLst>
          </p:cNvPr>
          <p:cNvSpPr txBox="1"/>
          <p:nvPr userDrawn="1"/>
        </p:nvSpPr>
        <p:spPr>
          <a:xfrm>
            <a:off x="719137" y="3357413"/>
            <a:ext cx="10753723" cy="2779864"/>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a:t>twobirds.com</a:t>
            </a:r>
          </a:p>
          <a:p>
            <a:pPr lvl="1">
              <a:spcAft>
                <a:spcPts val="1800"/>
              </a:spcAft>
            </a:pPr>
            <a:r>
              <a:rPr lang="en-GB" i="0">
                <a:solidFill>
                  <a:schemeClr val="dk2"/>
                </a:solidFill>
              </a:rPr>
              <a:t>● </a:t>
            </a:r>
            <a:r>
              <a:rPr lang="en-GB" i="0"/>
              <a:t>Abu Dhabi </a:t>
            </a:r>
            <a:r>
              <a:rPr lang="en-GB" i="0">
                <a:solidFill>
                  <a:schemeClr val="dk2"/>
                </a:solidFill>
              </a:rPr>
              <a:t>● </a:t>
            </a:r>
            <a:r>
              <a:rPr lang="en-GB" i="0"/>
              <a:t>Amsterdam </a:t>
            </a:r>
            <a:r>
              <a:rPr lang="en-GB" i="0">
                <a:solidFill>
                  <a:schemeClr val="dk2"/>
                </a:solidFill>
              </a:rPr>
              <a:t>● </a:t>
            </a:r>
            <a:r>
              <a:rPr lang="en-GB" i="0"/>
              <a:t>Beijing </a:t>
            </a:r>
            <a:r>
              <a:rPr lang="en-GB" i="0">
                <a:solidFill>
                  <a:schemeClr val="dk2"/>
                </a:solidFill>
              </a:rPr>
              <a:t>● </a:t>
            </a:r>
            <a:r>
              <a:rPr lang="en-GB" i="0"/>
              <a:t>Bratislava </a:t>
            </a:r>
            <a:r>
              <a:rPr lang="en-GB" i="0">
                <a:solidFill>
                  <a:schemeClr val="dk2"/>
                </a:solidFill>
              </a:rPr>
              <a:t>● </a:t>
            </a:r>
            <a:r>
              <a:rPr lang="en-GB" i="0"/>
              <a:t>Brussels </a:t>
            </a:r>
            <a:r>
              <a:rPr lang="en-GB" i="0">
                <a:solidFill>
                  <a:schemeClr val="dk2"/>
                </a:solidFill>
              </a:rPr>
              <a:t>● </a:t>
            </a:r>
            <a:r>
              <a:rPr lang="en-GB" i="0"/>
              <a:t>Budapest </a:t>
            </a:r>
            <a:r>
              <a:rPr lang="en-GB" i="0">
                <a:solidFill>
                  <a:schemeClr val="dk2"/>
                </a:solidFill>
              </a:rPr>
              <a:t>● </a:t>
            </a:r>
            <a:r>
              <a:rPr lang="en-GB" i="0"/>
              <a:t>Casablanca </a:t>
            </a:r>
            <a:r>
              <a:rPr lang="en-GB" i="0">
                <a:solidFill>
                  <a:schemeClr val="dk2"/>
                </a:solidFill>
              </a:rPr>
              <a:t>● </a:t>
            </a:r>
            <a:r>
              <a:rPr lang="en-GB" i="0"/>
              <a:t>Copenhagen </a:t>
            </a:r>
            <a:r>
              <a:rPr lang="en-GB" i="0">
                <a:solidFill>
                  <a:schemeClr val="dk2"/>
                </a:solidFill>
              </a:rPr>
              <a:t>● </a:t>
            </a:r>
            <a:r>
              <a:rPr lang="en-GB" i="0"/>
              <a:t>Dubai </a:t>
            </a:r>
            <a:r>
              <a:rPr lang="en-GB" i="0">
                <a:solidFill>
                  <a:schemeClr val="dk2"/>
                </a:solidFill>
              </a:rPr>
              <a:t>● </a:t>
            </a:r>
            <a:r>
              <a:rPr lang="en-GB" i="0"/>
              <a:t>Dusseldorf</a:t>
            </a:r>
            <a:br>
              <a:rPr lang="en-GB" i="0"/>
            </a:br>
            <a:r>
              <a:rPr lang="en-GB" i="0">
                <a:solidFill>
                  <a:schemeClr val="dk2"/>
                </a:solidFill>
              </a:rPr>
              <a:t>● </a:t>
            </a:r>
            <a:r>
              <a:rPr lang="en-GB" i="0"/>
              <a:t>Frankfurt </a:t>
            </a:r>
            <a:r>
              <a:rPr lang="en-GB" i="0">
                <a:solidFill>
                  <a:schemeClr val="dk2"/>
                </a:solidFill>
              </a:rPr>
              <a:t>● </a:t>
            </a:r>
            <a:r>
              <a:rPr lang="en-GB" i="0"/>
              <a:t>The Hague </a:t>
            </a:r>
            <a:r>
              <a:rPr lang="en-GB" i="0">
                <a:solidFill>
                  <a:schemeClr val="dk2"/>
                </a:solidFill>
              </a:rPr>
              <a:t>● </a:t>
            </a:r>
            <a:r>
              <a:rPr lang="en-GB" i="0"/>
              <a:t>Hamburg </a:t>
            </a:r>
            <a:r>
              <a:rPr lang="en-GB" i="0">
                <a:solidFill>
                  <a:schemeClr val="dk2"/>
                </a:solidFill>
              </a:rPr>
              <a:t>● </a:t>
            </a:r>
            <a:r>
              <a:rPr lang="en-GB" i="0"/>
              <a:t>Helsinki </a:t>
            </a:r>
            <a:r>
              <a:rPr lang="en-GB" i="0">
                <a:solidFill>
                  <a:schemeClr val="dk2"/>
                </a:solidFill>
              </a:rPr>
              <a:t>● </a:t>
            </a:r>
            <a:r>
              <a:rPr lang="en-GB" i="0"/>
              <a:t>Hong Kong </a:t>
            </a:r>
            <a:r>
              <a:rPr lang="en-GB" i="0">
                <a:solidFill>
                  <a:schemeClr val="dk2"/>
                </a:solidFill>
              </a:rPr>
              <a:t>● </a:t>
            </a:r>
            <a:r>
              <a:rPr lang="en-GB" i="0"/>
              <a:t>London </a:t>
            </a:r>
            <a:r>
              <a:rPr lang="en-GB" i="0">
                <a:solidFill>
                  <a:schemeClr val="dk2"/>
                </a:solidFill>
              </a:rPr>
              <a:t>● </a:t>
            </a:r>
            <a:r>
              <a:rPr lang="en-GB" i="0"/>
              <a:t>Luxembourg </a:t>
            </a:r>
            <a:r>
              <a:rPr lang="en-GB" i="0">
                <a:solidFill>
                  <a:schemeClr val="dk2"/>
                </a:solidFill>
              </a:rPr>
              <a:t>● </a:t>
            </a:r>
            <a:r>
              <a:rPr lang="en-GB" i="0"/>
              <a:t>Lyon </a:t>
            </a:r>
            <a:r>
              <a:rPr lang="en-GB" i="0">
                <a:solidFill>
                  <a:schemeClr val="dk2"/>
                </a:solidFill>
              </a:rPr>
              <a:t>● </a:t>
            </a:r>
            <a:r>
              <a:rPr lang="en-GB" i="0"/>
              <a:t>Madrid </a:t>
            </a:r>
            <a:r>
              <a:rPr lang="en-GB" i="0">
                <a:solidFill>
                  <a:schemeClr val="dk2"/>
                </a:solidFill>
              </a:rPr>
              <a:t>● </a:t>
            </a:r>
            <a:r>
              <a:rPr lang="en-GB" i="0"/>
              <a:t>Milan </a:t>
            </a:r>
            <a:r>
              <a:rPr lang="en-GB" i="0">
                <a:solidFill>
                  <a:schemeClr val="dk2"/>
                </a:solidFill>
              </a:rPr>
              <a:t>● </a:t>
            </a:r>
            <a:r>
              <a:rPr lang="en-GB" i="0"/>
              <a:t>Munich </a:t>
            </a:r>
            <a:r>
              <a:rPr lang="en-GB" i="0">
                <a:solidFill>
                  <a:schemeClr val="dk2"/>
                </a:solidFill>
              </a:rPr>
              <a:t>● </a:t>
            </a:r>
            <a:r>
              <a:rPr lang="en-GB" i="0"/>
              <a:t>Paris</a:t>
            </a:r>
            <a:br>
              <a:rPr lang="en-GB" i="0"/>
            </a:br>
            <a:r>
              <a:rPr lang="en-GB" i="0">
                <a:solidFill>
                  <a:schemeClr val="dk2"/>
                </a:solidFill>
              </a:rPr>
              <a:t>● </a:t>
            </a:r>
            <a:r>
              <a:rPr lang="en-GB" i="0"/>
              <a:t>Prague </a:t>
            </a:r>
            <a:r>
              <a:rPr lang="en-GB" i="0">
                <a:solidFill>
                  <a:schemeClr val="dk2"/>
                </a:solidFill>
              </a:rPr>
              <a:t>● </a:t>
            </a:r>
            <a:r>
              <a:rPr lang="en-GB" i="0"/>
              <a:t>Rome </a:t>
            </a:r>
            <a:r>
              <a:rPr lang="en-GB" i="0">
                <a:solidFill>
                  <a:schemeClr val="dk2"/>
                </a:solidFill>
              </a:rPr>
              <a:t>● </a:t>
            </a:r>
            <a:r>
              <a:rPr lang="en-GB" i="0"/>
              <a:t>San Francisco </a:t>
            </a:r>
            <a:r>
              <a:rPr lang="en-GB" i="0">
                <a:solidFill>
                  <a:schemeClr val="dk2"/>
                </a:solidFill>
              </a:rPr>
              <a:t>● </a:t>
            </a:r>
            <a:r>
              <a:rPr lang="en-GB" i="0"/>
              <a:t>Shanghai </a:t>
            </a:r>
            <a:r>
              <a:rPr lang="en-GB" i="0">
                <a:solidFill>
                  <a:schemeClr val="dk2"/>
                </a:solidFill>
              </a:rPr>
              <a:t>● </a:t>
            </a:r>
            <a:r>
              <a:rPr lang="en-GB" i="0"/>
              <a:t>Singapore </a:t>
            </a:r>
            <a:r>
              <a:rPr lang="en-GB" i="0">
                <a:solidFill>
                  <a:schemeClr val="dk2"/>
                </a:solidFill>
              </a:rPr>
              <a:t>● </a:t>
            </a:r>
            <a:r>
              <a:rPr lang="en-GB" i="0"/>
              <a:t>Stockholm </a:t>
            </a:r>
            <a:r>
              <a:rPr lang="en-GB" i="0">
                <a:solidFill>
                  <a:schemeClr val="dk2"/>
                </a:solidFill>
              </a:rPr>
              <a:t>● </a:t>
            </a:r>
            <a:r>
              <a:rPr lang="en-GB" i="0"/>
              <a:t>Sydney </a:t>
            </a:r>
            <a:r>
              <a:rPr lang="en-GB" i="0">
                <a:solidFill>
                  <a:schemeClr val="dk2"/>
                </a:solidFill>
              </a:rPr>
              <a:t>● </a:t>
            </a:r>
            <a:r>
              <a:rPr lang="en-GB" i="0"/>
              <a:t>Warsaw</a:t>
            </a:r>
          </a:p>
          <a:p>
            <a:pPr lvl="2">
              <a:lnSpc>
                <a:spcPct val="100000"/>
              </a:lnSpc>
              <a:spcBef>
                <a:spcPts val="300"/>
              </a:spcBef>
              <a:spcAft>
                <a:spcPts val="0"/>
              </a:spcAft>
            </a:pPr>
            <a:r>
              <a:rPr lang="en-GB" sz="800" i="0" kern="800" spc="-1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lvl="2">
              <a:lnSpc>
                <a:spcPct val="100000"/>
              </a:lnSpc>
              <a:spcBef>
                <a:spcPts val="300"/>
              </a:spcBef>
              <a:spcAft>
                <a:spcPts val="0"/>
              </a:spcAft>
            </a:pPr>
            <a:r>
              <a:rPr lang="en-GB" sz="800" i="0" kern="800" spc="-1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lvl="2">
              <a:lnSpc>
                <a:spcPct val="100000"/>
              </a:lnSpc>
              <a:spcBef>
                <a:spcPts val="300"/>
              </a:spcBef>
              <a:spcAft>
                <a:spcPts val="0"/>
              </a:spcAft>
            </a:pPr>
            <a:r>
              <a:rPr lang="en-GB" sz="800" i="0" kern="800" spc="-10">
                <a:latin typeface="+mn-lt"/>
              </a:rPr>
              <a:t>Bird &amp; Bird is an international legal practice comprising Bird &amp; Bird LLP and its affiliated and associated businesses.</a:t>
            </a:r>
          </a:p>
          <a:p>
            <a:pPr lvl="2">
              <a:lnSpc>
                <a:spcPct val="100000"/>
              </a:lnSpc>
              <a:spcBef>
                <a:spcPts val="300"/>
              </a:spcBef>
              <a:spcAft>
                <a:spcPts val="0"/>
              </a:spcAft>
            </a:pPr>
            <a:r>
              <a:rPr lang="en-GB" sz="800" i="0" kern="800" spc="-10">
                <a:latin typeface="+mn-lt"/>
              </a:rPr>
              <a:t>Bird &amp; Bird LLP is a limited liability partnership, registered in England and Wales with registered number OC340318 and is authorised and regulated by the Solicitors Regulation Authority (SRA) with SRA ID497264. Its registered office and principal place of business is at 12 New Fetter Lane, London EC4A 1JP. A list of members of Bird &amp; Bird LLP and of any non-members who are designated as partners, and of their respective professional qualifications, is open to inspection at that address.</a:t>
            </a:r>
            <a:endParaRPr lang="en-GB" sz="800" i="0" kern="800" spc="-10" baseline="0" dirty="0">
              <a:latin typeface="+mn-lt"/>
            </a:endParaRPr>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u="none">
                <a:solidFill>
                  <a:schemeClr val="tx1"/>
                </a:solidFill>
              </a:defRPr>
            </a:lvl2pPr>
            <a:lvl3pPr algn="l">
              <a:defRPr sz="6000" i="0">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8" name="Group 17">
            <a:extLst>
              <a:ext uri="{FF2B5EF4-FFF2-40B4-BE49-F238E27FC236}">
                <a16:creationId xmlns:a16="http://schemas.microsoft.com/office/drawing/2014/main" id="{97C84B20-5499-4342-896D-723C87B7442C}"/>
              </a:ext>
            </a:extLst>
          </p:cNvPr>
          <p:cNvGrpSpPr/>
          <p:nvPr userDrawn="1"/>
        </p:nvGrpSpPr>
        <p:grpSpPr>
          <a:xfrm>
            <a:off x="0" y="2161032"/>
            <a:ext cx="6006209" cy="266700"/>
            <a:chOff x="0" y="2161032"/>
            <a:chExt cx="6006209" cy="266700"/>
          </a:xfrm>
        </p:grpSpPr>
        <p:sp>
          <p:nvSpPr>
            <p:cNvPr id="15" name="Freeform: Shape 14">
              <a:extLst>
                <a:ext uri="{FF2B5EF4-FFF2-40B4-BE49-F238E27FC236}">
                  <a16:creationId xmlns:a16="http://schemas.microsoft.com/office/drawing/2014/main" id="{D0CB0E7A-7933-467F-B168-69AEB01ABB2E}"/>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7B03A7AE-CEF5-4216-A585-33CCFF6B91E5}"/>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84816815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Backpage 2">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a:solidFill>
                  <a:schemeClr val="tx1"/>
                </a:solidFill>
              </a:defRPr>
            </a:lvl2pPr>
            <a:lvl3pPr algn="l">
              <a:defRPr sz="6000" i="0" u="none">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5B7F25C4-5391-4351-A592-73666979B8D6}"/>
              </a:ext>
            </a:extLst>
          </p:cNvPr>
          <p:cNvGrpSpPr/>
          <p:nvPr userDrawn="1"/>
        </p:nvGrpSpPr>
        <p:grpSpPr>
          <a:xfrm>
            <a:off x="0" y="2161032"/>
            <a:ext cx="6006209" cy="266700"/>
            <a:chOff x="0" y="2161032"/>
            <a:chExt cx="6006209" cy="266700"/>
          </a:xfrm>
        </p:grpSpPr>
        <p:sp>
          <p:nvSpPr>
            <p:cNvPr id="17" name="Freeform: Shape 16">
              <a:extLst>
                <a:ext uri="{FF2B5EF4-FFF2-40B4-BE49-F238E27FC236}">
                  <a16:creationId xmlns:a16="http://schemas.microsoft.com/office/drawing/2014/main" id="{E4D40EB5-D7EF-4718-87C0-BC012360128F}"/>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5C4EE9B5-8FDD-4C14-8E74-0F02715AE664}"/>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1"/>
            </a:solidFill>
            <a:ln w="12700" cap="flat">
              <a:noFill/>
              <a:prstDash val="solid"/>
              <a:miter/>
            </a:ln>
          </p:spPr>
          <p:txBody>
            <a:bodyPr rtlCol="0" anchor="ctr"/>
            <a:lstStyle/>
            <a:p>
              <a:endParaRPr lang="en-GB"/>
            </a:p>
          </p:txBody>
        </p:sp>
      </p:grpSp>
      <p:sp>
        <p:nvSpPr>
          <p:cNvPr id="9" name="Company string">
            <a:extLst>
              <a:ext uri="{FF2B5EF4-FFF2-40B4-BE49-F238E27FC236}">
                <a16:creationId xmlns:a16="http://schemas.microsoft.com/office/drawing/2014/main" id="{905F3556-7389-46ED-AEED-155B03E06C8D}"/>
              </a:ext>
            </a:extLst>
          </p:cNvPr>
          <p:cNvSpPr txBox="1"/>
          <p:nvPr userDrawn="1"/>
        </p:nvSpPr>
        <p:spPr>
          <a:xfrm>
            <a:off x="719137" y="3357413"/>
            <a:ext cx="10753723" cy="2779864"/>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a:t>twobirds.com</a:t>
            </a:r>
          </a:p>
          <a:p>
            <a:pPr lvl="1">
              <a:spcAft>
                <a:spcPts val="1800"/>
              </a:spcAft>
            </a:pPr>
            <a:r>
              <a:rPr lang="en-GB" i="0">
                <a:solidFill>
                  <a:schemeClr val="dk2"/>
                </a:solidFill>
              </a:rPr>
              <a:t>● </a:t>
            </a:r>
            <a:r>
              <a:rPr lang="en-GB" i="0"/>
              <a:t>Abu Dhabi </a:t>
            </a:r>
            <a:r>
              <a:rPr lang="en-GB" i="0">
                <a:solidFill>
                  <a:schemeClr val="dk2"/>
                </a:solidFill>
              </a:rPr>
              <a:t>● </a:t>
            </a:r>
            <a:r>
              <a:rPr lang="en-GB" i="0"/>
              <a:t>Amsterdam </a:t>
            </a:r>
            <a:r>
              <a:rPr lang="en-GB" i="0">
                <a:solidFill>
                  <a:schemeClr val="dk2"/>
                </a:solidFill>
              </a:rPr>
              <a:t>● </a:t>
            </a:r>
            <a:r>
              <a:rPr lang="en-GB" i="0"/>
              <a:t>Beijing </a:t>
            </a:r>
            <a:r>
              <a:rPr lang="en-GB" i="0">
                <a:solidFill>
                  <a:schemeClr val="dk2"/>
                </a:solidFill>
              </a:rPr>
              <a:t>● </a:t>
            </a:r>
            <a:r>
              <a:rPr lang="en-GB" i="0"/>
              <a:t>Bratislava </a:t>
            </a:r>
            <a:r>
              <a:rPr lang="en-GB" i="0">
                <a:solidFill>
                  <a:schemeClr val="dk2"/>
                </a:solidFill>
              </a:rPr>
              <a:t>● </a:t>
            </a:r>
            <a:r>
              <a:rPr lang="en-GB" i="0"/>
              <a:t>Brussels </a:t>
            </a:r>
            <a:r>
              <a:rPr lang="en-GB" i="0">
                <a:solidFill>
                  <a:schemeClr val="dk2"/>
                </a:solidFill>
              </a:rPr>
              <a:t>● </a:t>
            </a:r>
            <a:r>
              <a:rPr lang="en-GB" i="0"/>
              <a:t>Budapest </a:t>
            </a:r>
            <a:r>
              <a:rPr lang="en-GB" i="0">
                <a:solidFill>
                  <a:schemeClr val="dk2"/>
                </a:solidFill>
              </a:rPr>
              <a:t>● </a:t>
            </a:r>
            <a:r>
              <a:rPr lang="en-GB" i="0"/>
              <a:t>Casablanca </a:t>
            </a:r>
            <a:r>
              <a:rPr lang="en-GB" i="0">
                <a:solidFill>
                  <a:schemeClr val="dk2"/>
                </a:solidFill>
              </a:rPr>
              <a:t>● </a:t>
            </a:r>
            <a:r>
              <a:rPr lang="en-GB" i="0"/>
              <a:t>Copenhagen </a:t>
            </a:r>
            <a:r>
              <a:rPr lang="en-GB" i="0">
                <a:solidFill>
                  <a:schemeClr val="dk2"/>
                </a:solidFill>
              </a:rPr>
              <a:t>● </a:t>
            </a:r>
            <a:r>
              <a:rPr lang="en-GB" i="0"/>
              <a:t>Dubai </a:t>
            </a:r>
            <a:r>
              <a:rPr lang="en-GB" i="0">
                <a:solidFill>
                  <a:schemeClr val="dk2"/>
                </a:solidFill>
              </a:rPr>
              <a:t>● </a:t>
            </a:r>
            <a:r>
              <a:rPr lang="en-GB" i="0"/>
              <a:t>Dusseldorf</a:t>
            </a:r>
            <a:br>
              <a:rPr lang="en-GB" i="0"/>
            </a:br>
            <a:r>
              <a:rPr lang="en-GB" i="0">
                <a:solidFill>
                  <a:schemeClr val="dk2"/>
                </a:solidFill>
              </a:rPr>
              <a:t>● </a:t>
            </a:r>
            <a:r>
              <a:rPr lang="en-GB" i="0"/>
              <a:t>Frankfurt </a:t>
            </a:r>
            <a:r>
              <a:rPr lang="en-GB" i="0">
                <a:solidFill>
                  <a:schemeClr val="dk2"/>
                </a:solidFill>
              </a:rPr>
              <a:t>● </a:t>
            </a:r>
            <a:r>
              <a:rPr lang="en-GB" i="0"/>
              <a:t>The Hague </a:t>
            </a:r>
            <a:r>
              <a:rPr lang="en-GB" i="0">
                <a:solidFill>
                  <a:schemeClr val="dk2"/>
                </a:solidFill>
              </a:rPr>
              <a:t>● </a:t>
            </a:r>
            <a:r>
              <a:rPr lang="en-GB" i="0"/>
              <a:t>Hamburg </a:t>
            </a:r>
            <a:r>
              <a:rPr lang="en-GB" i="0">
                <a:solidFill>
                  <a:schemeClr val="dk2"/>
                </a:solidFill>
              </a:rPr>
              <a:t>● </a:t>
            </a:r>
            <a:r>
              <a:rPr lang="en-GB" i="0"/>
              <a:t>Helsinki </a:t>
            </a:r>
            <a:r>
              <a:rPr lang="en-GB" i="0">
                <a:solidFill>
                  <a:schemeClr val="dk2"/>
                </a:solidFill>
              </a:rPr>
              <a:t>● </a:t>
            </a:r>
            <a:r>
              <a:rPr lang="en-GB" i="0"/>
              <a:t>Hong Kong </a:t>
            </a:r>
            <a:r>
              <a:rPr lang="en-GB" i="0">
                <a:solidFill>
                  <a:schemeClr val="dk2"/>
                </a:solidFill>
              </a:rPr>
              <a:t>● </a:t>
            </a:r>
            <a:r>
              <a:rPr lang="en-GB" i="0"/>
              <a:t>London </a:t>
            </a:r>
            <a:r>
              <a:rPr lang="en-GB" i="0">
                <a:solidFill>
                  <a:schemeClr val="dk2"/>
                </a:solidFill>
              </a:rPr>
              <a:t>● </a:t>
            </a:r>
            <a:r>
              <a:rPr lang="en-GB" i="0"/>
              <a:t>Luxembourg </a:t>
            </a:r>
            <a:r>
              <a:rPr lang="en-GB" i="0">
                <a:solidFill>
                  <a:schemeClr val="dk2"/>
                </a:solidFill>
              </a:rPr>
              <a:t>● </a:t>
            </a:r>
            <a:r>
              <a:rPr lang="en-GB" i="0"/>
              <a:t>Lyon </a:t>
            </a:r>
            <a:r>
              <a:rPr lang="en-GB" i="0">
                <a:solidFill>
                  <a:schemeClr val="dk2"/>
                </a:solidFill>
              </a:rPr>
              <a:t>● </a:t>
            </a:r>
            <a:r>
              <a:rPr lang="en-GB" i="0"/>
              <a:t>Madrid </a:t>
            </a:r>
            <a:r>
              <a:rPr lang="en-GB" i="0">
                <a:solidFill>
                  <a:schemeClr val="dk2"/>
                </a:solidFill>
              </a:rPr>
              <a:t>● </a:t>
            </a:r>
            <a:r>
              <a:rPr lang="en-GB" i="0"/>
              <a:t>Milan </a:t>
            </a:r>
            <a:r>
              <a:rPr lang="en-GB" i="0">
                <a:solidFill>
                  <a:schemeClr val="dk2"/>
                </a:solidFill>
              </a:rPr>
              <a:t>● </a:t>
            </a:r>
            <a:r>
              <a:rPr lang="en-GB" i="0"/>
              <a:t>Munich </a:t>
            </a:r>
            <a:r>
              <a:rPr lang="en-GB" i="0">
                <a:solidFill>
                  <a:schemeClr val="dk2"/>
                </a:solidFill>
              </a:rPr>
              <a:t>● </a:t>
            </a:r>
            <a:r>
              <a:rPr lang="en-GB" i="0"/>
              <a:t>Paris</a:t>
            </a:r>
            <a:br>
              <a:rPr lang="en-GB" i="0"/>
            </a:br>
            <a:r>
              <a:rPr lang="en-GB" i="0">
                <a:solidFill>
                  <a:schemeClr val="dk2"/>
                </a:solidFill>
              </a:rPr>
              <a:t>● </a:t>
            </a:r>
            <a:r>
              <a:rPr lang="en-GB" i="0"/>
              <a:t>Prague </a:t>
            </a:r>
            <a:r>
              <a:rPr lang="en-GB" i="0">
                <a:solidFill>
                  <a:schemeClr val="dk2"/>
                </a:solidFill>
              </a:rPr>
              <a:t>● </a:t>
            </a:r>
            <a:r>
              <a:rPr lang="en-GB" i="0"/>
              <a:t>Rome </a:t>
            </a:r>
            <a:r>
              <a:rPr lang="en-GB" i="0">
                <a:solidFill>
                  <a:schemeClr val="dk2"/>
                </a:solidFill>
              </a:rPr>
              <a:t>● </a:t>
            </a:r>
            <a:r>
              <a:rPr lang="en-GB" i="0"/>
              <a:t>San Francisco </a:t>
            </a:r>
            <a:r>
              <a:rPr lang="en-GB" i="0">
                <a:solidFill>
                  <a:schemeClr val="dk2"/>
                </a:solidFill>
              </a:rPr>
              <a:t>● </a:t>
            </a:r>
            <a:r>
              <a:rPr lang="en-GB" i="0"/>
              <a:t>Shanghai </a:t>
            </a:r>
            <a:r>
              <a:rPr lang="en-GB" i="0">
                <a:solidFill>
                  <a:schemeClr val="dk2"/>
                </a:solidFill>
              </a:rPr>
              <a:t>● </a:t>
            </a:r>
            <a:r>
              <a:rPr lang="en-GB" i="0"/>
              <a:t>Singapore </a:t>
            </a:r>
            <a:r>
              <a:rPr lang="en-GB" i="0">
                <a:solidFill>
                  <a:schemeClr val="dk2"/>
                </a:solidFill>
              </a:rPr>
              <a:t>● </a:t>
            </a:r>
            <a:r>
              <a:rPr lang="en-GB" i="0"/>
              <a:t>Stockholm </a:t>
            </a:r>
            <a:r>
              <a:rPr lang="en-GB" i="0">
                <a:solidFill>
                  <a:schemeClr val="dk2"/>
                </a:solidFill>
              </a:rPr>
              <a:t>● </a:t>
            </a:r>
            <a:r>
              <a:rPr lang="en-GB" i="0"/>
              <a:t>Sydney </a:t>
            </a:r>
            <a:r>
              <a:rPr lang="en-GB" i="0">
                <a:solidFill>
                  <a:schemeClr val="dk2"/>
                </a:solidFill>
              </a:rPr>
              <a:t>● </a:t>
            </a:r>
            <a:r>
              <a:rPr lang="en-GB" i="0"/>
              <a:t>Warsaw</a:t>
            </a:r>
          </a:p>
          <a:p>
            <a:pPr lvl="2">
              <a:lnSpc>
                <a:spcPct val="100000"/>
              </a:lnSpc>
              <a:spcBef>
                <a:spcPts val="300"/>
              </a:spcBef>
              <a:spcAft>
                <a:spcPts val="0"/>
              </a:spcAft>
            </a:pPr>
            <a:r>
              <a:rPr lang="en-GB" sz="800" i="0" kern="800" spc="-1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lvl="2">
              <a:lnSpc>
                <a:spcPct val="100000"/>
              </a:lnSpc>
              <a:spcBef>
                <a:spcPts val="300"/>
              </a:spcBef>
              <a:spcAft>
                <a:spcPts val="0"/>
              </a:spcAft>
            </a:pPr>
            <a:r>
              <a:rPr lang="en-GB" sz="800" i="0" kern="800" spc="-1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lvl="2">
              <a:lnSpc>
                <a:spcPct val="100000"/>
              </a:lnSpc>
              <a:spcBef>
                <a:spcPts val="300"/>
              </a:spcBef>
              <a:spcAft>
                <a:spcPts val="0"/>
              </a:spcAft>
            </a:pPr>
            <a:r>
              <a:rPr lang="en-GB" sz="800" i="0" kern="800" spc="-10">
                <a:latin typeface="+mn-lt"/>
              </a:rPr>
              <a:t>Bird &amp; Bird is an international legal practice comprising Bird &amp; Bird LLP and its affiliated and associated businesses.</a:t>
            </a:r>
          </a:p>
          <a:p>
            <a:pPr lvl="2">
              <a:lnSpc>
                <a:spcPct val="100000"/>
              </a:lnSpc>
              <a:spcBef>
                <a:spcPts val="300"/>
              </a:spcBef>
              <a:spcAft>
                <a:spcPts val="0"/>
              </a:spcAft>
            </a:pPr>
            <a:r>
              <a:rPr lang="en-GB" sz="800" i="0" kern="800" spc="-10">
                <a:latin typeface="+mn-lt"/>
              </a:rPr>
              <a:t>Bird &amp; Bird LLP is a limited liability partnership, registered in England and Wales with registered number OC340318 and is authorised and regulated by the Solicitors Regulation Authority (SRA) with SRA ID497264. Its registered office and principal place of business is at 12 New Fetter Lane, London EC4A 1JP. A list of members of Bird &amp; Bird LLP and of any non-members who are designated as partners, and of their respective professional qualifications, is open to inspection at that address.</a:t>
            </a:r>
            <a:endParaRPr lang="en-GB" sz="800" i="0" kern="800" spc="-10" baseline="0" dirty="0">
              <a:latin typeface="+mn-lt"/>
            </a:endParaRPr>
          </a:p>
        </p:txBody>
      </p:sp>
    </p:spTree>
    <p:extLst>
      <p:ext uri="{BB962C8B-B14F-4D97-AF65-F5344CB8AC3E}">
        <p14:creationId xmlns:p14="http://schemas.microsoft.com/office/powerpoint/2010/main" val="15981374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Subtitle 6">
    <p:bg>
      <p:bgPr>
        <a:solidFill>
          <a:schemeClr val="accent6"/>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498749428"/>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Backpage 3">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a:solidFill>
                  <a:schemeClr val="tx1"/>
                </a:solidFill>
              </a:defRPr>
            </a:lvl2pPr>
            <a:lvl3pPr algn="l">
              <a:defRPr sz="6000" i="0">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7BAFEFDD-A1D5-4013-90A4-2006FC450FC1}"/>
              </a:ext>
            </a:extLst>
          </p:cNvPr>
          <p:cNvGrpSpPr/>
          <p:nvPr userDrawn="1"/>
        </p:nvGrpSpPr>
        <p:grpSpPr>
          <a:xfrm>
            <a:off x="0" y="2161032"/>
            <a:ext cx="6006209" cy="266700"/>
            <a:chOff x="0" y="2161032"/>
            <a:chExt cx="6006209" cy="266700"/>
          </a:xfrm>
        </p:grpSpPr>
        <p:sp>
          <p:nvSpPr>
            <p:cNvPr id="17" name="Freeform: Shape 16">
              <a:extLst>
                <a:ext uri="{FF2B5EF4-FFF2-40B4-BE49-F238E27FC236}">
                  <a16:creationId xmlns:a16="http://schemas.microsoft.com/office/drawing/2014/main" id="{1F665660-FED0-4C90-B50D-D1B1550B3901}"/>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F6FE938-8548-4B30-8E6B-1BCF3E2AF45A}"/>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5"/>
            </a:solidFill>
            <a:ln w="12700" cap="flat">
              <a:noFill/>
              <a:prstDash val="solid"/>
              <a:miter/>
            </a:ln>
          </p:spPr>
          <p:txBody>
            <a:bodyPr rtlCol="0" anchor="ctr"/>
            <a:lstStyle/>
            <a:p>
              <a:endParaRPr lang="en-GB"/>
            </a:p>
          </p:txBody>
        </p:sp>
      </p:grpSp>
      <p:sp>
        <p:nvSpPr>
          <p:cNvPr id="9" name="Company string">
            <a:extLst>
              <a:ext uri="{FF2B5EF4-FFF2-40B4-BE49-F238E27FC236}">
                <a16:creationId xmlns:a16="http://schemas.microsoft.com/office/drawing/2014/main" id="{E73F8F8D-150C-4348-B806-6A5FA2941AEE}"/>
              </a:ext>
            </a:extLst>
          </p:cNvPr>
          <p:cNvSpPr txBox="1"/>
          <p:nvPr userDrawn="1"/>
        </p:nvSpPr>
        <p:spPr>
          <a:xfrm>
            <a:off x="719137" y="3357413"/>
            <a:ext cx="10753723" cy="2779864"/>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a:t>twobirds.com</a:t>
            </a:r>
          </a:p>
          <a:p>
            <a:pPr lvl="1">
              <a:spcAft>
                <a:spcPts val="1800"/>
              </a:spcAft>
            </a:pPr>
            <a:r>
              <a:rPr lang="en-GB" i="0">
                <a:solidFill>
                  <a:schemeClr val="dk2"/>
                </a:solidFill>
              </a:rPr>
              <a:t>● </a:t>
            </a:r>
            <a:r>
              <a:rPr lang="en-GB" i="0"/>
              <a:t>Abu Dhabi </a:t>
            </a:r>
            <a:r>
              <a:rPr lang="en-GB" i="0">
                <a:solidFill>
                  <a:schemeClr val="dk2"/>
                </a:solidFill>
              </a:rPr>
              <a:t>● </a:t>
            </a:r>
            <a:r>
              <a:rPr lang="en-GB" i="0"/>
              <a:t>Amsterdam </a:t>
            </a:r>
            <a:r>
              <a:rPr lang="en-GB" i="0">
                <a:solidFill>
                  <a:schemeClr val="dk2"/>
                </a:solidFill>
              </a:rPr>
              <a:t>● </a:t>
            </a:r>
            <a:r>
              <a:rPr lang="en-GB" i="0"/>
              <a:t>Beijing </a:t>
            </a:r>
            <a:r>
              <a:rPr lang="en-GB" i="0">
                <a:solidFill>
                  <a:schemeClr val="dk2"/>
                </a:solidFill>
              </a:rPr>
              <a:t>● </a:t>
            </a:r>
            <a:r>
              <a:rPr lang="en-GB" i="0"/>
              <a:t>Bratislava </a:t>
            </a:r>
            <a:r>
              <a:rPr lang="en-GB" i="0">
                <a:solidFill>
                  <a:schemeClr val="dk2"/>
                </a:solidFill>
              </a:rPr>
              <a:t>● </a:t>
            </a:r>
            <a:r>
              <a:rPr lang="en-GB" i="0"/>
              <a:t>Brussels </a:t>
            </a:r>
            <a:r>
              <a:rPr lang="en-GB" i="0">
                <a:solidFill>
                  <a:schemeClr val="dk2"/>
                </a:solidFill>
              </a:rPr>
              <a:t>● </a:t>
            </a:r>
            <a:r>
              <a:rPr lang="en-GB" i="0"/>
              <a:t>Budapest </a:t>
            </a:r>
            <a:r>
              <a:rPr lang="en-GB" i="0">
                <a:solidFill>
                  <a:schemeClr val="dk2"/>
                </a:solidFill>
              </a:rPr>
              <a:t>● </a:t>
            </a:r>
            <a:r>
              <a:rPr lang="en-GB" i="0"/>
              <a:t>Casablanca </a:t>
            </a:r>
            <a:r>
              <a:rPr lang="en-GB" i="0">
                <a:solidFill>
                  <a:schemeClr val="dk2"/>
                </a:solidFill>
              </a:rPr>
              <a:t>● </a:t>
            </a:r>
            <a:r>
              <a:rPr lang="en-GB" i="0"/>
              <a:t>Copenhagen </a:t>
            </a:r>
            <a:r>
              <a:rPr lang="en-GB" i="0">
                <a:solidFill>
                  <a:schemeClr val="dk2"/>
                </a:solidFill>
              </a:rPr>
              <a:t>● </a:t>
            </a:r>
            <a:r>
              <a:rPr lang="en-GB" i="0"/>
              <a:t>Dubai </a:t>
            </a:r>
            <a:r>
              <a:rPr lang="en-GB" i="0">
                <a:solidFill>
                  <a:schemeClr val="dk2"/>
                </a:solidFill>
              </a:rPr>
              <a:t>● </a:t>
            </a:r>
            <a:r>
              <a:rPr lang="en-GB" i="0"/>
              <a:t>Dusseldorf</a:t>
            </a:r>
            <a:br>
              <a:rPr lang="en-GB" i="0"/>
            </a:br>
            <a:r>
              <a:rPr lang="en-GB" i="0">
                <a:solidFill>
                  <a:schemeClr val="dk2"/>
                </a:solidFill>
              </a:rPr>
              <a:t>● </a:t>
            </a:r>
            <a:r>
              <a:rPr lang="en-GB" i="0"/>
              <a:t>Frankfurt </a:t>
            </a:r>
            <a:r>
              <a:rPr lang="en-GB" i="0">
                <a:solidFill>
                  <a:schemeClr val="dk2"/>
                </a:solidFill>
              </a:rPr>
              <a:t>● </a:t>
            </a:r>
            <a:r>
              <a:rPr lang="en-GB" i="0"/>
              <a:t>The Hague </a:t>
            </a:r>
            <a:r>
              <a:rPr lang="en-GB" i="0">
                <a:solidFill>
                  <a:schemeClr val="dk2"/>
                </a:solidFill>
              </a:rPr>
              <a:t>● </a:t>
            </a:r>
            <a:r>
              <a:rPr lang="en-GB" i="0"/>
              <a:t>Hamburg </a:t>
            </a:r>
            <a:r>
              <a:rPr lang="en-GB" i="0">
                <a:solidFill>
                  <a:schemeClr val="dk2"/>
                </a:solidFill>
              </a:rPr>
              <a:t>● </a:t>
            </a:r>
            <a:r>
              <a:rPr lang="en-GB" i="0"/>
              <a:t>Helsinki </a:t>
            </a:r>
            <a:r>
              <a:rPr lang="en-GB" i="0">
                <a:solidFill>
                  <a:schemeClr val="dk2"/>
                </a:solidFill>
              </a:rPr>
              <a:t>● </a:t>
            </a:r>
            <a:r>
              <a:rPr lang="en-GB" i="0"/>
              <a:t>Hong Kong </a:t>
            </a:r>
            <a:r>
              <a:rPr lang="en-GB" i="0">
                <a:solidFill>
                  <a:schemeClr val="dk2"/>
                </a:solidFill>
              </a:rPr>
              <a:t>● </a:t>
            </a:r>
            <a:r>
              <a:rPr lang="en-GB" i="0"/>
              <a:t>London </a:t>
            </a:r>
            <a:r>
              <a:rPr lang="en-GB" i="0">
                <a:solidFill>
                  <a:schemeClr val="dk2"/>
                </a:solidFill>
              </a:rPr>
              <a:t>● </a:t>
            </a:r>
            <a:r>
              <a:rPr lang="en-GB" i="0"/>
              <a:t>Luxembourg </a:t>
            </a:r>
            <a:r>
              <a:rPr lang="en-GB" i="0">
                <a:solidFill>
                  <a:schemeClr val="dk2"/>
                </a:solidFill>
              </a:rPr>
              <a:t>● </a:t>
            </a:r>
            <a:r>
              <a:rPr lang="en-GB" i="0"/>
              <a:t>Lyon </a:t>
            </a:r>
            <a:r>
              <a:rPr lang="en-GB" i="0">
                <a:solidFill>
                  <a:schemeClr val="dk2"/>
                </a:solidFill>
              </a:rPr>
              <a:t>● </a:t>
            </a:r>
            <a:r>
              <a:rPr lang="en-GB" i="0"/>
              <a:t>Madrid </a:t>
            </a:r>
            <a:r>
              <a:rPr lang="en-GB" i="0">
                <a:solidFill>
                  <a:schemeClr val="dk2"/>
                </a:solidFill>
              </a:rPr>
              <a:t>● </a:t>
            </a:r>
            <a:r>
              <a:rPr lang="en-GB" i="0"/>
              <a:t>Milan </a:t>
            </a:r>
            <a:r>
              <a:rPr lang="en-GB" i="0">
                <a:solidFill>
                  <a:schemeClr val="dk2"/>
                </a:solidFill>
              </a:rPr>
              <a:t>● </a:t>
            </a:r>
            <a:r>
              <a:rPr lang="en-GB" i="0"/>
              <a:t>Munich </a:t>
            </a:r>
            <a:r>
              <a:rPr lang="en-GB" i="0">
                <a:solidFill>
                  <a:schemeClr val="dk2"/>
                </a:solidFill>
              </a:rPr>
              <a:t>● </a:t>
            </a:r>
            <a:r>
              <a:rPr lang="en-GB" i="0"/>
              <a:t>Paris</a:t>
            </a:r>
            <a:br>
              <a:rPr lang="en-GB" i="0"/>
            </a:br>
            <a:r>
              <a:rPr lang="en-GB" i="0">
                <a:solidFill>
                  <a:schemeClr val="dk2"/>
                </a:solidFill>
              </a:rPr>
              <a:t>● </a:t>
            </a:r>
            <a:r>
              <a:rPr lang="en-GB" i="0"/>
              <a:t>Prague </a:t>
            </a:r>
            <a:r>
              <a:rPr lang="en-GB" i="0">
                <a:solidFill>
                  <a:schemeClr val="dk2"/>
                </a:solidFill>
              </a:rPr>
              <a:t>● </a:t>
            </a:r>
            <a:r>
              <a:rPr lang="en-GB" i="0"/>
              <a:t>Rome </a:t>
            </a:r>
            <a:r>
              <a:rPr lang="en-GB" i="0">
                <a:solidFill>
                  <a:schemeClr val="dk2"/>
                </a:solidFill>
              </a:rPr>
              <a:t>● </a:t>
            </a:r>
            <a:r>
              <a:rPr lang="en-GB" i="0"/>
              <a:t>San Francisco </a:t>
            </a:r>
            <a:r>
              <a:rPr lang="en-GB" i="0">
                <a:solidFill>
                  <a:schemeClr val="dk2"/>
                </a:solidFill>
              </a:rPr>
              <a:t>● </a:t>
            </a:r>
            <a:r>
              <a:rPr lang="en-GB" i="0"/>
              <a:t>Shanghai </a:t>
            </a:r>
            <a:r>
              <a:rPr lang="en-GB" i="0">
                <a:solidFill>
                  <a:schemeClr val="dk2"/>
                </a:solidFill>
              </a:rPr>
              <a:t>● </a:t>
            </a:r>
            <a:r>
              <a:rPr lang="en-GB" i="0"/>
              <a:t>Singapore </a:t>
            </a:r>
            <a:r>
              <a:rPr lang="en-GB" i="0">
                <a:solidFill>
                  <a:schemeClr val="dk2"/>
                </a:solidFill>
              </a:rPr>
              <a:t>● </a:t>
            </a:r>
            <a:r>
              <a:rPr lang="en-GB" i="0"/>
              <a:t>Stockholm </a:t>
            </a:r>
            <a:r>
              <a:rPr lang="en-GB" i="0">
                <a:solidFill>
                  <a:schemeClr val="dk2"/>
                </a:solidFill>
              </a:rPr>
              <a:t>● </a:t>
            </a:r>
            <a:r>
              <a:rPr lang="en-GB" i="0"/>
              <a:t>Sydney </a:t>
            </a:r>
            <a:r>
              <a:rPr lang="en-GB" i="0">
                <a:solidFill>
                  <a:schemeClr val="dk2"/>
                </a:solidFill>
              </a:rPr>
              <a:t>● </a:t>
            </a:r>
            <a:r>
              <a:rPr lang="en-GB" i="0"/>
              <a:t>Warsaw</a:t>
            </a:r>
          </a:p>
          <a:p>
            <a:pPr lvl="2">
              <a:lnSpc>
                <a:spcPct val="100000"/>
              </a:lnSpc>
              <a:spcBef>
                <a:spcPts val="300"/>
              </a:spcBef>
              <a:spcAft>
                <a:spcPts val="0"/>
              </a:spcAft>
            </a:pPr>
            <a:r>
              <a:rPr lang="en-GB" sz="800" i="0" kern="800" spc="-1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lvl="2">
              <a:lnSpc>
                <a:spcPct val="100000"/>
              </a:lnSpc>
              <a:spcBef>
                <a:spcPts val="300"/>
              </a:spcBef>
              <a:spcAft>
                <a:spcPts val="0"/>
              </a:spcAft>
            </a:pPr>
            <a:r>
              <a:rPr lang="en-GB" sz="800" i="0" kern="800" spc="-1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lvl="2">
              <a:lnSpc>
                <a:spcPct val="100000"/>
              </a:lnSpc>
              <a:spcBef>
                <a:spcPts val="300"/>
              </a:spcBef>
              <a:spcAft>
                <a:spcPts val="0"/>
              </a:spcAft>
            </a:pPr>
            <a:r>
              <a:rPr lang="en-GB" sz="800" i="0" kern="800" spc="-10">
                <a:latin typeface="+mn-lt"/>
              </a:rPr>
              <a:t>Bird &amp; Bird is an international legal practice comprising Bird &amp; Bird LLP and its affiliated and associated businesses.</a:t>
            </a:r>
          </a:p>
          <a:p>
            <a:pPr lvl="2">
              <a:lnSpc>
                <a:spcPct val="100000"/>
              </a:lnSpc>
              <a:spcBef>
                <a:spcPts val="300"/>
              </a:spcBef>
              <a:spcAft>
                <a:spcPts val="0"/>
              </a:spcAft>
            </a:pPr>
            <a:r>
              <a:rPr lang="en-GB" sz="800" i="0" kern="800" spc="-10">
                <a:latin typeface="+mn-lt"/>
              </a:rPr>
              <a:t>Bird &amp; Bird LLP is a limited liability partnership, registered in England and Wales with registered number OC340318 and is authorised and regulated by the Solicitors Regulation Authority (SRA) with SRA ID497264. Its registered office and principal place of business is at 12 New Fetter Lane, London EC4A 1JP. A list of members of Bird &amp; Bird LLP and of any non-members who are designated as partners, and of their respective professional qualifications, is open to inspection at that address.</a:t>
            </a:r>
            <a:endParaRPr lang="en-GB" sz="800" i="0" kern="800" spc="-10" baseline="0" dirty="0">
              <a:latin typeface="+mn-lt"/>
            </a:endParaRPr>
          </a:p>
        </p:txBody>
      </p:sp>
    </p:spTree>
    <p:extLst>
      <p:ext uri="{BB962C8B-B14F-4D97-AF65-F5344CB8AC3E}">
        <p14:creationId xmlns:p14="http://schemas.microsoft.com/office/powerpoint/2010/main" val="359755650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1">
    <p:bg>
      <p:bgPr>
        <a:solidFill>
          <a:schemeClr val="accent6"/>
        </a:solidFill>
        <a:effectLst/>
      </p:bgPr>
    </p:bg>
    <p:spTree>
      <p:nvGrpSpPr>
        <p:cNvPr id="1" name=""/>
        <p:cNvGrpSpPr/>
        <p:nvPr/>
      </p:nvGrpSpPr>
      <p:grpSpPr>
        <a:xfrm>
          <a:off x="0" y="0"/>
          <a:ext cx="0" cy="0"/>
          <a:chOff x="0" y="0"/>
          <a:chExt cx="0" cy="0"/>
        </a:xfrm>
      </p:grpSpPr>
      <p:sp>
        <p:nvSpPr>
          <p:cNvPr id="15" name="Company string">
            <a:extLst>
              <a:ext uri="{FF2B5EF4-FFF2-40B4-BE49-F238E27FC236}">
                <a16:creationId xmlns:a16="http://schemas.microsoft.com/office/drawing/2014/main" id="{3475BBE5-5D48-43AA-8A10-5D18E1065391}"/>
              </a:ext>
            </a:extLst>
          </p:cNvPr>
          <p:cNvSpPr txBox="1"/>
          <p:nvPr userDrawn="1"/>
        </p:nvSpPr>
        <p:spPr>
          <a:xfrm>
            <a:off x="719137" y="3357413"/>
            <a:ext cx="10753723" cy="2779864"/>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a:t>twobirds.com</a:t>
            </a:r>
          </a:p>
          <a:p>
            <a:pPr lvl="1">
              <a:spcAft>
                <a:spcPts val="1800"/>
              </a:spcAft>
            </a:pPr>
            <a:r>
              <a:rPr lang="en-GB" i="0">
                <a:solidFill>
                  <a:schemeClr val="dk2"/>
                </a:solidFill>
              </a:rPr>
              <a:t>● </a:t>
            </a:r>
            <a:r>
              <a:rPr lang="en-GB" i="0"/>
              <a:t>Abu Dhabi </a:t>
            </a:r>
            <a:r>
              <a:rPr lang="en-GB" i="0">
                <a:solidFill>
                  <a:schemeClr val="dk2"/>
                </a:solidFill>
              </a:rPr>
              <a:t>● </a:t>
            </a:r>
            <a:r>
              <a:rPr lang="en-GB" i="0"/>
              <a:t>Amsterdam </a:t>
            </a:r>
            <a:r>
              <a:rPr lang="en-GB" i="0">
                <a:solidFill>
                  <a:schemeClr val="dk2"/>
                </a:solidFill>
              </a:rPr>
              <a:t>● </a:t>
            </a:r>
            <a:r>
              <a:rPr lang="en-GB" i="0"/>
              <a:t>Beijing </a:t>
            </a:r>
            <a:r>
              <a:rPr lang="en-GB" i="0">
                <a:solidFill>
                  <a:schemeClr val="dk2"/>
                </a:solidFill>
              </a:rPr>
              <a:t>● </a:t>
            </a:r>
            <a:r>
              <a:rPr lang="en-GB" i="0"/>
              <a:t>Bratislava </a:t>
            </a:r>
            <a:r>
              <a:rPr lang="en-GB" i="0">
                <a:solidFill>
                  <a:schemeClr val="dk2"/>
                </a:solidFill>
              </a:rPr>
              <a:t>● </a:t>
            </a:r>
            <a:r>
              <a:rPr lang="en-GB" i="0"/>
              <a:t>Brussels </a:t>
            </a:r>
            <a:r>
              <a:rPr lang="en-GB" i="0">
                <a:solidFill>
                  <a:schemeClr val="dk2"/>
                </a:solidFill>
              </a:rPr>
              <a:t>● </a:t>
            </a:r>
            <a:r>
              <a:rPr lang="en-GB" i="0"/>
              <a:t>Budapest </a:t>
            </a:r>
            <a:r>
              <a:rPr lang="en-GB" i="0">
                <a:solidFill>
                  <a:schemeClr val="dk2"/>
                </a:solidFill>
              </a:rPr>
              <a:t>● </a:t>
            </a:r>
            <a:r>
              <a:rPr lang="en-GB" i="0"/>
              <a:t>Casablanca </a:t>
            </a:r>
            <a:r>
              <a:rPr lang="en-GB" i="0">
                <a:solidFill>
                  <a:schemeClr val="dk2"/>
                </a:solidFill>
              </a:rPr>
              <a:t>● </a:t>
            </a:r>
            <a:r>
              <a:rPr lang="en-GB" i="0"/>
              <a:t>Copenhagen </a:t>
            </a:r>
            <a:r>
              <a:rPr lang="en-GB" i="0">
                <a:solidFill>
                  <a:schemeClr val="dk2"/>
                </a:solidFill>
              </a:rPr>
              <a:t>● </a:t>
            </a:r>
            <a:r>
              <a:rPr lang="en-GB" i="0"/>
              <a:t>Dubai </a:t>
            </a:r>
            <a:r>
              <a:rPr lang="en-GB" i="0">
                <a:solidFill>
                  <a:schemeClr val="dk2"/>
                </a:solidFill>
              </a:rPr>
              <a:t>● </a:t>
            </a:r>
            <a:r>
              <a:rPr lang="en-GB" i="0"/>
              <a:t>Dusseldorf</a:t>
            </a:r>
            <a:br>
              <a:rPr lang="en-GB" i="0"/>
            </a:br>
            <a:r>
              <a:rPr lang="en-GB" i="0">
                <a:solidFill>
                  <a:schemeClr val="dk2"/>
                </a:solidFill>
              </a:rPr>
              <a:t>● </a:t>
            </a:r>
            <a:r>
              <a:rPr lang="en-GB" i="0"/>
              <a:t>Frankfurt </a:t>
            </a:r>
            <a:r>
              <a:rPr lang="en-GB" i="0">
                <a:solidFill>
                  <a:schemeClr val="dk2"/>
                </a:solidFill>
              </a:rPr>
              <a:t>● </a:t>
            </a:r>
            <a:r>
              <a:rPr lang="en-GB" i="0"/>
              <a:t>The Hague </a:t>
            </a:r>
            <a:r>
              <a:rPr lang="en-GB" i="0">
                <a:solidFill>
                  <a:schemeClr val="dk2"/>
                </a:solidFill>
              </a:rPr>
              <a:t>● </a:t>
            </a:r>
            <a:r>
              <a:rPr lang="en-GB" i="0"/>
              <a:t>Hamburg </a:t>
            </a:r>
            <a:r>
              <a:rPr lang="en-GB" i="0">
                <a:solidFill>
                  <a:schemeClr val="dk2"/>
                </a:solidFill>
              </a:rPr>
              <a:t>● </a:t>
            </a:r>
            <a:r>
              <a:rPr lang="en-GB" i="0"/>
              <a:t>Helsinki </a:t>
            </a:r>
            <a:r>
              <a:rPr lang="en-GB" i="0">
                <a:solidFill>
                  <a:schemeClr val="dk2"/>
                </a:solidFill>
              </a:rPr>
              <a:t>● </a:t>
            </a:r>
            <a:r>
              <a:rPr lang="en-GB" i="0"/>
              <a:t>Hong Kong </a:t>
            </a:r>
            <a:r>
              <a:rPr lang="en-GB" i="0">
                <a:solidFill>
                  <a:schemeClr val="dk2"/>
                </a:solidFill>
              </a:rPr>
              <a:t>● </a:t>
            </a:r>
            <a:r>
              <a:rPr lang="en-GB" i="0"/>
              <a:t>London </a:t>
            </a:r>
            <a:r>
              <a:rPr lang="en-GB" i="0">
                <a:solidFill>
                  <a:schemeClr val="dk2"/>
                </a:solidFill>
              </a:rPr>
              <a:t>● </a:t>
            </a:r>
            <a:r>
              <a:rPr lang="en-GB" i="0"/>
              <a:t>Luxembourg </a:t>
            </a:r>
            <a:r>
              <a:rPr lang="en-GB" i="0">
                <a:solidFill>
                  <a:schemeClr val="dk2"/>
                </a:solidFill>
              </a:rPr>
              <a:t>● </a:t>
            </a:r>
            <a:r>
              <a:rPr lang="en-GB" i="0"/>
              <a:t>Lyon </a:t>
            </a:r>
            <a:r>
              <a:rPr lang="en-GB" i="0">
                <a:solidFill>
                  <a:schemeClr val="dk2"/>
                </a:solidFill>
              </a:rPr>
              <a:t>● </a:t>
            </a:r>
            <a:r>
              <a:rPr lang="en-GB" i="0"/>
              <a:t>Madrid </a:t>
            </a:r>
            <a:r>
              <a:rPr lang="en-GB" i="0">
                <a:solidFill>
                  <a:schemeClr val="dk2"/>
                </a:solidFill>
              </a:rPr>
              <a:t>● </a:t>
            </a:r>
            <a:r>
              <a:rPr lang="en-GB" i="0"/>
              <a:t>Milan </a:t>
            </a:r>
            <a:r>
              <a:rPr lang="en-GB" i="0">
                <a:solidFill>
                  <a:schemeClr val="dk2"/>
                </a:solidFill>
              </a:rPr>
              <a:t>● </a:t>
            </a:r>
            <a:r>
              <a:rPr lang="en-GB" i="0"/>
              <a:t>Munich </a:t>
            </a:r>
            <a:r>
              <a:rPr lang="en-GB" i="0">
                <a:solidFill>
                  <a:schemeClr val="dk2"/>
                </a:solidFill>
              </a:rPr>
              <a:t>● </a:t>
            </a:r>
            <a:r>
              <a:rPr lang="en-GB" i="0"/>
              <a:t>Paris</a:t>
            </a:r>
            <a:br>
              <a:rPr lang="en-GB" i="0"/>
            </a:br>
            <a:r>
              <a:rPr lang="en-GB" i="0">
                <a:solidFill>
                  <a:schemeClr val="dk2"/>
                </a:solidFill>
              </a:rPr>
              <a:t>● </a:t>
            </a:r>
            <a:r>
              <a:rPr lang="en-GB" i="0"/>
              <a:t>Prague </a:t>
            </a:r>
            <a:r>
              <a:rPr lang="en-GB" i="0">
                <a:solidFill>
                  <a:schemeClr val="dk2"/>
                </a:solidFill>
              </a:rPr>
              <a:t>● </a:t>
            </a:r>
            <a:r>
              <a:rPr lang="en-GB" i="0"/>
              <a:t>Rome </a:t>
            </a:r>
            <a:r>
              <a:rPr lang="en-GB" i="0">
                <a:solidFill>
                  <a:schemeClr val="dk2"/>
                </a:solidFill>
              </a:rPr>
              <a:t>● </a:t>
            </a:r>
            <a:r>
              <a:rPr lang="en-GB" i="0"/>
              <a:t>San Francisco </a:t>
            </a:r>
            <a:r>
              <a:rPr lang="en-GB" i="0">
                <a:solidFill>
                  <a:schemeClr val="dk2"/>
                </a:solidFill>
              </a:rPr>
              <a:t>● </a:t>
            </a:r>
            <a:r>
              <a:rPr lang="en-GB" i="0"/>
              <a:t>Shanghai </a:t>
            </a:r>
            <a:r>
              <a:rPr lang="en-GB" i="0">
                <a:solidFill>
                  <a:schemeClr val="dk2"/>
                </a:solidFill>
              </a:rPr>
              <a:t>● </a:t>
            </a:r>
            <a:r>
              <a:rPr lang="en-GB" i="0"/>
              <a:t>Singapore </a:t>
            </a:r>
            <a:r>
              <a:rPr lang="en-GB" i="0">
                <a:solidFill>
                  <a:schemeClr val="dk2"/>
                </a:solidFill>
              </a:rPr>
              <a:t>● </a:t>
            </a:r>
            <a:r>
              <a:rPr lang="en-GB" i="0"/>
              <a:t>Stockholm </a:t>
            </a:r>
            <a:r>
              <a:rPr lang="en-GB" i="0">
                <a:solidFill>
                  <a:schemeClr val="dk2"/>
                </a:solidFill>
              </a:rPr>
              <a:t>● </a:t>
            </a:r>
            <a:r>
              <a:rPr lang="en-GB" i="0"/>
              <a:t>Sydney </a:t>
            </a:r>
            <a:r>
              <a:rPr lang="en-GB" i="0">
                <a:solidFill>
                  <a:schemeClr val="dk2"/>
                </a:solidFill>
              </a:rPr>
              <a:t>● </a:t>
            </a:r>
            <a:r>
              <a:rPr lang="en-GB" i="0"/>
              <a:t>Warsaw</a:t>
            </a:r>
          </a:p>
          <a:p>
            <a:pPr lvl="2">
              <a:lnSpc>
                <a:spcPct val="100000"/>
              </a:lnSpc>
              <a:spcBef>
                <a:spcPts val="300"/>
              </a:spcBef>
              <a:spcAft>
                <a:spcPts val="0"/>
              </a:spcAft>
            </a:pPr>
            <a:r>
              <a:rPr lang="en-GB" sz="800" i="0" kern="800" spc="-1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lvl="2">
              <a:lnSpc>
                <a:spcPct val="100000"/>
              </a:lnSpc>
              <a:spcBef>
                <a:spcPts val="300"/>
              </a:spcBef>
              <a:spcAft>
                <a:spcPts val="0"/>
              </a:spcAft>
            </a:pPr>
            <a:r>
              <a:rPr lang="en-GB" sz="800" i="0" kern="800" spc="-1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lvl="2">
              <a:lnSpc>
                <a:spcPct val="100000"/>
              </a:lnSpc>
              <a:spcBef>
                <a:spcPts val="300"/>
              </a:spcBef>
              <a:spcAft>
                <a:spcPts val="0"/>
              </a:spcAft>
            </a:pPr>
            <a:r>
              <a:rPr lang="en-GB" sz="800" i="0" kern="800" spc="-10">
                <a:latin typeface="+mn-lt"/>
              </a:rPr>
              <a:t>Bird &amp; Bird is an international legal practice comprising Bird &amp; Bird LLP and its affiliated and associated businesses.</a:t>
            </a:r>
          </a:p>
          <a:p>
            <a:pPr lvl="2">
              <a:lnSpc>
                <a:spcPct val="100000"/>
              </a:lnSpc>
              <a:spcBef>
                <a:spcPts val="300"/>
              </a:spcBef>
              <a:spcAft>
                <a:spcPts val="0"/>
              </a:spcAft>
            </a:pPr>
            <a:r>
              <a:rPr lang="en-GB" sz="800" i="0" kern="800" spc="-10">
                <a:latin typeface="+mn-lt"/>
              </a:rPr>
              <a:t>Bird &amp; Bird LLP is a limited liability partnership, registered in England and Wales with registered number OC340318 and is authorised and regulated by the Solicitors Regulation Authority (SRA) with SRA ID497264. Its registered office and principal place of business is at 12 New Fetter Lane, London EC4A 1JP. A list of members of Bird &amp; Bird LLP and of any non-members who are designated as partners, and of their respective professional qualifications, is open to inspection at that address.</a:t>
            </a:r>
            <a:endParaRPr lang="en-GB" sz="800" i="0" kern="800" spc="-10" baseline="0" dirty="0">
              <a:latin typeface="+mn-lt"/>
            </a:endParaRPr>
          </a:p>
        </p:txBody>
      </p:sp>
    </p:spTree>
    <p:extLst>
      <p:ext uri="{BB962C8B-B14F-4D97-AF65-F5344CB8AC3E}">
        <p14:creationId xmlns:p14="http://schemas.microsoft.com/office/powerpoint/2010/main" val="136704011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2">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04FC684B-9B4A-4FDA-AD5A-E5DA3CF560DD}"/>
              </a:ext>
            </a:extLst>
          </p:cNvPr>
          <p:cNvGrpSpPr/>
          <p:nvPr userDrawn="1"/>
        </p:nvGrpSpPr>
        <p:grpSpPr>
          <a:xfrm>
            <a:off x="-1143" y="3151164"/>
            <a:ext cx="6006773" cy="266725"/>
            <a:chOff x="-1143" y="3151164"/>
            <a:chExt cx="6006773" cy="266725"/>
          </a:xfrm>
        </p:grpSpPr>
        <p:sp>
          <p:nvSpPr>
            <p:cNvPr id="7" name="Freeform: Shape 6">
              <a:extLst>
                <a:ext uri="{FF2B5EF4-FFF2-40B4-BE49-F238E27FC236}">
                  <a16:creationId xmlns:a16="http://schemas.microsoft.com/office/drawing/2014/main" id="{5D4031D4-7972-416B-9488-E5FD790CDC76}"/>
                </a:ext>
              </a:extLst>
            </p:cNvPr>
            <p:cNvSpPr/>
            <p:nvPr/>
          </p:nvSpPr>
          <p:spPr>
            <a:xfrm>
              <a:off x="2199846" y="3151164"/>
              <a:ext cx="3805784" cy="266725"/>
            </a:xfrm>
            <a:custGeom>
              <a:avLst/>
              <a:gdLst>
                <a:gd name="connsiteX0" fmla="*/ 3672422 w 3805784"/>
                <a:gd name="connsiteY0" fmla="*/ 266725 h 266725"/>
                <a:gd name="connsiteX1" fmla="*/ 133363 w 3805784"/>
                <a:gd name="connsiteY1" fmla="*/ 266725 h 266725"/>
                <a:gd name="connsiteX2" fmla="*/ 0 w 3805784"/>
                <a:gd name="connsiteY2" fmla="*/ 133363 h 266725"/>
                <a:gd name="connsiteX3" fmla="*/ 133363 w 3805784"/>
                <a:gd name="connsiteY3" fmla="*/ 0 h 266725"/>
                <a:gd name="connsiteX4" fmla="*/ 3672422 w 3805784"/>
                <a:gd name="connsiteY4" fmla="*/ 0 h 266725"/>
                <a:gd name="connsiteX5" fmla="*/ 3805785 w 3805784"/>
                <a:gd name="connsiteY5" fmla="*/ 133363 h 266725"/>
                <a:gd name="connsiteX6" fmla="*/ 3672422 w 3805784"/>
                <a:gd name="connsiteY6" fmla="*/ 266725 h 2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784" h="266725">
                  <a:moveTo>
                    <a:pt x="3672422" y="266725"/>
                  </a:moveTo>
                  <a:lnTo>
                    <a:pt x="133363" y="266725"/>
                  </a:lnTo>
                  <a:cubicBezTo>
                    <a:pt x="59708" y="266725"/>
                    <a:pt x="0" y="207016"/>
                    <a:pt x="0" y="133363"/>
                  </a:cubicBezTo>
                  <a:cubicBezTo>
                    <a:pt x="0" y="59708"/>
                    <a:pt x="59708" y="0"/>
                    <a:pt x="133363" y="0"/>
                  </a:cubicBezTo>
                  <a:lnTo>
                    <a:pt x="3672422" y="0"/>
                  </a:lnTo>
                  <a:cubicBezTo>
                    <a:pt x="3746076" y="0"/>
                    <a:pt x="3805785" y="59708"/>
                    <a:pt x="3805785" y="133363"/>
                  </a:cubicBezTo>
                  <a:cubicBezTo>
                    <a:pt x="3805785" y="207016"/>
                    <a:pt x="3746076" y="266725"/>
                    <a:pt x="3672422" y="266725"/>
                  </a:cubicBezTo>
                  <a:close/>
                </a:path>
              </a:pathLst>
            </a:custGeom>
            <a:solidFill>
              <a:schemeClr val="tx2"/>
            </a:solidFill>
            <a:ln w="1270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9D659ED3-A38A-4C5E-9EA9-5359317A1A2D}"/>
                </a:ext>
              </a:extLst>
            </p:cNvPr>
            <p:cNvSpPr/>
            <p:nvPr/>
          </p:nvSpPr>
          <p:spPr>
            <a:xfrm>
              <a:off x="-1143" y="3151164"/>
              <a:ext cx="3273859" cy="266725"/>
            </a:xfrm>
            <a:custGeom>
              <a:avLst/>
              <a:gdLst>
                <a:gd name="connsiteX0" fmla="*/ 3273859 w 3273859"/>
                <a:gd name="connsiteY0" fmla="*/ 133363 h 266725"/>
                <a:gd name="connsiteX1" fmla="*/ 3140497 w 3273859"/>
                <a:gd name="connsiteY1" fmla="*/ 0 h 266725"/>
                <a:gd name="connsiteX2" fmla="*/ 0 w 3273859"/>
                <a:gd name="connsiteY2" fmla="*/ 0 h 266725"/>
                <a:gd name="connsiteX3" fmla="*/ 0 w 3273859"/>
                <a:gd name="connsiteY3" fmla="*/ 266725 h 266725"/>
                <a:gd name="connsiteX4" fmla="*/ 3140496 w 3273859"/>
                <a:gd name="connsiteY4" fmla="*/ 266725 h 266725"/>
                <a:gd name="connsiteX5" fmla="*/ 3273859 w 3273859"/>
                <a:gd name="connsiteY5" fmla="*/ 133363 h 2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859" h="266725">
                  <a:moveTo>
                    <a:pt x="3273859" y="133363"/>
                  </a:moveTo>
                  <a:cubicBezTo>
                    <a:pt x="3273859" y="59708"/>
                    <a:pt x="3214151" y="0"/>
                    <a:pt x="3140497" y="0"/>
                  </a:cubicBezTo>
                  <a:lnTo>
                    <a:pt x="0" y="0"/>
                  </a:lnTo>
                  <a:lnTo>
                    <a:pt x="0" y="266725"/>
                  </a:lnTo>
                  <a:lnTo>
                    <a:pt x="3140496" y="266725"/>
                  </a:lnTo>
                  <a:cubicBezTo>
                    <a:pt x="3214151" y="266725"/>
                    <a:pt x="3273859" y="207016"/>
                    <a:pt x="3273859" y="133363"/>
                  </a:cubicBezTo>
                  <a:close/>
                </a:path>
              </a:pathLst>
            </a:custGeom>
            <a:solidFill>
              <a:srgbClr val="85ABE3"/>
            </a:solidFill>
            <a:ln w="12700" cap="flat">
              <a:noFill/>
              <a:prstDash val="solid"/>
              <a:miter/>
            </a:ln>
          </p:spPr>
          <p:txBody>
            <a:bodyPr rtlCol="0" anchor="ctr"/>
            <a:lstStyle/>
            <a:p>
              <a:endParaRPr lang="en-GB"/>
            </a:p>
          </p:txBody>
        </p:sp>
      </p:grpSp>
      <p:sp>
        <p:nvSpPr>
          <p:cNvPr id="25" name="Company string">
            <a:extLst>
              <a:ext uri="{FF2B5EF4-FFF2-40B4-BE49-F238E27FC236}">
                <a16:creationId xmlns:a16="http://schemas.microsoft.com/office/drawing/2014/main" id="{74AE327E-BE78-44B5-802A-9526B798AEA9}"/>
              </a:ext>
            </a:extLst>
          </p:cNvPr>
          <p:cNvSpPr txBox="1"/>
          <p:nvPr userDrawn="1"/>
        </p:nvSpPr>
        <p:spPr>
          <a:xfrm>
            <a:off x="719137" y="3357413"/>
            <a:ext cx="10753723" cy="2779864"/>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a:t>twobirds.com</a:t>
            </a:r>
          </a:p>
          <a:p>
            <a:pPr lvl="1">
              <a:spcAft>
                <a:spcPts val="1800"/>
              </a:spcAft>
            </a:pPr>
            <a:r>
              <a:rPr lang="en-GB" i="0">
                <a:solidFill>
                  <a:schemeClr val="dk2"/>
                </a:solidFill>
              </a:rPr>
              <a:t>● </a:t>
            </a:r>
            <a:r>
              <a:rPr lang="en-GB" i="0"/>
              <a:t>Abu Dhabi </a:t>
            </a:r>
            <a:r>
              <a:rPr lang="en-GB" i="0">
                <a:solidFill>
                  <a:schemeClr val="dk2"/>
                </a:solidFill>
              </a:rPr>
              <a:t>● </a:t>
            </a:r>
            <a:r>
              <a:rPr lang="en-GB" i="0"/>
              <a:t>Amsterdam </a:t>
            </a:r>
            <a:r>
              <a:rPr lang="en-GB" i="0">
                <a:solidFill>
                  <a:schemeClr val="dk2"/>
                </a:solidFill>
              </a:rPr>
              <a:t>● </a:t>
            </a:r>
            <a:r>
              <a:rPr lang="en-GB" i="0"/>
              <a:t>Beijing </a:t>
            </a:r>
            <a:r>
              <a:rPr lang="en-GB" i="0">
                <a:solidFill>
                  <a:schemeClr val="dk2"/>
                </a:solidFill>
              </a:rPr>
              <a:t>● </a:t>
            </a:r>
            <a:r>
              <a:rPr lang="en-GB" i="0"/>
              <a:t>Bratislava </a:t>
            </a:r>
            <a:r>
              <a:rPr lang="en-GB" i="0">
                <a:solidFill>
                  <a:schemeClr val="dk2"/>
                </a:solidFill>
              </a:rPr>
              <a:t>● </a:t>
            </a:r>
            <a:r>
              <a:rPr lang="en-GB" i="0"/>
              <a:t>Brussels </a:t>
            </a:r>
            <a:r>
              <a:rPr lang="en-GB" i="0">
                <a:solidFill>
                  <a:schemeClr val="dk2"/>
                </a:solidFill>
              </a:rPr>
              <a:t>● </a:t>
            </a:r>
            <a:r>
              <a:rPr lang="en-GB" i="0"/>
              <a:t>Budapest </a:t>
            </a:r>
            <a:r>
              <a:rPr lang="en-GB" i="0">
                <a:solidFill>
                  <a:schemeClr val="dk2"/>
                </a:solidFill>
              </a:rPr>
              <a:t>● </a:t>
            </a:r>
            <a:r>
              <a:rPr lang="en-GB" i="0"/>
              <a:t>Casablanca </a:t>
            </a:r>
            <a:r>
              <a:rPr lang="en-GB" i="0">
                <a:solidFill>
                  <a:schemeClr val="dk2"/>
                </a:solidFill>
              </a:rPr>
              <a:t>● </a:t>
            </a:r>
            <a:r>
              <a:rPr lang="en-GB" i="0"/>
              <a:t>Copenhagen </a:t>
            </a:r>
            <a:r>
              <a:rPr lang="en-GB" i="0">
                <a:solidFill>
                  <a:schemeClr val="dk2"/>
                </a:solidFill>
              </a:rPr>
              <a:t>● </a:t>
            </a:r>
            <a:r>
              <a:rPr lang="en-GB" i="0"/>
              <a:t>Dubai </a:t>
            </a:r>
            <a:r>
              <a:rPr lang="en-GB" i="0">
                <a:solidFill>
                  <a:schemeClr val="dk2"/>
                </a:solidFill>
              </a:rPr>
              <a:t>● </a:t>
            </a:r>
            <a:r>
              <a:rPr lang="en-GB" i="0"/>
              <a:t>Dusseldorf</a:t>
            </a:r>
            <a:br>
              <a:rPr lang="en-GB" i="0"/>
            </a:br>
            <a:r>
              <a:rPr lang="en-GB" i="0">
                <a:solidFill>
                  <a:schemeClr val="dk2"/>
                </a:solidFill>
              </a:rPr>
              <a:t>● </a:t>
            </a:r>
            <a:r>
              <a:rPr lang="en-GB" i="0"/>
              <a:t>Frankfurt </a:t>
            </a:r>
            <a:r>
              <a:rPr lang="en-GB" i="0">
                <a:solidFill>
                  <a:schemeClr val="dk2"/>
                </a:solidFill>
              </a:rPr>
              <a:t>● </a:t>
            </a:r>
            <a:r>
              <a:rPr lang="en-GB" i="0"/>
              <a:t>The Hague </a:t>
            </a:r>
            <a:r>
              <a:rPr lang="en-GB" i="0">
                <a:solidFill>
                  <a:schemeClr val="dk2"/>
                </a:solidFill>
              </a:rPr>
              <a:t>● </a:t>
            </a:r>
            <a:r>
              <a:rPr lang="en-GB" i="0"/>
              <a:t>Hamburg </a:t>
            </a:r>
            <a:r>
              <a:rPr lang="en-GB" i="0">
                <a:solidFill>
                  <a:schemeClr val="dk2"/>
                </a:solidFill>
              </a:rPr>
              <a:t>● </a:t>
            </a:r>
            <a:r>
              <a:rPr lang="en-GB" i="0"/>
              <a:t>Helsinki </a:t>
            </a:r>
            <a:r>
              <a:rPr lang="en-GB" i="0">
                <a:solidFill>
                  <a:schemeClr val="dk2"/>
                </a:solidFill>
              </a:rPr>
              <a:t>● </a:t>
            </a:r>
            <a:r>
              <a:rPr lang="en-GB" i="0"/>
              <a:t>Hong Kong </a:t>
            </a:r>
            <a:r>
              <a:rPr lang="en-GB" i="0">
                <a:solidFill>
                  <a:schemeClr val="dk2"/>
                </a:solidFill>
              </a:rPr>
              <a:t>● </a:t>
            </a:r>
            <a:r>
              <a:rPr lang="en-GB" i="0"/>
              <a:t>London </a:t>
            </a:r>
            <a:r>
              <a:rPr lang="en-GB" i="0">
                <a:solidFill>
                  <a:schemeClr val="dk2"/>
                </a:solidFill>
              </a:rPr>
              <a:t>● </a:t>
            </a:r>
            <a:r>
              <a:rPr lang="en-GB" i="0"/>
              <a:t>Luxembourg </a:t>
            </a:r>
            <a:r>
              <a:rPr lang="en-GB" i="0">
                <a:solidFill>
                  <a:schemeClr val="dk2"/>
                </a:solidFill>
              </a:rPr>
              <a:t>● </a:t>
            </a:r>
            <a:r>
              <a:rPr lang="en-GB" i="0"/>
              <a:t>Lyon </a:t>
            </a:r>
            <a:r>
              <a:rPr lang="en-GB" i="0">
                <a:solidFill>
                  <a:schemeClr val="dk2"/>
                </a:solidFill>
              </a:rPr>
              <a:t>● </a:t>
            </a:r>
            <a:r>
              <a:rPr lang="en-GB" i="0"/>
              <a:t>Madrid </a:t>
            </a:r>
            <a:r>
              <a:rPr lang="en-GB" i="0">
                <a:solidFill>
                  <a:schemeClr val="dk2"/>
                </a:solidFill>
              </a:rPr>
              <a:t>● </a:t>
            </a:r>
            <a:r>
              <a:rPr lang="en-GB" i="0"/>
              <a:t>Milan </a:t>
            </a:r>
            <a:r>
              <a:rPr lang="en-GB" i="0">
                <a:solidFill>
                  <a:schemeClr val="dk2"/>
                </a:solidFill>
              </a:rPr>
              <a:t>● </a:t>
            </a:r>
            <a:r>
              <a:rPr lang="en-GB" i="0"/>
              <a:t>Munich </a:t>
            </a:r>
            <a:r>
              <a:rPr lang="en-GB" i="0">
                <a:solidFill>
                  <a:schemeClr val="dk2"/>
                </a:solidFill>
              </a:rPr>
              <a:t>● </a:t>
            </a:r>
            <a:r>
              <a:rPr lang="en-GB" i="0"/>
              <a:t>Paris</a:t>
            </a:r>
            <a:br>
              <a:rPr lang="en-GB" i="0"/>
            </a:br>
            <a:r>
              <a:rPr lang="en-GB" i="0">
                <a:solidFill>
                  <a:schemeClr val="dk2"/>
                </a:solidFill>
              </a:rPr>
              <a:t>● </a:t>
            </a:r>
            <a:r>
              <a:rPr lang="en-GB" i="0"/>
              <a:t>Prague </a:t>
            </a:r>
            <a:r>
              <a:rPr lang="en-GB" i="0">
                <a:solidFill>
                  <a:schemeClr val="dk2"/>
                </a:solidFill>
              </a:rPr>
              <a:t>● </a:t>
            </a:r>
            <a:r>
              <a:rPr lang="en-GB" i="0"/>
              <a:t>Rome </a:t>
            </a:r>
            <a:r>
              <a:rPr lang="en-GB" i="0">
                <a:solidFill>
                  <a:schemeClr val="dk2"/>
                </a:solidFill>
              </a:rPr>
              <a:t>● </a:t>
            </a:r>
            <a:r>
              <a:rPr lang="en-GB" i="0"/>
              <a:t>San Francisco </a:t>
            </a:r>
            <a:r>
              <a:rPr lang="en-GB" i="0">
                <a:solidFill>
                  <a:schemeClr val="dk2"/>
                </a:solidFill>
              </a:rPr>
              <a:t>● </a:t>
            </a:r>
            <a:r>
              <a:rPr lang="en-GB" i="0"/>
              <a:t>Shanghai </a:t>
            </a:r>
            <a:r>
              <a:rPr lang="en-GB" i="0">
                <a:solidFill>
                  <a:schemeClr val="dk2"/>
                </a:solidFill>
              </a:rPr>
              <a:t>● </a:t>
            </a:r>
            <a:r>
              <a:rPr lang="en-GB" i="0"/>
              <a:t>Singapore </a:t>
            </a:r>
            <a:r>
              <a:rPr lang="en-GB" i="0">
                <a:solidFill>
                  <a:schemeClr val="dk2"/>
                </a:solidFill>
              </a:rPr>
              <a:t>● </a:t>
            </a:r>
            <a:r>
              <a:rPr lang="en-GB" i="0"/>
              <a:t>Stockholm </a:t>
            </a:r>
            <a:r>
              <a:rPr lang="en-GB" i="0">
                <a:solidFill>
                  <a:schemeClr val="dk2"/>
                </a:solidFill>
              </a:rPr>
              <a:t>● </a:t>
            </a:r>
            <a:r>
              <a:rPr lang="en-GB" i="0"/>
              <a:t>Sydney </a:t>
            </a:r>
            <a:r>
              <a:rPr lang="en-GB" i="0">
                <a:solidFill>
                  <a:schemeClr val="dk2"/>
                </a:solidFill>
              </a:rPr>
              <a:t>● </a:t>
            </a:r>
            <a:r>
              <a:rPr lang="en-GB" i="0"/>
              <a:t>Warsaw</a:t>
            </a:r>
          </a:p>
          <a:p>
            <a:pPr lvl="2">
              <a:lnSpc>
                <a:spcPct val="100000"/>
              </a:lnSpc>
              <a:spcBef>
                <a:spcPts val="300"/>
              </a:spcBef>
              <a:spcAft>
                <a:spcPts val="0"/>
              </a:spcAft>
            </a:pPr>
            <a:r>
              <a:rPr lang="en-GB" sz="800" i="0" kern="800" spc="-1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lvl="2">
              <a:lnSpc>
                <a:spcPct val="100000"/>
              </a:lnSpc>
              <a:spcBef>
                <a:spcPts val="300"/>
              </a:spcBef>
              <a:spcAft>
                <a:spcPts val="0"/>
              </a:spcAft>
            </a:pPr>
            <a:r>
              <a:rPr lang="en-GB" sz="800" i="0" kern="800" spc="-1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lvl="2">
              <a:lnSpc>
                <a:spcPct val="100000"/>
              </a:lnSpc>
              <a:spcBef>
                <a:spcPts val="300"/>
              </a:spcBef>
              <a:spcAft>
                <a:spcPts val="0"/>
              </a:spcAft>
            </a:pPr>
            <a:r>
              <a:rPr lang="en-GB" sz="800" i="0" kern="800" spc="-10">
                <a:latin typeface="+mn-lt"/>
              </a:rPr>
              <a:t>Bird &amp; Bird is an international legal practice comprising Bird &amp; Bird LLP and its affiliated and associated businesses.</a:t>
            </a:r>
          </a:p>
          <a:p>
            <a:pPr lvl="2">
              <a:lnSpc>
                <a:spcPct val="100000"/>
              </a:lnSpc>
              <a:spcBef>
                <a:spcPts val="300"/>
              </a:spcBef>
              <a:spcAft>
                <a:spcPts val="0"/>
              </a:spcAft>
            </a:pPr>
            <a:r>
              <a:rPr lang="en-GB" sz="800" i="0" kern="800" spc="-10">
                <a:latin typeface="+mn-lt"/>
              </a:rPr>
              <a:t>Bird &amp; Bird LLP is a limited liability partnership, registered in England and Wales with registered number OC340318 and is authorised and regulated by the Solicitors Regulation Authority (SRA) with SRA ID497264. Its registered office and principal place of business is at 12 New Fetter Lane, London EC4A 1JP. A list of members of Bird &amp; Bird LLP and of any non-members who are designated as partners, and of their respective professional qualifications, is open to inspection at that address.</a:t>
            </a:r>
            <a:endParaRPr lang="en-GB" sz="800" i="0" kern="800" spc="-10" baseline="0" dirty="0">
              <a:latin typeface="+mn-lt"/>
            </a:endParaRPr>
          </a:p>
        </p:txBody>
      </p:sp>
    </p:spTree>
    <p:extLst>
      <p:ext uri="{BB962C8B-B14F-4D97-AF65-F5344CB8AC3E}">
        <p14:creationId xmlns:p14="http://schemas.microsoft.com/office/powerpoint/2010/main" val="134776152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3">
    <p:bg>
      <p:bgPr>
        <a:solidFill>
          <a:schemeClr val="accent6"/>
        </a:solidFill>
        <a:effectLst/>
      </p:bgPr>
    </p:bg>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68A69791-8F66-4248-B4BD-5CAA959AAC5B}"/>
              </a:ext>
            </a:extLst>
          </p:cNvPr>
          <p:cNvSpPr>
            <a:spLocks noGrp="1" noChangeAspect="1"/>
          </p:cNvSpPr>
          <p:nvPr>
            <p:ph type="pic" sz="quarter" idx="22"/>
          </p:nvPr>
        </p:nvSpPr>
        <p:spPr>
          <a:xfrm>
            <a:off x="6190039" y="719137"/>
            <a:ext cx="1641476" cy="1125159"/>
          </a:xfrm>
          <a:solidFill>
            <a:schemeClr val="bg2"/>
          </a:solidFill>
        </p:spPr>
        <p:txBody>
          <a:bodyPr/>
          <a:lstStyle/>
          <a:p>
            <a:r>
              <a:rPr lang="en-US"/>
              <a:t>Click icon to add picture</a:t>
            </a:r>
            <a:endParaRPr lang="en-GB" dirty="0"/>
          </a:p>
        </p:txBody>
      </p:sp>
      <p:sp>
        <p:nvSpPr>
          <p:cNvPr id="13" name="Name Placeholder 2">
            <a:extLst>
              <a:ext uri="{FF2B5EF4-FFF2-40B4-BE49-F238E27FC236}">
                <a16:creationId xmlns:a16="http://schemas.microsoft.com/office/drawing/2014/main" id="{AC03517A-2D8A-4F28-A43C-F4ED7F227273}"/>
              </a:ext>
            </a:extLst>
          </p:cNvPr>
          <p:cNvSpPr>
            <a:spLocks noGrp="1"/>
          </p:cNvSpPr>
          <p:nvPr>
            <p:ph type="body" sz="quarter" idx="23" hasCustomPrompt="1"/>
          </p:nvPr>
        </p:nvSpPr>
        <p:spPr>
          <a:xfrm>
            <a:off x="8004819"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14" name="Job Title 2">
            <a:extLst>
              <a:ext uri="{FF2B5EF4-FFF2-40B4-BE49-F238E27FC236}">
                <a16:creationId xmlns:a16="http://schemas.microsoft.com/office/drawing/2014/main" id="{3BED7B0B-FE39-4205-BCA3-898609E38CEB}"/>
              </a:ext>
            </a:extLst>
          </p:cNvPr>
          <p:cNvSpPr>
            <a:spLocks noGrp="1"/>
          </p:cNvSpPr>
          <p:nvPr>
            <p:ph type="body" sz="quarter" idx="24" hasCustomPrompt="1"/>
          </p:nvPr>
        </p:nvSpPr>
        <p:spPr>
          <a:xfrm>
            <a:off x="8004819"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15" name="Contact Details 2">
            <a:extLst>
              <a:ext uri="{FF2B5EF4-FFF2-40B4-BE49-F238E27FC236}">
                <a16:creationId xmlns:a16="http://schemas.microsoft.com/office/drawing/2014/main" id="{5075BC6D-C433-4358-B7E8-3CC989F09281}"/>
              </a:ext>
            </a:extLst>
          </p:cNvPr>
          <p:cNvSpPr>
            <a:spLocks noGrp="1"/>
          </p:cNvSpPr>
          <p:nvPr>
            <p:ph type="body" sz="quarter" idx="25" hasCustomPrompt="1"/>
          </p:nvPr>
        </p:nvSpPr>
        <p:spPr>
          <a:xfrm>
            <a:off x="8004819"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7" name="Picture Placeholder 1">
            <a:extLst>
              <a:ext uri="{FF2B5EF4-FFF2-40B4-BE49-F238E27FC236}">
                <a16:creationId xmlns:a16="http://schemas.microsoft.com/office/drawing/2014/main" id="{D094FB97-A611-4A6A-976C-667002DA3AF2}"/>
              </a:ext>
            </a:extLst>
          </p:cNvPr>
          <p:cNvSpPr>
            <a:spLocks noGrp="1" noChangeAspect="1"/>
          </p:cNvSpPr>
          <p:nvPr>
            <p:ph type="pic" sz="quarter" idx="18"/>
          </p:nvPr>
        </p:nvSpPr>
        <p:spPr>
          <a:xfrm>
            <a:off x="719137" y="719137"/>
            <a:ext cx="1641476" cy="1125159"/>
          </a:xfrm>
          <a:solidFill>
            <a:schemeClr val="bg2"/>
          </a:solidFill>
        </p:spPr>
        <p:txBody>
          <a:bodyPr/>
          <a:lstStyle/>
          <a:p>
            <a:r>
              <a:rPr lang="en-US"/>
              <a:t>Click icon to add picture</a:t>
            </a:r>
            <a:endParaRPr lang="en-GB" dirty="0"/>
          </a:p>
        </p:txBody>
      </p:sp>
      <p:sp>
        <p:nvSpPr>
          <p:cNvPr id="48" name="Name Placeholder 1">
            <a:extLst>
              <a:ext uri="{FF2B5EF4-FFF2-40B4-BE49-F238E27FC236}">
                <a16:creationId xmlns:a16="http://schemas.microsoft.com/office/drawing/2014/main" id="{234477CA-2216-46EC-85FB-45BFC31BDFFC}"/>
              </a:ext>
            </a:extLst>
          </p:cNvPr>
          <p:cNvSpPr>
            <a:spLocks noGrp="1"/>
          </p:cNvSpPr>
          <p:nvPr>
            <p:ph type="body" sz="quarter" idx="19" hasCustomPrompt="1"/>
          </p:nvPr>
        </p:nvSpPr>
        <p:spPr>
          <a:xfrm>
            <a:off x="2549713"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9" name="Job Title 1">
            <a:extLst>
              <a:ext uri="{FF2B5EF4-FFF2-40B4-BE49-F238E27FC236}">
                <a16:creationId xmlns:a16="http://schemas.microsoft.com/office/drawing/2014/main" id="{DE1173B7-7D1B-41AC-A56A-5CAB2050BF21}"/>
              </a:ext>
            </a:extLst>
          </p:cNvPr>
          <p:cNvSpPr>
            <a:spLocks noGrp="1"/>
          </p:cNvSpPr>
          <p:nvPr>
            <p:ph type="body" sz="quarter" idx="20" hasCustomPrompt="1"/>
          </p:nvPr>
        </p:nvSpPr>
        <p:spPr>
          <a:xfrm>
            <a:off x="2549713"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0" name="Contact Details 1">
            <a:extLst>
              <a:ext uri="{FF2B5EF4-FFF2-40B4-BE49-F238E27FC236}">
                <a16:creationId xmlns:a16="http://schemas.microsoft.com/office/drawing/2014/main" id="{2CB3E333-E395-401C-84C4-710A919D98F0}"/>
              </a:ext>
            </a:extLst>
          </p:cNvPr>
          <p:cNvSpPr>
            <a:spLocks noGrp="1"/>
          </p:cNvSpPr>
          <p:nvPr>
            <p:ph type="body" sz="quarter" idx="21" hasCustomPrompt="1"/>
          </p:nvPr>
        </p:nvSpPr>
        <p:spPr>
          <a:xfrm>
            <a:off x="2549713"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23" name="Company string">
            <a:extLst>
              <a:ext uri="{FF2B5EF4-FFF2-40B4-BE49-F238E27FC236}">
                <a16:creationId xmlns:a16="http://schemas.microsoft.com/office/drawing/2014/main" id="{D5E9259D-4B74-4885-BACA-341C27531D1C}"/>
              </a:ext>
            </a:extLst>
          </p:cNvPr>
          <p:cNvSpPr txBox="1"/>
          <p:nvPr userDrawn="1"/>
        </p:nvSpPr>
        <p:spPr>
          <a:xfrm>
            <a:off x="719137" y="3357413"/>
            <a:ext cx="10753723" cy="2779864"/>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a:t>twobirds.com</a:t>
            </a:r>
          </a:p>
          <a:p>
            <a:pPr lvl="1">
              <a:spcAft>
                <a:spcPts val="1800"/>
              </a:spcAft>
            </a:pPr>
            <a:r>
              <a:rPr lang="en-GB" i="0">
                <a:solidFill>
                  <a:schemeClr val="dk2"/>
                </a:solidFill>
              </a:rPr>
              <a:t>● </a:t>
            </a:r>
            <a:r>
              <a:rPr lang="en-GB" i="0"/>
              <a:t>Abu Dhabi </a:t>
            </a:r>
            <a:r>
              <a:rPr lang="en-GB" i="0">
                <a:solidFill>
                  <a:schemeClr val="dk2"/>
                </a:solidFill>
              </a:rPr>
              <a:t>● </a:t>
            </a:r>
            <a:r>
              <a:rPr lang="en-GB" i="0"/>
              <a:t>Amsterdam </a:t>
            </a:r>
            <a:r>
              <a:rPr lang="en-GB" i="0">
                <a:solidFill>
                  <a:schemeClr val="dk2"/>
                </a:solidFill>
              </a:rPr>
              <a:t>● </a:t>
            </a:r>
            <a:r>
              <a:rPr lang="en-GB" i="0"/>
              <a:t>Beijing </a:t>
            </a:r>
            <a:r>
              <a:rPr lang="en-GB" i="0">
                <a:solidFill>
                  <a:schemeClr val="dk2"/>
                </a:solidFill>
              </a:rPr>
              <a:t>● </a:t>
            </a:r>
            <a:r>
              <a:rPr lang="en-GB" i="0"/>
              <a:t>Bratislava </a:t>
            </a:r>
            <a:r>
              <a:rPr lang="en-GB" i="0">
                <a:solidFill>
                  <a:schemeClr val="dk2"/>
                </a:solidFill>
              </a:rPr>
              <a:t>● </a:t>
            </a:r>
            <a:r>
              <a:rPr lang="en-GB" i="0"/>
              <a:t>Brussels </a:t>
            </a:r>
            <a:r>
              <a:rPr lang="en-GB" i="0">
                <a:solidFill>
                  <a:schemeClr val="dk2"/>
                </a:solidFill>
              </a:rPr>
              <a:t>● </a:t>
            </a:r>
            <a:r>
              <a:rPr lang="en-GB" i="0"/>
              <a:t>Budapest </a:t>
            </a:r>
            <a:r>
              <a:rPr lang="en-GB" i="0">
                <a:solidFill>
                  <a:schemeClr val="dk2"/>
                </a:solidFill>
              </a:rPr>
              <a:t>● </a:t>
            </a:r>
            <a:r>
              <a:rPr lang="en-GB" i="0"/>
              <a:t>Casablanca </a:t>
            </a:r>
            <a:r>
              <a:rPr lang="en-GB" i="0">
                <a:solidFill>
                  <a:schemeClr val="dk2"/>
                </a:solidFill>
              </a:rPr>
              <a:t>● </a:t>
            </a:r>
            <a:r>
              <a:rPr lang="en-GB" i="0"/>
              <a:t>Copenhagen </a:t>
            </a:r>
            <a:r>
              <a:rPr lang="en-GB" i="0">
                <a:solidFill>
                  <a:schemeClr val="dk2"/>
                </a:solidFill>
              </a:rPr>
              <a:t>● </a:t>
            </a:r>
            <a:r>
              <a:rPr lang="en-GB" i="0"/>
              <a:t>Dubai </a:t>
            </a:r>
            <a:r>
              <a:rPr lang="en-GB" i="0">
                <a:solidFill>
                  <a:schemeClr val="dk2"/>
                </a:solidFill>
              </a:rPr>
              <a:t>● </a:t>
            </a:r>
            <a:r>
              <a:rPr lang="en-GB" i="0"/>
              <a:t>Dusseldorf</a:t>
            </a:r>
            <a:br>
              <a:rPr lang="en-GB" i="0"/>
            </a:br>
            <a:r>
              <a:rPr lang="en-GB" i="0">
                <a:solidFill>
                  <a:schemeClr val="dk2"/>
                </a:solidFill>
              </a:rPr>
              <a:t>● </a:t>
            </a:r>
            <a:r>
              <a:rPr lang="en-GB" i="0"/>
              <a:t>Frankfurt </a:t>
            </a:r>
            <a:r>
              <a:rPr lang="en-GB" i="0">
                <a:solidFill>
                  <a:schemeClr val="dk2"/>
                </a:solidFill>
              </a:rPr>
              <a:t>● </a:t>
            </a:r>
            <a:r>
              <a:rPr lang="en-GB" i="0"/>
              <a:t>The Hague </a:t>
            </a:r>
            <a:r>
              <a:rPr lang="en-GB" i="0">
                <a:solidFill>
                  <a:schemeClr val="dk2"/>
                </a:solidFill>
              </a:rPr>
              <a:t>● </a:t>
            </a:r>
            <a:r>
              <a:rPr lang="en-GB" i="0"/>
              <a:t>Hamburg </a:t>
            </a:r>
            <a:r>
              <a:rPr lang="en-GB" i="0">
                <a:solidFill>
                  <a:schemeClr val="dk2"/>
                </a:solidFill>
              </a:rPr>
              <a:t>● </a:t>
            </a:r>
            <a:r>
              <a:rPr lang="en-GB" i="0"/>
              <a:t>Helsinki </a:t>
            </a:r>
            <a:r>
              <a:rPr lang="en-GB" i="0">
                <a:solidFill>
                  <a:schemeClr val="dk2"/>
                </a:solidFill>
              </a:rPr>
              <a:t>● </a:t>
            </a:r>
            <a:r>
              <a:rPr lang="en-GB" i="0"/>
              <a:t>Hong Kong </a:t>
            </a:r>
            <a:r>
              <a:rPr lang="en-GB" i="0">
                <a:solidFill>
                  <a:schemeClr val="dk2"/>
                </a:solidFill>
              </a:rPr>
              <a:t>● </a:t>
            </a:r>
            <a:r>
              <a:rPr lang="en-GB" i="0"/>
              <a:t>London </a:t>
            </a:r>
            <a:r>
              <a:rPr lang="en-GB" i="0">
                <a:solidFill>
                  <a:schemeClr val="dk2"/>
                </a:solidFill>
              </a:rPr>
              <a:t>● </a:t>
            </a:r>
            <a:r>
              <a:rPr lang="en-GB" i="0"/>
              <a:t>Luxembourg </a:t>
            </a:r>
            <a:r>
              <a:rPr lang="en-GB" i="0">
                <a:solidFill>
                  <a:schemeClr val="dk2"/>
                </a:solidFill>
              </a:rPr>
              <a:t>● </a:t>
            </a:r>
            <a:r>
              <a:rPr lang="en-GB" i="0"/>
              <a:t>Lyon </a:t>
            </a:r>
            <a:r>
              <a:rPr lang="en-GB" i="0">
                <a:solidFill>
                  <a:schemeClr val="dk2"/>
                </a:solidFill>
              </a:rPr>
              <a:t>● </a:t>
            </a:r>
            <a:r>
              <a:rPr lang="en-GB" i="0"/>
              <a:t>Madrid </a:t>
            </a:r>
            <a:r>
              <a:rPr lang="en-GB" i="0">
                <a:solidFill>
                  <a:schemeClr val="dk2"/>
                </a:solidFill>
              </a:rPr>
              <a:t>● </a:t>
            </a:r>
            <a:r>
              <a:rPr lang="en-GB" i="0"/>
              <a:t>Milan </a:t>
            </a:r>
            <a:r>
              <a:rPr lang="en-GB" i="0">
                <a:solidFill>
                  <a:schemeClr val="dk2"/>
                </a:solidFill>
              </a:rPr>
              <a:t>● </a:t>
            </a:r>
            <a:r>
              <a:rPr lang="en-GB" i="0"/>
              <a:t>Munich </a:t>
            </a:r>
            <a:r>
              <a:rPr lang="en-GB" i="0">
                <a:solidFill>
                  <a:schemeClr val="dk2"/>
                </a:solidFill>
              </a:rPr>
              <a:t>● </a:t>
            </a:r>
            <a:r>
              <a:rPr lang="en-GB" i="0"/>
              <a:t>Paris</a:t>
            </a:r>
            <a:br>
              <a:rPr lang="en-GB" i="0"/>
            </a:br>
            <a:r>
              <a:rPr lang="en-GB" i="0">
                <a:solidFill>
                  <a:schemeClr val="dk2"/>
                </a:solidFill>
              </a:rPr>
              <a:t>● </a:t>
            </a:r>
            <a:r>
              <a:rPr lang="en-GB" i="0"/>
              <a:t>Prague </a:t>
            </a:r>
            <a:r>
              <a:rPr lang="en-GB" i="0">
                <a:solidFill>
                  <a:schemeClr val="dk2"/>
                </a:solidFill>
              </a:rPr>
              <a:t>● </a:t>
            </a:r>
            <a:r>
              <a:rPr lang="en-GB" i="0"/>
              <a:t>Rome </a:t>
            </a:r>
            <a:r>
              <a:rPr lang="en-GB" i="0">
                <a:solidFill>
                  <a:schemeClr val="dk2"/>
                </a:solidFill>
              </a:rPr>
              <a:t>● </a:t>
            </a:r>
            <a:r>
              <a:rPr lang="en-GB" i="0"/>
              <a:t>San Francisco </a:t>
            </a:r>
            <a:r>
              <a:rPr lang="en-GB" i="0">
                <a:solidFill>
                  <a:schemeClr val="dk2"/>
                </a:solidFill>
              </a:rPr>
              <a:t>● </a:t>
            </a:r>
            <a:r>
              <a:rPr lang="en-GB" i="0"/>
              <a:t>Shanghai </a:t>
            </a:r>
            <a:r>
              <a:rPr lang="en-GB" i="0">
                <a:solidFill>
                  <a:schemeClr val="dk2"/>
                </a:solidFill>
              </a:rPr>
              <a:t>● </a:t>
            </a:r>
            <a:r>
              <a:rPr lang="en-GB" i="0"/>
              <a:t>Singapore </a:t>
            </a:r>
            <a:r>
              <a:rPr lang="en-GB" i="0">
                <a:solidFill>
                  <a:schemeClr val="dk2"/>
                </a:solidFill>
              </a:rPr>
              <a:t>● </a:t>
            </a:r>
            <a:r>
              <a:rPr lang="en-GB" i="0"/>
              <a:t>Stockholm </a:t>
            </a:r>
            <a:r>
              <a:rPr lang="en-GB" i="0">
                <a:solidFill>
                  <a:schemeClr val="dk2"/>
                </a:solidFill>
              </a:rPr>
              <a:t>● </a:t>
            </a:r>
            <a:r>
              <a:rPr lang="en-GB" i="0"/>
              <a:t>Sydney </a:t>
            </a:r>
            <a:r>
              <a:rPr lang="en-GB" i="0">
                <a:solidFill>
                  <a:schemeClr val="dk2"/>
                </a:solidFill>
              </a:rPr>
              <a:t>● </a:t>
            </a:r>
            <a:r>
              <a:rPr lang="en-GB" i="0"/>
              <a:t>Warsaw</a:t>
            </a:r>
          </a:p>
          <a:p>
            <a:pPr lvl="2">
              <a:lnSpc>
                <a:spcPct val="100000"/>
              </a:lnSpc>
              <a:spcBef>
                <a:spcPts val="300"/>
              </a:spcBef>
              <a:spcAft>
                <a:spcPts val="0"/>
              </a:spcAft>
            </a:pPr>
            <a:r>
              <a:rPr lang="en-GB" sz="800" i="0" kern="800" spc="-1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lvl="2">
              <a:lnSpc>
                <a:spcPct val="100000"/>
              </a:lnSpc>
              <a:spcBef>
                <a:spcPts val="300"/>
              </a:spcBef>
              <a:spcAft>
                <a:spcPts val="0"/>
              </a:spcAft>
            </a:pPr>
            <a:r>
              <a:rPr lang="en-GB" sz="800" i="0" kern="800" spc="-1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lvl="2">
              <a:lnSpc>
                <a:spcPct val="100000"/>
              </a:lnSpc>
              <a:spcBef>
                <a:spcPts val="300"/>
              </a:spcBef>
              <a:spcAft>
                <a:spcPts val="0"/>
              </a:spcAft>
            </a:pPr>
            <a:r>
              <a:rPr lang="en-GB" sz="800" i="0" kern="800" spc="-10">
                <a:latin typeface="+mn-lt"/>
              </a:rPr>
              <a:t>Bird &amp; Bird is an international legal practice comprising Bird &amp; Bird LLP and its affiliated and associated businesses.</a:t>
            </a:r>
          </a:p>
          <a:p>
            <a:pPr lvl="2">
              <a:lnSpc>
                <a:spcPct val="100000"/>
              </a:lnSpc>
              <a:spcBef>
                <a:spcPts val="300"/>
              </a:spcBef>
              <a:spcAft>
                <a:spcPts val="0"/>
              </a:spcAft>
            </a:pPr>
            <a:r>
              <a:rPr lang="en-GB" sz="800" i="0" kern="800" spc="-10">
                <a:latin typeface="+mn-lt"/>
              </a:rPr>
              <a:t>Bird &amp; Bird LLP is a limited liability partnership, registered in England and Wales with registered number OC340318 and is authorised and regulated by the Solicitors Regulation Authority (SRA) with SRA ID497264. Its registered office and principal place of business is at 12 New Fetter Lane, London EC4A 1JP. A list of members of Bird &amp; Bird LLP and of any non-members who are designated as partners, and of their respective professional qualifications, is open to inspection at that address.</a:t>
            </a:r>
            <a:endParaRPr lang="en-GB" sz="800" i="0" kern="800" spc="-10" baseline="0" dirty="0">
              <a:latin typeface="+mn-lt"/>
            </a:endParaRPr>
          </a:p>
        </p:txBody>
      </p:sp>
    </p:spTree>
    <p:extLst>
      <p:ext uri="{BB962C8B-B14F-4D97-AF65-F5344CB8AC3E}">
        <p14:creationId xmlns:p14="http://schemas.microsoft.com/office/powerpoint/2010/main" val="31361077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Subtitle 7">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411244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30804"/>
            <a:ext cx="10752137"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280429050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8">
    <p:bg>
      <p:bgPr>
        <a:solidFill>
          <a:schemeClr val="accent5"/>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grpSp>
        <p:nvGrpSpPr>
          <p:cNvPr id="11" name="Group 10">
            <a:extLst>
              <a:ext uri="{FF2B5EF4-FFF2-40B4-BE49-F238E27FC236}">
                <a16:creationId xmlns:a16="http://schemas.microsoft.com/office/drawing/2014/main" id="{D202DB31-16C5-4FA3-852C-A940D8BE4910}"/>
              </a:ext>
            </a:extLst>
          </p:cNvPr>
          <p:cNvGrpSpPr/>
          <p:nvPr userDrawn="1"/>
        </p:nvGrpSpPr>
        <p:grpSpPr>
          <a:xfrm>
            <a:off x="10733882" y="0"/>
            <a:ext cx="1458118" cy="4629473"/>
            <a:chOff x="10733882" y="0"/>
            <a:chExt cx="1458118" cy="4629473"/>
          </a:xfrm>
        </p:grpSpPr>
        <p:sp>
          <p:nvSpPr>
            <p:cNvPr id="12" name="Freeform: Shape 11">
              <a:extLst>
                <a:ext uri="{FF2B5EF4-FFF2-40B4-BE49-F238E27FC236}">
                  <a16:creationId xmlns:a16="http://schemas.microsoft.com/office/drawing/2014/main" id="{7D4071B5-1F44-4E9B-9556-AA2FFAE39D46}"/>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chemeClr val="tx2"/>
            </a:solidFill>
            <a:ln w="12690" cap="flat">
              <a:noFill/>
              <a:prstDash val="solid"/>
              <a:miter/>
            </a:ln>
          </p:spPr>
          <p:txBody>
            <a:bodyPr rtlCol="0" anchor="ctr"/>
            <a:lstStyle/>
            <a:p>
              <a:endParaRPr lang="en-GB" dirty="0"/>
            </a:p>
          </p:txBody>
        </p:sp>
        <p:sp>
          <p:nvSpPr>
            <p:cNvPr id="13" name="Freeform: Shape 12">
              <a:extLst>
                <a:ext uri="{FF2B5EF4-FFF2-40B4-BE49-F238E27FC236}">
                  <a16:creationId xmlns:a16="http://schemas.microsoft.com/office/drawing/2014/main" id="{80D39D0D-F812-465D-A10D-687AA8034212}"/>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bg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138307496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Subtitle 9">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23F42A6-7097-4D1F-8F48-FDAEECAAEB72}"/>
              </a:ext>
            </a:extLst>
          </p:cNvPr>
          <p:cNvGrpSpPr/>
          <p:nvPr userDrawn="1"/>
        </p:nvGrpSpPr>
        <p:grpSpPr>
          <a:xfrm>
            <a:off x="8944357" y="1706544"/>
            <a:ext cx="3247771" cy="5151963"/>
            <a:chOff x="8944357" y="1706544"/>
            <a:chExt cx="3247771" cy="5151963"/>
          </a:xfrm>
        </p:grpSpPr>
        <p:sp>
          <p:nvSpPr>
            <p:cNvPr id="15" name="Freeform: Shape 14">
              <a:extLst>
                <a:ext uri="{FF2B5EF4-FFF2-40B4-BE49-F238E27FC236}">
                  <a16:creationId xmlns:a16="http://schemas.microsoft.com/office/drawing/2014/main" id="{321533E8-4C38-475F-B611-B8828AB98470}"/>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chemeClr val="accent2"/>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002651D8-68D2-4C77-A852-FB29D7F2CA05}"/>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chemeClr val="accent1"/>
            </a:solidFill>
            <a:ln w="12700" cap="flat">
              <a:noFill/>
              <a:prstDash val="solid"/>
              <a:miter/>
            </a:ln>
          </p:spPr>
          <p:txBody>
            <a:bodyPr rtlCol="0" anchor="ctr"/>
            <a:lstStyle/>
            <a:p>
              <a:endParaRPr lang="en-GB" dirty="0"/>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Tree>
    <p:extLst>
      <p:ext uri="{BB962C8B-B14F-4D97-AF65-F5344CB8AC3E}">
        <p14:creationId xmlns:p14="http://schemas.microsoft.com/office/powerpoint/2010/main" val="309733195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 Content Right">
    <p:bg>
      <p:bgPr>
        <a:solidFill>
          <a:schemeClr val="accent2"/>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6184899" y="2143471"/>
            <a:ext cx="5286376"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grpSp>
        <p:nvGrpSpPr>
          <p:cNvPr id="2" name="Group 1">
            <a:extLst>
              <a:ext uri="{FF2B5EF4-FFF2-40B4-BE49-F238E27FC236}">
                <a16:creationId xmlns:a16="http://schemas.microsoft.com/office/drawing/2014/main" id="{DD23392F-1141-48BF-934D-1B5AF5F59FAA}"/>
              </a:ext>
            </a:extLst>
          </p:cNvPr>
          <p:cNvGrpSpPr/>
          <p:nvPr userDrawn="1"/>
        </p:nvGrpSpPr>
        <p:grpSpPr>
          <a:xfrm>
            <a:off x="-1782691" y="240179"/>
            <a:ext cx="5985088" cy="6857999"/>
            <a:chOff x="-1782691" y="240179"/>
            <a:chExt cx="5985088" cy="6857999"/>
          </a:xfrm>
        </p:grpSpPr>
        <p:sp>
          <p:nvSpPr>
            <p:cNvPr id="11" name="Freeform: Shape 10">
              <a:extLst>
                <a:ext uri="{FF2B5EF4-FFF2-40B4-BE49-F238E27FC236}">
                  <a16:creationId xmlns:a16="http://schemas.microsoft.com/office/drawing/2014/main" id="{8BC97F1A-7072-4DD4-9C7D-20E5A7F3B667}"/>
                </a:ext>
              </a:extLst>
            </p:cNvPr>
            <p:cNvSpPr/>
            <p:nvPr/>
          </p:nvSpPr>
          <p:spPr>
            <a:xfrm flipH="1">
              <a:off x="-1782691" y="240179"/>
              <a:ext cx="2349849" cy="1903292"/>
            </a:xfrm>
            <a:custGeom>
              <a:avLst/>
              <a:gdLst>
                <a:gd name="connsiteX0" fmla="*/ 18734 w 2366201"/>
                <a:gd name="connsiteY0" fmla="*/ 1701800 h 1903292"/>
                <a:gd name="connsiteX1" fmla="*/ 65249 w 2366201"/>
                <a:gd name="connsiteY1" fmla="*/ 1884559 h 1903292"/>
                <a:gd name="connsiteX2" fmla="*/ 248008 w 2366201"/>
                <a:gd name="connsiteY2" fmla="*/ 1838044 h 1903292"/>
                <a:gd name="connsiteX3" fmla="*/ 250381 w 2366201"/>
                <a:gd name="connsiteY3" fmla="*/ 1833880 h 1903292"/>
                <a:gd name="connsiteX4" fmla="*/ 1527621 w 2366201"/>
                <a:gd name="connsiteY4" fmla="*/ 465074 h 1903292"/>
                <a:gd name="connsiteX5" fmla="*/ 2366202 w 2366201"/>
                <a:gd name="connsiteY5" fmla="*/ 0 h 1903292"/>
                <a:gd name="connsiteX6" fmla="*/ 1770190 w 2366201"/>
                <a:gd name="connsiteY6" fmla="*/ 0 h 1903292"/>
                <a:gd name="connsiteX7" fmla="*/ 1377252 w 2366201"/>
                <a:gd name="connsiteY7" fmla="*/ 244348 h 1903292"/>
                <a:gd name="connsiteX8" fmla="*/ 18734 w 2366201"/>
                <a:gd name="connsiteY8" fmla="*/ 1701800 h 190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6201" h="1903292">
                  <a:moveTo>
                    <a:pt x="18734" y="1701800"/>
                  </a:moveTo>
                  <a:cubicBezTo>
                    <a:pt x="-18889" y="1765112"/>
                    <a:pt x="1937" y="1846936"/>
                    <a:pt x="65249" y="1884559"/>
                  </a:cubicBezTo>
                  <a:cubicBezTo>
                    <a:pt x="128562" y="1922181"/>
                    <a:pt x="210385" y="1901356"/>
                    <a:pt x="248008" y="1838044"/>
                  </a:cubicBezTo>
                  <a:cubicBezTo>
                    <a:pt x="248824" y="1836670"/>
                    <a:pt x="249616" y="1835282"/>
                    <a:pt x="250381" y="1833880"/>
                  </a:cubicBezTo>
                  <a:cubicBezTo>
                    <a:pt x="558484" y="1293622"/>
                    <a:pt x="988124" y="832993"/>
                    <a:pt x="1527621" y="465074"/>
                  </a:cubicBezTo>
                  <a:cubicBezTo>
                    <a:pt x="1791749" y="283777"/>
                    <a:pt x="2072543" y="128049"/>
                    <a:pt x="2366202" y="0"/>
                  </a:cubicBezTo>
                  <a:lnTo>
                    <a:pt x="1770190" y="0"/>
                  </a:lnTo>
                  <a:cubicBezTo>
                    <a:pt x="1637263" y="75099"/>
                    <a:pt x="1506285" y="156549"/>
                    <a:pt x="1377252" y="244348"/>
                  </a:cubicBezTo>
                  <a:cubicBezTo>
                    <a:pt x="804101" y="635000"/>
                    <a:pt x="347028" y="1125474"/>
                    <a:pt x="18734" y="1701800"/>
                  </a:cubicBezTo>
                  <a:close/>
                </a:path>
              </a:pathLst>
            </a:custGeom>
            <a:solidFill>
              <a:schemeClr val="accent6"/>
            </a:solidFill>
            <a:ln w="12700" cap="flat">
              <a:noFill/>
              <a:prstDash val="solid"/>
              <a:miter/>
            </a:ln>
          </p:spPr>
          <p:txBody>
            <a:bodyPr rtlCol="0" anchor="ctr"/>
            <a:lstStyle/>
            <a:p>
              <a:endParaRPr lang="en-GB" dirty="0"/>
            </a:p>
          </p:txBody>
        </p:sp>
        <p:sp>
          <p:nvSpPr>
            <p:cNvPr id="12" name="Freeform: Shape 11">
              <a:extLst>
                <a:ext uri="{FF2B5EF4-FFF2-40B4-BE49-F238E27FC236}">
                  <a16:creationId xmlns:a16="http://schemas.microsoft.com/office/drawing/2014/main" id="{0C842388-7877-49D2-B401-D6C1377BF4FF}"/>
                </a:ext>
              </a:extLst>
            </p:cNvPr>
            <p:cNvSpPr/>
            <p:nvPr/>
          </p:nvSpPr>
          <p:spPr>
            <a:xfrm flipH="1">
              <a:off x="327475" y="1888637"/>
              <a:ext cx="3874922" cy="5209541"/>
            </a:xfrm>
            <a:custGeom>
              <a:avLst/>
              <a:gdLst>
                <a:gd name="connsiteX0" fmla="*/ 797179 w 3901887"/>
                <a:gd name="connsiteY0" fmla="*/ 4469132 h 5209541"/>
                <a:gd name="connsiteX1" fmla="*/ 3281807 w 3901887"/>
                <a:gd name="connsiteY1" fmla="*/ 4198876 h 5209541"/>
                <a:gd name="connsiteX2" fmla="*/ 3459460 w 3901887"/>
                <a:gd name="connsiteY2" fmla="*/ 4135066 h 5209541"/>
                <a:gd name="connsiteX3" fmla="*/ 3467226 w 3901887"/>
                <a:gd name="connsiteY3" fmla="*/ 4042031 h 5209541"/>
                <a:gd name="connsiteX4" fmla="*/ 3299841 w 3901887"/>
                <a:gd name="connsiteY4" fmla="*/ 2777619 h 5209541"/>
                <a:gd name="connsiteX5" fmla="*/ 3885437 w 3901887"/>
                <a:gd name="connsiteY5" fmla="*/ 197487 h 5209541"/>
                <a:gd name="connsiteX6" fmla="*/ 3832628 w 3901887"/>
                <a:gd name="connsiteY6" fmla="*/ 16447 h 5209541"/>
                <a:gd name="connsiteX7" fmla="*/ 3653409 w 3901887"/>
                <a:gd name="connsiteY7" fmla="*/ 66042 h 5209541"/>
                <a:gd name="connsiteX8" fmla="*/ 3033395 w 3901887"/>
                <a:gd name="connsiteY8" fmla="*/ 2792859 h 5209541"/>
                <a:gd name="connsiteX9" fmla="*/ 3150235 w 3901887"/>
                <a:gd name="connsiteY9" fmla="*/ 3852801 h 5209541"/>
                <a:gd name="connsiteX10" fmla="*/ 1829435 w 3901887"/>
                <a:gd name="connsiteY10" fmla="*/ 3689479 h 5209541"/>
                <a:gd name="connsiteX11" fmla="*/ 615950 w 3901887"/>
                <a:gd name="connsiteY11" fmla="*/ 4273679 h 5209541"/>
                <a:gd name="connsiteX12" fmla="*/ 0 w 3901887"/>
                <a:gd name="connsiteY12" fmla="*/ 5209542 h 5209541"/>
                <a:gd name="connsiteX13" fmla="*/ 286258 w 3901887"/>
                <a:gd name="connsiteY13" fmla="*/ 5209542 h 5209541"/>
                <a:gd name="connsiteX14" fmla="*/ 797179 w 3901887"/>
                <a:gd name="connsiteY14" fmla="*/ 4469132 h 5209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01887" h="5209541">
                  <a:moveTo>
                    <a:pt x="797179" y="4469132"/>
                  </a:moveTo>
                  <a:cubicBezTo>
                    <a:pt x="1451863" y="3859532"/>
                    <a:pt x="2357500" y="3761107"/>
                    <a:pt x="3281807" y="4198876"/>
                  </a:cubicBezTo>
                  <a:cubicBezTo>
                    <a:pt x="3348485" y="4230313"/>
                    <a:pt x="3428023" y="4201744"/>
                    <a:pt x="3459460" y="4135066"/>
                  </a:cubicBezTo>
                  <a:cubicBezTo>
                    <a:pt x="3473163" y="4106000"/>
                    <a:pt x="3475921" y="4072967"/>
                    <a:pt x="3467226" y="4042031"/>
                  </a:cubicBezTo>
                  <a:cubicBezTo>
                    <a:pt x="3465703" y="4036824"/>
                    <a:pt x="3319780" y="3512695"/>
                    <a:pt x="3299841" y="2777619"/>
                  </a:cubicBezTo>
                  <a:cubicBezTo>
                    <a:pt x="3281553" y="2104519"/>
                    <a:pt x="3368421" y="1110490"/>
                    <a:pt x="3885437" y="197487"/>
                  </a:cubicBezTo>
                  <a:cubicBezTo>
                    <a:pt x="3920848" y="132911"/>
                    <a:pt x="3897204" y="51856"/>
                    <a:pt x="3832628" y="16447"/>
                  </a:cubicBezTo>
                  <a:cubicBezTo>
                    <a:pt x="3769313" y="-18272"/>
                    <a:pt x="3689867" y="3713"/>
                    <a:pt x="3653409" y="66042"/>
                  </a:cubicBezTo>
                  <a:cubicBezTo>
                    <a:pt x="3104642" y="1035052"/>
                    <a:pt x="3013329" y="2083691"/>
                    <a:pt x="3033395" y="2792859"/>
                  </a:cubicBezTo>
                  <a:cubicBezTo>
                    <a:pt x="3043054" y="3148790"/>
                    <a:pt x="3082134" y="3503312"/>
                    <a:pt x="3150235" y="3852801"/>
                  </a:cubicBezTo>
                  <a:cubicBezTo>
                    <a:pt x="2700655" y="3681224"/>
                    <a:pt x="2257298" y="3626360"/>
                    <a:pt x="1829435" y="3689479"/>
                  </a:cubicBezTo>
                  <a:cubicBezTo>
                    <a:pt x="1374903" y="3756149"/>
                    <a:pt x="951548" y="3959962"/>
                    <a:pt x="615950" y="4273679"/>
                  </a:cubicBezTo>
                  <a:cubicBezTo>
                    <a:pt x="338451" y="4531638"/>
                    <a:pt x="127176" y="4852646"/>
                    <a:pt x="0" y="5209542"/>
                  </a:cubicBezTo>
                  <a:lnTo>
                    <a:pt x="286258" y="5209542"/>
                  </a:lnTo>
                  <a:cubicBezTo>
                    <a:pt x="400867" y="4928613"/>
                    <a:pt x="575203" y="4675972"/>
                    <a:pt x="797179" y="4469132"/>
                  </a:cubicBezTo>
                  <a:close/>
                </a:path>
              </a:pathLst>
            </a:custGeom>
            <a:solidFill>
              <a:srgbClr val="FFFFFF"/>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70396195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73FF853F-1700-4061-8D05-4C80124D5391}"/>
              </a:ext>
            </a:extLst>
          </p:cNvPr>
          <p:cNvSpPr/>
          <p:nvPr/>
        </p:nvSpPr>
        <p:spPr>
          <a:xfrm>
            <a:off x="0" y="-1"/>
            <a:ext cx="12192000" cy="6857357"/>
          </a:xfrm>
          <a:custGeom>
            <a:avLst/>
            <a:gdLst>
              <a:gd name="connsiteX0" fmla="*/ 0 w 1280120"/>
              <a:gd name="connsiteY0" fmla="*/ 0 h 720000"/>
              <a:gd name="connsiteX1" fmla="*/ 1280120 w 1280120"/>
              <a:gd name="connsiteY1" fmla="*/ 0 h 720000"/>
              <a:gd name="connsiteX2" fmla="*/ 1280120 w 1280120"/>
              <a:gd name="connsiteY2" fmla="*/ 720000 h 720000"/>
              <a:gd name="connsiteX3" fmla="*/ 0 w 1280120"/>
              <a:gd name="connsiteY3" fmla="*/ 720000 h 720000"/>
            </a:gdLst>
            <a:ahLst/>
            <a:cxnLst>
              <a:cxn ang="0">
                <a:pos x="connsiteX0" y="connsiteY0"/>
              </a:cxn>
              <a:cxn ang="0">
                <a:pos x="connsiteX1" y="connsiteY1"/>
              </a:cxn>
              <a:cxn ang="0">
                <a:pos x="connsiteX2" y="connsiteY2"/>
              </a:cxn>
              <a:cxn ang="0">
                <a:pos x="connsiteX3" y="connsiteY3"/>
              </a:cxn>
            </a:cxnLst>
            <a:rect l="l" t="t" r="r" b="b"/>
            <a:pathLst>
              <a:path w="1280120" h="720000">
                <a:moveTo>
                  <a:pt x="0" y="0"/>
                </a:moveTo>
                <a:lnTo>
                  <a:pt x="1280120" y="0"/>
                </a:lnTo>
                <a:lnTo>
                  <a:pt x="1280120" y="720000"/>
                </a:lnTo>
                <a:lnTo>
                  <a:pt x="0" y="720000"/>
                </a:lnTo>
                <a:close/>
              </a:path>
            </a:pathLst>
          </a:custGeom>
          <a:noFill/>
          <a:ln w="1330" cap="flat">
            <a:noFill/>
            <a:prstDash val="solid"/>
            <a:miter/>
          </a:ln>
        </p:spPr>
        <p:txBody>
          <a:bodyPr rtlCol="0" anchor="ctr"/>
          <a:lstStyle/>
          <a:p>
            <a:endParaRPr lang="en-GB" dirty="0"/>
          </a:p>
        </p:txBody>
      </p:sp>
      <p:sp>
        <p:nvSpPr>
          <p:cNvPr id="4" name="Date Placeholder 1">
            <a:extLst>
              <a:ext uri="{FF2B5EF4-FFF2-40B4-BE49-F238E27FC236}">
                <a16:creationId xmlns:a16="http://schemas.microsoft.com/office/drawing/2014/main" id="{E6B42DA3-9CCD-4D6E-87E7-1EA69180B150}"/>
              </a:ext>
            </a:extLst>
          </p:cNvPr>
          <p:cNvSpPr>
            <a:spLocks noGrp="1"/>
          </p:cNvSpPr>
          <p:nvPr userDrawn="1">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userDrawn="1">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userDrawn="1">
            <p:ph idx="1"/>
          </p:nvPr>
        </p:nvSpPr>
        <p:spPr>
          <a:xfrm>
            <a:off x="719137" y="2128838"/>
            <a:ext cx="10752137"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userDrawn="1">
            <p:ph type="subTitle" idx="12"/>
          </p:nvPr>
        </p:nvSpPr>
        <p:spPr>
          <a:xfrm>
            <a:off x="719137" y="1266739"/>
            <a:ext cx="1002030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userDrawn="1">
            <p:ph type="title"/>
          </p:nvPr>
        </p:nvSpPr>
        <p:spPr>
          <a:xfrm>
            <a:off x="719137" y="666745"/>
            <a:ext cx="9110663" cy="720000"/>
          </a:xfrm>
        </p:spPr>
        <p:txBody>
          <a:bodyPr/>
          <a:lstStyle/>
          <a:p>
            <a:pPr lvl="0"/>
            <a:r>
              <a:rPr lang="en-US"/>
              <a:t>Click to edit Master title style</a:t>
            </a:r>
            <a:endParaRPr lang="en-GB" dirty="0"/>
          </a:p>
        </p:txBody>
      </p:sp>
      <p:sp>
        <p:nvSpPr>
          <p:cNvPr id="21" name="Freeform: Shape 20">
            <a:extLst>
              <a:ext uri="{FF2B5EF4-FFF2-40B4-BE49-F238E27FC236}">
                <a16:creationId xmlns:a16="http://schemas.microsoft.com/office/drawing/2014/main" id="{7EF30BA1-DAC8-4EBD-95C0-F7481F97E296}"/>
              </a:ext>
            </a:extLst>
          </p:cNvPr>
          <p:cNvSpPr/>
          <p:nvPr userDrawn="1"/>
        </p:nvSpPr>
        <p:spPr>
          <a:xfrm>
            <a:off x="8828904" y="0"/>
            <a:ext cx="3363096" cy="3729110"/>
          </a:xfrm>
          <a:custGeom>
            <a:avLst/>
            <a:gdLst>
              <a:gd name="connsiteX0" fmla="*/ 0 w 3363096"/>
              <a:gd name="connsiteY0" fmla="*/ 0 h 3729110"/>
              <a:gd name="connsiteX1" fmla="*/ 728074 w 3363096"/>
              <a:gd name="connsiteY1" fmla="*/ 0 h 3729110"/>
              <a:gd name="connsiteX2" fmla="*/ 968906 w 3363096"/>
              <a:gd name="connsiteY2" fmla="*/ 116498 h 3729110"/>
              <a:gd name="connsiteX3" fmla="*/ 3096120 w 3363096"/>
              <a:gd name="connsiteY3" fmla="*/ 2231288 h 3729110"/>
              <a:gd name="connsiteX4" fmla="*/ 3240633 w 3363096"/>
              <a:gd name="connsiteY4" fmla="*/ 2529001 h 3729110"/>
              <a:gd name="connsiteX5" fmla="*/ 3363096 w 3363096"/>
              <a:gd name="connsiteY5" fmla="*/ 2824201 h 3729110"/>
              <a:gd name="connsiteX6" fmla="*/ 3363096 w 3363096"/>
              <a:gd name="connsiteY6" fmla="*/ 3729110 h 3729110"/>
              <a:gd name="connsiteX7" fmla="*/ 3328737 w 3363096"/>
              <a:gd name="connsiteY7" fmla="*/ 3584522 h 3729110"/>
              <a:gd name="connsiteX8" fmla="*/ 2859849 w 3363096"/>
              <a:gd name="connsiteY8" fmla="*/ 2354986 h 3729110"/>
              <a:gd name="connsiteX9" fmla="*/ 277127 w 3363096"/>
              <a:gd name="connsiteY9" fmla="*/ 98569 h 3729110"/>
              <a:gd name="connsiteX10" fmla="*/ 0 w 3363096"/>
              <a:gd name="connsiteY10" fmla="*/ 0 h 372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3096" h="3729110">
                <a:moveTo>
                  <a:pt x="0" y="0"/>
                </a:moveTo>
                <a:lnTo>
                  <a:pt x="728074" y="0"/>
                </a:lnTo>
                <a:lnTo>
                  <a:pt x="968906" y="116498"/>
                </a:lnTo>
                <a:cubicBezTo>
                  <a:pt x="1900050" y="599885"/>
                  <a:pt x="2612194" y="1306901"/>
                  <a:pt x="3096120" y="2231288"/>
                </a:cubicBezTo>
                <a:cubicBezTo>
                  <a:pt x="3146748" y="2327997"/>
                  <a:pt x="3194924" y="2427252"/>
                  <a:pt x="3240633" y="2529001"/>
                </a:cubicBezTo>
                <a:lnTo>
                  <a:pt x="3363096" y="2824201"/>
                </a:lnTo>
                <a:lnTo>
                  <a:pt x="3363096" y="3729110"/>
                </a:lnTo>
                <a:lnTo>
                  <a:pt x="3328737" y="3584522"/>
                </a:lnTo>
                <a:cubicBezTo>
                  <a:pt x="3210521" y="3136652"/>
                  <a:pt x="3053949" y="2725763"/>
                  <a:pt x="2859849" y="2354986"/>
                </a:cubicBezTo>
                <a:cubicBezTo>
                  <a:pt x="2309303" y="1303371"/>
                  <a:pt x="1443340" y="547810"/>
                  <a:pt x="277127" y="98569"/>
                </a:cubicBezTo>
                <a:lnTo>
                  <a:pt x="0" y="0"/>
                </a:lnTo>
                <a:close/>
              </a:path>
            </a:pathLst>
          </a:custGeom>
          <a:solidFill>
            <a:schemeClr val="tx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B4938F81-27E5-4205-B28F-059205C194F7}"/>
              </a:ext>
            </a:extLst>
          </p:cNvPr>
          <p:cNvSpPr/>
          <p:nvPr userDrawn="1"/>
        </p:nvSpPr>
        <p:spPr>
          <a:xfrm>
            <a:off x="1" y="-1"/>
            <a:ext cx="12193208" cy="6858001"/>
          </a:xfrm>
          <a:custGeom>
            <a:avLst/>
            <a:gdLst>
              <a:gd name="connsiteX0" fmla="*/ 0 w 12193208"/>
              <a:gd name="connsiteY0" fmla="*/ 0 h 6858001"/>
              <a:gd name="connsiteX1" fmla="*/ 12193208 w 12193208"/>
              <a:gd name="connsiteY1" fmla="*/ 0 h 6858001"/>
              <a:gd name="connsiteX2" fmla="*/ 12193208 w 12193208"/>
              <a:gd name="connsiteY2" fmla="*/ 6858001 h 6858001"/>
              <a:gd name="connsiteX3" fmla="*/ 0 w 12193208"/>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208" h="6858001">
                <a:moveTo>
                  <a:pt x="0" y="0"/>
                </a:moveTo>
                <a:lnTo>
                  <a:pt x="12193208" y="0"/>
                </a:lnTo>
                <a:lnTo>
                  <a:pt x="12193208"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23376049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9840913"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grpSp>
        <p:nvGrpSpPr>
          <p:cNvPr id="24" name="Group 23">
            <a:extLst>
              <a:ext uri="{FF2B5EF4-FFF2-40B4-BE49-F238E27FC236}">
                <a16:creationId xmlns:a16="http://schemas.microsoft.com/office/drawing/2014/main" id="{1F6D1870-CBAC-40FE-93C3-CEC6F8B5FC5C}"/>
              </a:ext>
            </a:extLst>
          </p:cNvPr>
          <p:cNvGrpSpPr/>
          <p:nvPr userDrawn="1"/>
        </p:nvGrpSpPr>
        <p:grpSpPr>
          <a:xfrm>
            <a:off x="10733882" y="0"/>
            <a:ext cx="1458118" cy="4629473"/>
            <a:chOff x="10733882" y="0"/>
            <a:chExt cx="1458118" cy="4629473"/>
          </a:xfrm>
        </p:grpSpPr>
        <p:sp>
          <p:nvSpPr>
            <p:cNvPr id="23" name="Freeform: Shape 22">
              <a:extLst>
                <a:ext uri="{FF2B5EF4-FFF2-40B4-BE49-F238E27FC236}">
                  <a16:creationId xmlns:a16="http://schemas.microsoft.com/office/drawing/2014/main" id="{7FA73F1C-0C77-460E-8713-00D68890376A}"/>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chemeClr val="tx2"/>
            </a:solidFill>
            <a:ln w="12690"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88F300F0-88EC-4B44-8816-B3D1834130B0}"/>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accent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387878665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9110663"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3987C004-73D5-4A66-A0DB-ECD27AA511F7}"/>
              </a:ext>
            </a:extLst>
          </p:cNvPr>
          <p:cNvSpPr/>
          <p:nvPr userDrawn="1"/>
        </p:nvSpPr>
        <p:spPr>
          <a:xfrm>
            <a:off x="10015704" y="0"/>
            <a:ext cx="2176296" cy="4175528"/>
          </a:xfrm>
          <a:custGeom>
            <a:avLst/>
            <a:gdLst>
              <a:gd name="connsiteX0" fmla="*/ 103142 w 2176296"/>
              <a:gd name="connsiteY0" fmla="*/ 0 h 4175528"/>
              <a:gd name="connsiteX1" fmla="*/ 489726 w 2176296"/>
              <a:gd name="connsiteY1" fmla="*/ 0 h 4175528"/>
              <a:gd name="connsiteX2" fmla="*/ 520852 w 2176296"/>
              <a:gd name="connsiteY2" fmla="*/ 32449 h 4175528"/>
              <a:gd name="connsiteX3" fmla="*/ 960887 w 2176296"/>
              <a:gd name="connsiteY3" fmla="*/ 751382 h 4175528"/>
              <a:gd name="connsiteX4" fmla="*/ 1054090 w 2176296"/>
              <a:gd name="connsiteY4" fmla="*/ 2095042 h 4175528"/>
              <a:gd name="connsiteX5" fmla="*/ 412790 w 2176296"/>
              <a:gd name="connsiteY5" fmla="*/ 3261754 h 4175528"/>
              <a:gd name="connsiteX6" fmla="*/ 1440484 w 2176296"/>
              <a:gd name="connsiteY6" fmla="*/ 3546067 h 4175528"/>
              <a:gd name="connsiteX7" fmla="*/ 1983366 w 2176296"/>
              <a:gd name="connsiteY7" fmla="*/ 3774735 h 4175528"/>
              <a:gd name="connsiteX8" fmla="*/ 2176296 w 2176296"/>
              <a:gd name="connsiteY8" fmla="*/ 3873834 h 4175528"/>
              <a:gd name="connsiteX9" fmla="*/ 2176296 w 2176296"/>
              <a:gd name="connsiteY9" fmla="*/ 4175528 h 4175528"/>
              <a:gd name="connsiteX10" fmla="*/ 2150160 w 2176296"/>
              <a:gd name="connsiteY10" fmla="*/ 4160076 h 4175528"/>
              <a:gd name="connsiteX11" fmla="*/ 1355901 w 2176296"/>
              <a:gd name="connsiteY11" fmla="*/ 3799122 h 4175528"/>
              <a:gd name="connsiteX12" fmla="*/ 119536 w 2176296"/>
              <a:gd name="connsiteY12" fmla="*/ 3486036 h 4175528"/>
              <a:gd name="connsiteX13" fmla="*/ 732 w 2176296"/>
              <a:gd name="connsiteY13" fmla="*/ 3339530 h 4175528"/>
              <a:gd name="connsiteX14" fmla="*/ 42542 w 2176296"/>
              <a:gd name="connsiteY14" fmla="*/ 3255726 h 4175528"/>
              <a:gd name="connsiteX15" fmla="*/ 712245 w 2176296"/>
              <a:gd name="connsiteY15" fmla="*/ 847841 h 4175528"/>
              <a:gd name="connsiteX16" fmla="*/ 204588 w 2176296"/>
              <a:gd name="connsiteY16" fmla="*/ 89932 h 4175528"/>
              <a:gd name="connsiteX17" fmla="*/ 103142 w 2176296"/>
              <a:gd name="connsiteY17" fmla="*/ 0 h 4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6296" h="4175528">
                <a:moveTo>
                  <a:pt x="103142" y="0"/>
                </a:moveTo>
                <a:lnTo>
                  <a:pt x="489726" y="0"/>
                </a:lnTo>
                <a:lnTo>
                  <a:pt x="520852" y="32449"/>
                </a:lnTo>
                <a:cubicBezTo>
                  <a:pt x="708567" y="242737"/>
                  <a:pt x="858030" y="485991"/>
                  <a:pt x="960887" y="751382"/>
                </a:cubicBezTo>
                <a:cubicBezTo>
                  <a:pt x="1128005" y="1179340"/>
                  <a:pt x="1160521" y="1648110"/>
                  <a:pt x="1054090" y="2095042"/>
                </a:cubicBezTo>
                <a:cubicBezTo>
                  <a:pt x="953966" y="2516331"/>
                  <a:pt x="738621" y="2907804"/>
                  <a:pt x="412790" y="3261754"/>
                </a:cubicBezTo>
                <a:cubicBezTo>
                  <a:pt x="762602" y="3328051"/>
                  <a:pt x="1106337" y="3423146"/>
                  <a:pt x="1440484" y="3546067"/>
                </a:cubicBezTo>
                <a:cubicBezTo>
                  <a:pt x="1607006" y="3607097"/>
                  <a:pt x="1790664" y="3682454"/>
                  <a:pt x="1983366" y="3774735"/>
                </a:cubicBezTo>
                <a:lnTo>
                  <a:pt x="2176296" y="3873834"/>
                </a:lnTo>
                <a:lnTo>
                  <a:pt x="2176296" y="4175528"/>
                </a:lnTo>
                <a:lnTo>
                  <a:pt x="2150160" y="4160076"/>
                </a:lnTo>
                <a:cubicBezTo>
                  <a:pt x="1866326" y="4003932"/>
                  <a:pt x="1592891" y="3886307"/>
                  <a:pt x="1355901" y="3799122"/>
                </a:cubicBezTo>
                <a:cubicBezTo>
                  <a:pt x="665797" y="3545249"/>
                  <a:pt x="124919" y="3486595"/>
                  <a:pt x="119536" y="3486036"/>
                </a:cubicBezTo>
                <a:cubicBezTo>
                  <a:pt x="46272" y="3478386"/>
                  <a:pt x="-6918" y="3412793"/>
                  <a:pt x="732" y="3339530"/>
                </a:cubicBezTo>
                <a:cubicBezTo>
                  <a:pt x="4080" y="3307460"/>
                  <a:pt x="18934" y="3277688"/>
                  <a:pt x="42542" y="3255726"/>
                </a:cubicBezTo>
                <a:cubicBezTo>
                  <a:pt x="791657" y="2559451"/>
                  <a:pt x="1035759" y="1681815"/>
                  <a:pt x="712245" y="847841"/>
                </a:cubicBezTo>
                <a:cubicBezTo>
                  <a:pt x="598736" y="555233"/>
                  <a:pt x="422828" y="297865"/>
                  <a:pt x="204588" y="89932"/>
                </a:cubicBezTo>
                <a:lnTo>
                  <a:pt x="103142" y="0"/>
                </a:lnTo>
                <a:close/>
              </a:path>
            </a:pathLst>
          </a:custGeom>
          <a:solidFill>
            <a:schemeClr val="accent3"/>
          </a:solid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76069091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10752138"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D7EB8550-FCBE-4329-B836-7DDE220CD6EC}"/>
              </a:ext>
            </a:extLst>
          </p:cNvPr>
          <p:cNvSpPr/>
          <p:nvPr userDrawn="1"/>
        </p:nvSpPr>
        <p:spPr>
          <a:xfrm>
            <a:off x="8637125"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5"/>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202741027"/>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10752138"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1F34B1C6-5415-4E69-BEA5-80FC952D86A1}"/>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rgbClr val="FFE84C"/>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3625245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7">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10752138"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1F34B1C6-5415-4E69-BEA5-80FC952D86A1}"/>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1"/>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98495997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8">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10752138"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1F34B1C6-5415-4E69-BEA5-80FC952D86A1}"/>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7332589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No subhead)">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1627188"/>
            <a:ext cx="10752137" cy="45100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6197517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9">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10752138"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1F34B1C6-5415-4E69-BEA5-80FC952D86A1}"/>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582748937"/>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10">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10752138"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1F34B1C6-5415-4E69-BEA5-80FC952D86A1}"/>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6"/>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53807730"/>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rgbClr val="FFE84C"/>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5228182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27369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
        <p:nvSpPr>
          <p:cNvPr id="22" name="Freeform: Shape 21">
            <a:extLst>
              <a:ext uri="{FF2B5EF4-FFF2-40B4-BE49-F238E27FC236}">
                <a16:creationId xmlns:a16="http://schemas.microsoft.com/office/drawing/2014/main" id="{2EED502E-C7AA-4CAB-8C16-D9B1E95B4C90}"/>
              </a:ext>
            </a:extLst>
          </p:cNvPr>
          <p:cNvSpPr/>
          <p:nvPr userDrawn="1"/>
        </p:nvSpPr>
        <p:spPr>
          <a:xfrm>
            <a:off x="10849636" y="4991211"/>
            <a:ext cx="1342365" cy="795586"/>
          </a:xfrm>
          <a:custGeom>
            <a:avLst/>
            <a:gdLst>
              <a:gd name="connsiteX0" fmla="*/ 1342365 w 1342365"/>
              <a:gd name="connsiteY0" fmla="*/ 0 h 795586"/>
              <a:gd name="connsiteX1" fmla="*/ 1342365 w 1342365"/>
              <a:gd name="connsiteY1" fmla="*/ 310659 h 795586"/>
              <a:gd name="connsiteX2" fmla="*/ 1175229 w 1342365"/>
              <a:gd name="connsiteY2" fmla="*/ 404301 h 795586"/>
              <a:gd name="connsiteX3" fmla="*/ 166319 w 1342365"/>
              <a:gd name="connsiteY3" fmla="*/ 791416 h 795586"/>
              <a:gd name="connsiteX4" fmla="*/ 133252 w 1342365"/>
              <a:gd name="connsiteY4" fmla="*/ 795586 h 795586"/>
              <a:gd name="connsiteX5" fmla="*/ 0 w 1342365"/>
              <a:gd name="connsiteY5" fmla="*/ 662105 h 795586"/>
              <a:gd name="connsiteX6" fmla="*/ 100375 w 1342365"/>
              <a:gd name="connsiteY6" fmla="*/ 532998 h 795586"/>
              <a:gd name="connsiteX7" fmla="*/ 1277902 w 1342365"/>
              <a:gd name="connsiteY7" fmla="*/ 41089 h 795586"/>
              <a:gd name="connsiteX8" fmla="*/ 1342365 w 1342365"/>
              <a:gd name="connsiteY8" fmla="*/ 0 h 79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365" h="795586">
                <a:moveTo>
                  <a:pt x="1342365" y="0"/>
                </a:moveTo>
                <a:lnTo>
                  <a:pt x="1342365" y="310659"/>
                </a:lnTo>
                <a:lnTo>
                  <a:pt x="1175229" y="404301"/>
                </a:lnTo>
                <a:cubicBezTo>
                  <a:pt x="853625" y="572605"/>
                  <a:pt x="516572" y="702036"/>
                  <a:pt x="166319" y="791416"/>
                </a:cubicBezTo>
                <a:cubicBezTo>
                  <a:pt x="155514" y="794180"/>
                  <a:pt x="144405" y="795581"/>
                  <a:pt x="133252" y="795586"/>
                </a:cubicBezTo>
                <a:cubicBezTo>
                  <a:pt x="59596" y="795522"/>
                  <a:pt x="-63" y="735761"/>
                  <a:pt x="0" y="662105"/>
                </a:cubicBezTo>
                <a:cubicBezTo>
                  <a:pt x="52" y="601198"/>
                  <a:pt x="41361" y="548065"/>
                  <a:pt x="100375" y="532998"/>
                </a:cubicBezTo>
                <a:cubicBezTo>
                  <a:pt x="513437" y="427588"/>
                  <a:pt x="907329" y="262895"/>
                  <a:pt x="1277902" y="41089"/>
                </a:cubicBezTo>
                <a:lnTo>
                  <a:pt x="1342365" y="0"/>
                </a:lnTo>
                <a:close/>
              </a:path>
            </a:pathLst>
          </a:custGeom>
          <a:solidFill>
            <a:srgbClr val="005C82"/>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F347DFF4-3BA3-4254-8FCD-6F3D10FE181D}"/>
              </a:ext>
            </a:extLst>
          </p:cNvPr>
          <p:cNvSpPr/>
          <p:nvPr userDrawn="1"/>
        </p:nvSpPr>
        <p:spPr>
          <a:xfrm>
            <a:off x="6242805" y="4837629"/>
            <a:ext cx="4856836" cy="2019647"/>
          </a:xfrm>
          <a:custGeom>
            <a:avLst/>
            <a:gdLst>
              <a:gd name="connsiteX0" fmla="*/ 414366 w 4856836"/>
              <a:gd name="connsiteY0" fmla="*/ 2013 h 2019647"/>
              <a:gd name="connsiteX1" fmla="*/ 506569 w 4856836"/>
              <a:gd name="connsiteY1" fmla="*/ 19315 h 2019647"/>
              <a:gd name="connsiteX2" fmla="*/ 1793206 w 4856836"/>
              <a:gd name="connsiteY2" fmla="*/ 563337 h 2019647"/>
              <a:gd name="connsiteX3" fmla="*/ 4690854 w 4856836"/>
              <a:gd name="connsiteY3" fmla="*/ 694325 h 2019647"/>
              <a:gd name="connsiteX4" fmla="*/ 4852759 w 4856836"/>
              <a:gd name="connsiteY4" fmla="*/ 791034 h 2019647"/>
              <a:gd name="connsiteX5" fmla="*/ 4756049 w 4856836"/>
              <a:gd name="connsiteY5" fmla="*/ 952939 h 2019647"/>
              <a:gd name="connsiteX6" fmla="*/ 3105915 w 4856836"/>
              <a:gd name="connsiteY6" fmla="*/ 1085146 h 2019647"/>
              <a:gd name="connsiteX7" fmla="*/ 1707916 w 4856836"/>
              <a:gd name="connsiteY7" fmla="*/ 816157 h 2019647"/>
              <a:gd name="connsiteX8" fmla="*/ 605961 w 4856836"/>
              <a:gd name="connsiteY8" fmla="*/ 376370 h 2019647"/>
              <a:gd name="connsiteX9" fmla="*/ 398316 w 4856836"/>
              <a:gd name="connsiteY9" fmla="*/ 1833149 h 2019647"/>
              <a:gd name="connsiteX10" fmla="*/ 316644 w 4856836"/>
              <a:gd name="connsiteY10" fmla="*/ 2001258 h 2019647"/>
              <a:gd name="connsiteX11" fmla="*/ 305914 w 4856836"/>
              <a:gd name="connsiteY11" fmla="*/ 2019647 h 2019647"/>
              <a:gd name="connsiteX12" fmla="*/ 0 w 4856836"/>
              <a:gd name="connsiteY12" fmla="*/ 2019647 h 2019647"/>
              <a:gd name="connsiteX13" fmla="*/ 34107 w 4856836"/>
              <a:gd name="connsiteY13" fmla="*/ 1967301 h 2019647"/>
              <a:gd name="connsiteX14" fmla="*/ 306107 w 4856836"/>
              <a:gd name="connsiteY14" fmla="*/ 156429 h 2019647"/>
              <a:gd name="connsiteX15" fmla="*/ 414366 w 4856836"/>
              <a:gd name="connsiteY15" fmla="*/ 2013 h 2019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56836" h="2019647">
                <a:moveTo>
                  <a:pt x="414366" y="2013"/>
                </a:moveTo>
                <a:cubicBezTo>
                  <a:pt x="446182" y="-3578"/>
                  <a:pt x="478945" y="2570"/>
                  <a:pt x="506569" y="19315"/>
                </a:cubicBezTo>
                <a:cubicBezTo>
                  <a:pt x="511580" y="22341"/>
                  <a:pt x="1022667" y="328729"/>
                  <a:pt x="1793206" y="563337"/>
                </a:cubicBezTo>
                <a:cubicBezTo>
                  <a:pt x="2499326" y="778333"/>
                  <a:pt x="3575224" y="975573"/>
                  <a:pt x="4690854" y="694325"/>
                </a:cubicBezTo>
                <a:cubicBezTo>
                  <a:pt x="4762268" y="676322"/>
                  <a:pt x="4834755" y="719620"/>
                  <a:pt x="4852759" y="791034"/>
                </a:cubicBezTo>
                <a:cubicBezTo>
                  <a:pt x="4870763" y="862449"/>
                  <a:pt x="4827464" y="934936"/>
                  <a:pt x="4756049" y="952939"/>
                </a:cubicBezTo>
                <a:cubicBezTo>
                  <a:pt x="4235065" y="1084273"/>
                  <a:pt x="3679881" y="1128760"/>
                  <a:pt x="3105915" y="1085146"/>
                </a:cubicBezTo>
                <a:cubicBezTo>
                  <a:pt x="2631446" y="1047130"/>
                  <a:pt x="2162615" y="956922"/>
                  <a:pt x="1707916" y="816157"/>
                </a:cubicBezTo>
                <a:cubicBezTo>
                  <a:pt x="1328864" y="700870"/>
                  <a:pt x="960233" y="553751"/>
                  <a:pt x="605961" y="376370"/>
                </a:cubicBezTo>
                <a:cubicBezTo>
                  <a:pt x="660472" y="906557"/>
                  <a:pt x="590920" y="1395545"/>
                  <a:pt x="398316" y="1833149"/>
                </a:cubicBezTo>
                <a:cubicBezTo>
                  <a:pt x="373170" y="1890349"/>
                  <a:pt x="345917" y="1946419"/>
                  <a:pt x="316644" y="2001258"/>
                </a:cubicBezTo>
                <a:lnTo>
                  <a:pt x="305914" y="2019647"/>
                </a:lnTo>
                <a:lnTo>
                  <a:pt x="0" y="2019647"/>
                </a:lnTo>
                <a:lnTo>
                  <a:pt x="34107" y="1967301"/>
                </a:lnTo>
                <a:cubicBezTo>
                  <a:pt x="329331" y="1471210"/>
                  <a:pt x="427687" y="848162"/>
                  <a:pt x="306107" y="156429"/>
                </a:cubicBezTo>
                <a:cubicBezTo>
                  <a:pt x="293361" y="83893"/>
                  <a:pt x="341830" y="14759"/>
                  <a:pt x="414366" y="2013"/>
                </a:cubicBezTo>
                <a:close/>
              </a:path>
            </a:pathLst>
          </a:custGeom>
          <a:solidFill>
            <a:srgbClr val="85ABE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98535759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4">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455454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02030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020301" cy="720000"/>
          </a:xfrm>
        </p:spPr>
        <p:txBody>
          <a:body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4ED4FA2E-BB61-419C-9C40-ADC558A0472A}"/>
              </a:ext>
            </a:extLst>
          </p:cNvPr>
          <p:cNvGrpSpPr/>
          <p:nvPr userDrawn="1"/>
        </p:nvGrpSpPr>
        <p:grpSpPr>
          <a:xfrm>
            <a:off x="10733882" y="0"/>
            <a:ext cx="1458118" cy="4629473"/>
            <a:chOff x="10733882" y="0"/>
            <a:chExt cx="1458118" cy="4629473"/>
          </a:xfrm>
        </p:grpSpPr>
        <p:sp>
          <p:nvSpPr>
            <p:cNvPr id="20" name="Freeform: Shape 19">
              <a:extLst>
                <a:ext uri="{FF2B5EF4-FFF2-40B4-BE49-F238E27FC236}">
                  <a16:creationId xmlns:a16="http://schemas.microsoft.com/office/drawing/2014/main" id="{3E5198A0-3E34-4A3C-BF63-5B0BE0A7CDD5}"/>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chemeClr val="tx2"/>
            </a:solidFill>
            <a:ln w="12690"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A421163C-FF91-4CA0-9AA0-81D8F30EC952}"/>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accent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73912678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5">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5273675" y="2128838"/>
            <a:ext cx="437515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437515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1" name="Freeform: Shape 10">
            <a:extLst>
              <a:ext uri="{FF2B5EF4-FFF2-40B4-BE49-F238E27FC236}">
                <a16:creationId xmlns:a16="http://schemas.microsoft.com/office/drawing/2014/main" id="{91F8207E-FBEF-454B-A804-A68BB4023C31}"/>
              </a:ext>
            </a:extLst>
          </p:cNvPr>
          <p:cNvSpPr/>
          <p:nvPr/>
        </p:nvSpPr>
        <p:spPr>
          <a:xfrm>
            <a:off x="2" y="-1"/>
            <a:ext cx="12193204" cy="6857999"/>
          </a:xfrm>
          <a:custGeom>
            <a:avLst/>
            <a:gdLst>
              <a:gd name="connsiteX0" fmla="*/ 0 w 12193204"/>
              <a:gd name="connsiteY0" fmla="*/ 0 h 6857999"/>
              <a:gd name="connsiteX1" fmla="*/ 12193204 w 12193204"/>
              <a:gd name="connsiteY1" fmla="*/ 0 h 6857999"/>
              <a:gd name="connsiteX2" fmla="*/ 12193204 w 12193204"/>
              <a:gd name="connsiteY2" fmla="*/ 6857999 h 6857999"/>
              <a:gd name="connsiteX3" fmla="*/ 0 w 1219320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204" h="6857999">
                <a:moveTo>
                  <a:pt x="0" y="0"/>
                </a:moveTo>
                <a:lnTo>
                  <a:pt x="12193204" y="0"/>
                </a:lnTo>
                <a:lnTo>
                  <a:pt x="12193204" y="6857999"/>
                </a:lnTo>
                <a:lnTo>
                  <a:pt x="0" y="6857999"/>
                </a:lnTo>
                <a:close/>
              </a:path>
            </a:pathLst>
          </a:custGeom>
          <a:noFill/>
          <a:ln w="1269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7397474-9EF1-4786-9F3A-D567C56BA18F}"/>
              </a:ext>
            </a:extLst>
          </p:cNvPr>
          <p:cNvSpPr/>
          <p:nvPr/>
        </p:nvSpPr>
        <p:spPr>
          <a:xfrm>
            <a:off x="8756757" y="-736501"/>
            <a:ext cx="82489" cy="51643"/>
          </a:xfrm>
          <a:custGeom>
            <a:avLst/>
            <a:gdLst>
              <a:gd name="connsiteX0" fmla="*/ 82489 w 82489"/>
              <a:gd name="connsiteY0" fmla="*/ 0 h 51643"/>
              <a:gd name="connsiteX1" fmla="*/ 0 w 82489"/>
              <a:gd name="connsiteY1" fmla="*/ 51643 h 51643"/>
              <a:gd name="connsiteX2" fmla="*/ 82489 w 82489"/>
              <a:gd name="connsiteY2" fmla="*/ 0 h 51643"/>
            </a:gdLst>
            <a:ahLst/>
            <a:cxnLst>
              <a:cxn ang="0">
                <a:pos x="connsiteX0" y="connsiteY0"/>
              </a:cxn>
              <a:cxn ang="0">
                <a:pos x="connsiteX1" y="connsiteY1"/>
              </a:cxn>
              <a:cxn ang="0">
                <a:pos x="connsiteX2" y="connsiteY2"/>
              </a:cxn>
            </a:cxnLst>
            <a:rect l="l" t="t" r="r" b="b"/>
            <a:pathLst>
              <a:path w="82489" h="51643">
                <a:moveTo>
                  <a:pt x="82489" y="0"/>
                </a:moveTo>
                <a:cubicBezTo>
                  <a:pt x="49468" y="6207"/>
                  <a:pt x="20008" y="24651"/>
                  <a:pt x="0" y="51643"/>
                </a:cubicBezTo>
                <a:cubicBezTo>
                  <a:pt x="19980" y="24621"/>
                  <a:pt x="49453" y="6169"/>
                  <a:pt x="82489" y="0"/>
                </a:cubicBezTo>
                <a:close/>
              </a:path>
            </a:pathLst>
          </a:custGeom>
          <a:solidFill>
            <a:schemeClr val="accent3"/>
          </a:solidFill>
          <a:ln w="1269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B6AB145D-04C3-4FAE-BE8F-88061D87C676}"/>
              </a:ext>
            </a:extLst>
          </p:cNvPr>
          <p:cNvSpPr/>
          <p:nvPr/>
        </p:nvSpPr>
        <p:spPr>
          <a:xfrm>
            <a:off x="10015704" y="0"/>
            <a:ext cx="2176296" cy="4175528"/>
          </a:xfrm>
          <a:custGeom>
            <a:avLst/>
            <a:gdLst>
              <a:gd name="connsiteX0" fmla="*/ 103142 w 2176296"/>
              <a:gd name="connsiteY0" fmla="*/ 0 h 4175528"/>
              <a:gd name="connsiteX1" fmla="*/ 489726 w 2176296"/>
              <a:gd name="connsiteY1" fmla="*/ 0 h 4175528"/>
              <a:gd name="connsiteX2" fmla="*/ 520852 w 2176296"/>
              <a:gd name="connsiteY2" fmla="*/ 32449 h 4175528"/>
              <a:gd name="connsiteX3" fmla="*/ 960887 w 2176296"/>
              <a:gd name="connsiteY3" fmla="*/ 751382 h 4175528"/>
              <a:gd name="connsiteX4" fmla="*/ 1054090 w 2176296"/>
              <a:gd name="connsiteY4" fmla="*/ 2095042 h 4175528"/>
              <a:gd name="connsiteX5" fmla="*/ 412790 w 2176296"/>
              <a:gd name="connsiteY5" fmla="*/ 3261754 h 4175528"/>
              <a:gd name="connsiteX6" fmla="*/ 1440484 w 2176296"/>
              <a:gd name="connsiteY6" fmla="*/ 3546067 h 4175528"/>
              <a:gd name="connsiteX7" fmla="*/ 1983366 w 2176296"/>
              <a:gd name="connsiteY7" fmla="*/ 3774735 h 4175528"/>
              <a:gd name="connsiteX8" fmla="*/ 2176296 w 2176296"/>
              <a:gd name="connsiteY8" fmla="*/ 3873834 h 4175528"/>
              <a:gd name="connsiteX9" fmla="*/ 2176296 w 2176296"/>
              <a:gd name="connsiteY9" fmla="*/ 4175528 h 4175528"/>
              <a:gd name="connsiteX10" fmla="*/ 2150160 w 2176296"/>
              <a:gd name="connsiteY10" fmla="*/ 4160076 h 4175528"/>
              <a:gd name="connsiteX11" fmla="*/ 1355901 w 2176296"/>
              <a:gd name="connsiteY11" fmla="*/ 3799122 h 4175528"/>
              <a:gd name="connsiteX12" fmla="*/ 119536 w 2176296"/>
              <a:gd name="connsiteY12" fmla="*/ 3486036 h 4175528"/>
              <a:gd name="connsiteX13" fmla="*/ 732 w 2176296"/>
              <a:gd name="connsiteY13" fmla="*/ 3339530 h 4175528"/>
              <a:gd name="connsiteX14" fmla="*/ 42542 w 2176296"/>
              <a:gd name="connsiteY14" fmla="*/ 3255726 h 4175528"/>
              <a:gd name="connsiteX15" fmla="*/ 712245 w 2176296"/>
              <a:gd name="connsiteY15" fmla="*/ 847841 h 4175528"/>
              <a:gd name="connsiteX16" fmla="*/ 204588 w 2176296"/>
              <a:gd name="connsiteY16" fmla="*/ 89932 h 4175528"/>
              <a:gd name="connsiteX17" fmla="*/ 103142 w 2176296"/>
              <a:gd name="connsiteY17" fmla="*/ 0 h 4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6296" h="4175528">
                <a:moveTo>
                  <a:pt x="103142" y="0"/>
                </a:moveTo>
                <a:lnTo>
                  <a:pt x="489726" y="0"/>
                </a:lnTo>
                <a:lnTo>
                  <a:pt x="520852" y="32449"/>
                </a:lnTo>
                <a:cubicBezTo>
                  <a:pt x="708567" y="242737"/>
                  <a:pt x="858030" y="485991"/>
                  <a:pt x="960887" y="751382"/>
                </a:cubicBezTo>
                <a:cubicBezTo>
                  <a:pt x="1128005" y="1179340"/>
                  <a:pt x="1160521" y="1648110"/>
                  <a:pt x="1054090" y="2095042"/>
                </a:cubicBezTo>
                <a:cubicBezTo>
                  <a:pt x="953966" y="2516331"/>
                  <a:pt x="738621" y="2907804"/>
                  <a:pt x="412790" y="3261754"/>
                </a:cubicBezTo>
                <a:cubicBezTo>
                  <a:pt x="762602" y="3328051"/>
                  <a:pt x="1106337" y="3423146"/>
                  <a:pt x="1440484" y="3546067"/>
                </a:cubicBezTo>
                <a:cubicBezTo>
                  <a:pt x="1607006" y="3607097"/>
                  <a:pt x="1790664" y="3682454"/>
                  <a:pt x="1983366" y="3774735"/>
                </a:cubicBezTo>
                <a:lnTo>
                  <a:pt x="2176296" y="3873834"/>
                </a:lnTo>
                <a:lnTo>
                  <a:pt x="2176296" y="4175528"/>
                </a:lnTo>
                <a:lnTo>
                  <a:pt x="2150160" y="4160076"/>
                </a:lnTo>
                <a:cubicBezTo>
                  <a:pt x="1866326" y="4003932"/>
                  <a:pt x="1592891" y="3886307"/>
                  <a:pt x="1355901" y="3799122"/>
                </a:cubicBezTo>
                <a:cubicBezTo>
                  <a:pt x="665797" y="3545249"/>
                  <a:pt x="124919" y="3486595"/>
                  <a:pt x="119536" y="3486036"/>
                </a:cubicBezTo>
                <a:cubicBezTo>
                  <a:pt x="46272" y="3478386"/>
                  <a:pt x="-6918" y="3412793"/>
                  <a:pt x="732" y="3339530"/>
                </a:cubicBezTo>
                <a:cubicBezTo>
                  <a:pt x="4080" y="3307460"/>
                  <a:pt x="18934" y="3277688"/>
                  <a:pt x="42542" y="3255726"/>
                </a:cubicBezTo>
                <a:cubicBezTo>
                  <a:pt x="791657" y="2559451"/>
                  <a:pt x="1035759" y="1681815"/>
                  <a:pt x="712245" y="847841"/>
                </a:cubicBezTo>
                <a:cubicBezTo>
                  <a:pt x="598736" y="555233"/>
                  <a:pt x="422828" y="297865"/>
                  <a:pt x="204588" y="89932"/>
                </a:cubicBezTo>
                <a:lnTo>
                  <a:pt x="103142" y="0"/>
                </a:lnTo>
                <a:close/>
              </a:path>
            </a:pathLst>
          </a:custGeom>
          <a:solidFill>
            <a:schemeClr val="accent3"/>
          </a:solid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930882782"/>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ntent 6">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1"/>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51142050"/>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7">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516956463"/>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 8">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8084867"/>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9">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5"/>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19035664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30475"/>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30804"/>
            <a:ext cx="5286376"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2546090433"/>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10">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6"/>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469722615"/>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Large Righ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005513" y="719138"/>
            <a:ext cx="5465761" cy="5418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501901"/>
            <a:ext cx="4546330" cy="36353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814900"/>
            <a:ext cx="454633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11" name="Freeform: Shape 10">
            <a:extLst>
              <a:ext uri="{FF2B5EF4-FFF2-40B4-BE49-F238E27FC236}">
                <a16:creationId xmlns:a16="http://schemas.microsoft.com/office/drawing/2014/main" id="{CBAB1041-563D-407D-B771-F7CA3C6ADD0E}"/>
              </a:ext>
            </a:extLst>
          </p:cNvPr>
          <p:cNvSpPr/>
          <p:nvPr/>
        </p:nvSpPr>
        <p:spPr>
          <a:xfrm>
            <a:off x="-1" y="-1590"/>
            <a:ext cx="12196027" cy="6859587"/>
          </a:xfrm>
          <a:custGeom>
            <a:avLst/>
            <a:gdLst>
              <a:gd name="connsiteX0" fmla="*/ 0 w 12196027"/>
              <a:gd name="connsiteY0" fmla="*/ 0 h 6859587"/>
              <a:gd name="connsiteX1" fmla="*/ 12196027 w 12196027"/>
              <a:gd name="connsiteY1" fmla="*/ 0 h 6859587"/>
              <a:gd name="connsiteX2" fmla="*/ 12196027 w 12196027"/>
              <a:gd name="connsiteY2" fmla="*/ 6859587 h 6859587"/>
              <a:gd name="connsiteX3" fmla="*/ 0 w 12196027"/>
              <a:gd name="connsiteY3" fmla="*/ 6859587 h 6859587"/>
            </a:gdLst>
            <a:ahLst/>
            <a:cxnLst>
              <a:cxn ang="0">
                <a:pos x="connsiteX0" y="connsiteY0"/>
              </a:cxn>
              <a:cxn ang="0">
                <a:pos x="connsiteX1" y="connsiteY1"/>
              </a:cxn>
              <a:cxn ang="0">
                <a:pos x="connsiteX2" y="connsiteY2"/>
              </a:cxn>
              <a:cxn ang="0">
                <a:pos x="connsiteX3" y="connsiteY3"/>
              </a:cxn>
            </a:cxnLst>
            <a:rect l="l" t="t" r="r" b="b"/>
            <a:pathLst>
              <a:path w="12196027" h="6859587">
                <a:moveTo>
                  <a:pt x="0" y="0"/>
                </a:moveTo>
                <a:lnTo>
                  <a:pt x="12196027" y="0"/>
                </a:lnTo>
                <a:lnTo>
                  <a:pt x="12196027" y="6859587"/>
                </a:lnTo>
                <a:lnTo>
                  <a:pt x="0" y="6859587"/>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065A25C6-22C3-4470-8B3F-33557246929E}"/>
              </a:ext>
            </a:extLst>
          </p:cNvPr>
          <p:cNvSpPr/>
          <p:nvPr/>
        </p:nvSpPr>
        <p:spPr>
          <a:xfrm>
            <a:off x="5503374" y="1946274"/>
            <a:ext cx="266762" cy="4911726"/>
          </a:xfrm>
          <a:custGeom>
            <a:avLst/>
            <a:gdLst>
              <a:gd name="connsiteX0" fmla="*/ 133381 w 266762"/>
              <a:gd name="connsiteY0" fmla="*/ 0 h 4911726"/>
              <a:gd name="connsiteX1" fmla="*/ 266762 w 266762"/>
              <a:gd name="connsiteY1" fmla="*/ 133381 h 4911726"/>
              <a:gd name="connsiteX2" fmla="*/ 266762 w 266762"/>
              <a:gd name="connsiteY2" fmla="*/ 4911726 h 4911726"/>
              <a:gd name="connsiteX3" fmla="*/ 0 w 266762"/>
              <a:gd name="connsiteY3" fmla="*/ 4911726 h 4911726"/>
              <a:gd name="connsiteX4" fmla="*/ 0 w 266762"/>
              <a:gd name="connsiteY4" fmla="*/ 133381 h 4911726"/>
              <a:gd name="connsiteX5" fmla="*/ 133381 w 266762"/>
              <a:gd name="connsiteY5" fmla="*/ 0 h 491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762" h="4911726">
                <a:moveTo>
                  <a:pt x="133381" y="0"/>
                </a:moveTo>
                <a:cubicBezTo>
                  <a:pt x="207045" y="0"/>
                  <a:pt x="266762" y="59717"/>
                  <a:pt x="266762" y="133381"/>
                </a:cubicBezTo>
                <a:lnTo>
                  <a:pt x="266762" y="4911726"/>
                </a:lnTo>
                <a:lnTo>
                  <a:pt x="0" y="4911726"/>
                </a:lnTo>
                <a:lnTo>
                  <a:pt x="0" y="133381"/>
                </a:lnTo>
                <a:cubicBezTo>
                  <a:pt x="0" y="59717"/>
                  <a:pt x="59717" y="0"/>
                  <a:pt x="133381" y="0"/>
                </a:cubicBezTo>
                <a:close/>
              </a:path>
            </a:pathLst>
          </a:custGeom>
          <a:solidFill>
            <a:schemeClr val="accent1"/>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EA1E9E8E-09DB-4256-9756-C65C9D868554}"/>
              </a:ext>
            </a:extLst>
          </p:cNvPr>
          <p:cNvSpPr/>
          <p:nvPr/>
        </p:nvSpPr>
        <p:spPr>
          <a:xfrm>
            <a:off x="3724953" y="-1593"/>
            <a:ext cx="2045184" cy="3189946"/>
          </a:xfrm>
          <a:custGeom>
            <a:avLst/>
            <a:gdLst>
              <a:gd name="connsiteX0" fmla="*/ 0 w 2045184"/>
              <a:gd name="connsiteY0" fmla="*/ 0 h 3189946"/>
              <a:gd name="connsiteX1" fmla="*/ 445556 w 2045184"/>
              <a:gd name="connsiteY1" fmla="*/ 0 h 3189946"/>
              <a:gd name="connsiteX2" fmla="*/ 594954 w 2045184"/>
              <a:gd name="connsiteY2" fmla="*/ 99642 h 3189946"/>
              <a:gd name="connsiteX3" fmla="*/ 1136304 w 2045184"/>
              <a:gd name="connsiteY3" fmla="*/ 381519 h 3189946"/>
              <a:gd name="connsiteX4" fmla="*/ 1916778 w 2045184"/>
              <a:gd name="connsiteY4" fmla="*/ 599585 h 3189946"/>
              <a:gd name="connsiteX5" fmla="*/ 2040123 w 2045184"/>
              <a:gd name="connsiteY5" fmla="*/ 732299 h 3189946"/>
              <a:gd name="connsiteX6" fmla="*/ 2045184 w 2045184"/>
              <a:gd name="connsiteY6" fmla="*/ 3056273 h 3189946"/>
              <a:gd name="connsiteX7" fmla="*/ 1912096 w 2045184"/>
              <a:gd name="connsiteY7" fmla="*/ 3189946 h 3189946"/>
              <a:gd name="connsiteX8" fmla="*/ 1912089 w 2045184"/>
              <a:gd name="connsiteY8" fmla="*/ 3189946 h 3189946"/>
              <a:gd name="connsiteX9" fmla="*/ 1911803 w 2045184"/>
              <a:gd name="connsiteY9" fmla="*/ 3189939 h 3189946"/>
              <a:gd name="connsiteX10" fmla="*/ 1778422 w 2045184"/>
              <a:gd name="connsiteY10" fmla="*/ 3056850 h 3189946"/>
              <a:gd name="connsiteX11" fmla="*/ 1773609 w 2045184"/>
              <a:gd name="connsiteY11" fmla="*/ 849325 h 3189946"/>
              <a:gd name="connsiteX12" fmla="*/ 1045038 w 2045184"/>
              <a:gd name="connsiteY12" fmla="*/ 632507 h 3189946"/>
              <a:gd name="connsiteX13" fmla="*/ 18044 w 2045184"/>
              <a:gd name="connsiteY13" fmla="*/ 15567 h 3189946"/>
              <a:gd name="connsiteX14" fmla="*/ 0 w 2045184"/>
              <a:gd name="connsiteY14" fmla="*/ 0 h 3189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5184" h="3189946">
                <a:moveTo>
                  <a:pt x="0" y="0"/>
                </a:moveTo>
                <a:lnTo>
                  <a:pt x="445556" y="0"/>
                </a:lnTo>
                <a:lnTo>
                  <a:pt x="594954" y="99642"/>
                </a:lnTo>
                <a:cubicBezTo>
                  <a:pt x="794804" y="224433"/>
                  <a:pt x="979607" y="315591"/>
                  <a:pt x="1136304" y="381519"/>
                </a:cubicBezTo>
                <a:cubicBezTo>
                  <a:pt x="1590148" y="572458"/>
                  <a:pt x="1913565" y="599331"/>
                  <a:pt x="1916778" y="599585"/>
                </a:cubicBezTo>
                <a:cubicBezTo>
                  <a:pt x="1986184" y="604945"/>
                  <a:pt x="2039850" y="662687"/>
                  <a:pt x="2040123" y="732299"/>
                </a:cubicBezTo>
                <a:lnTo>
                  <a:pt x="2045184" y="3056273"/>
                </a:lnTo>
                <a:cubicBezTo>
                  <a:pt x="2045346" y="3129937"/>
                  <a:pt x="1985760" y="3189784"/>
                  <a:pt x="1912096" y="3189946"/>
                </a:cubicBezTo>
                <a:cubicBezTo>
                  <a:pt x="1912093" y="3189946"/>
                  <a:pt x="1912091" y="3189946"/>
                  <a:pt x="1912089" y="3189946"/>
                </a:cubicBezTo>
                <a:lnTo>
                  <a:pt x="1911803" y="3189939"/>
                </a:lnTo>
                <a:cubicBezTo>
                  <a:pt x="1838252" y="3189940"/>
                  <a:pt x="1778583" y="3130400"/>
                  <a:pt x="1778422" y="3056850"/>
                </a:cubicBezTo>
                <a:lnTo>
                  <a:pt x="1773609" y="849325"/>
                </a:lnTo>
                <a:cubicBezTo>
                  <a:pt x="1629212" y="825210"/>
                  <a:pt x="1368505" y="767321"/>
                  <a:pt x="1045038" y="632507"/>
                </a:cubicBezTo>
                <a:cubicBezTo>
                  <a:pt x="764448" y="515561"/>
                  <a:pt x="400282" y="323826"/>
                  <a:pt x="18044" y="15567"/>
                </a:cubicBezTo>
                <a:lnTo>
                  <a:pt x="0" y="0"/>
                </a:lnTo>
                <a:close/>
              </a:path>
            </a:pathLst>
          </a:custGeom>
          <a:solidFill>
            <a:schemeClr val="accent4"/>
          </a:solidFill>
          <a:ln w="12700" cap="flat">
            <a:noFill/>
            <a:prstDash val="solid"/>
            <a:miter/>
          </a:ln>
        </p:spPr>
        <p:txBody>
          <a:bodyPr rtlCol="0" anchor="ctr"/>
          <a:lstStyle/>
          <a:p>
            <a:endParaRPr lang="en-GB"/>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4546330" cy="1368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72559194"/>
      </p:ext>
    </p:extLst>
  </p:cSld>
  <p:clrMapOvr>
    <a:masterClrMapping/>
  </p:clrMapOvr>
  <p:extLst>
    <p:ext uri="{DCECCB84-F9BA-43D5-87BE-67443E8EF086}">
      <p15:sldGuideLst xmlns:p15="http://schemas.microsoft.com/office/powerpoint/2012/main">
        <p15:guide id="1" orient="horz" pos="986" userDrawn="1">
          <p15:clr>
            <a:srgbClr val="A4A3A4"/>
          </p15:clr>
        </p15:guide>
        <p15:guide id="2" orient="horz" pos="1576" userDrawn="1">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Large Righ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916738" y="1565276"/>
            <a:ext cx="4554536"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501900"/>
            <a:ext cx="4375150" cy="31151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814639"/>
            <a:ext cx="454633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4546330" cy="1368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7E4CF89B-9153-40B6-9DAC-F7296DD392CE}"/>
              </a:ext>
            </a:extLst>
          </p:cNvPr>
          <p:cNvSpPr/>
          <p:nvPr/>
        </p:nvSpPr>
        <p:spPr>
          <a:xfrm>
            <a:off x="0" y="0"/>
            <a:ext cx="12193193" cy="6858000"/>
          </a:xfrm>
          <a:custGeom>
            <a:avLst/>
            <a:gdLst>
              <a:gd name="connsiteX0" fmla="*/ 0 w 12193193"/>
              <a:gd name="connsiteY0" fmla="*/ 0 h 6858000"/>
              <a:gd name="connsiteX1" fmla="*/ 12193194 w 12193193"/>
              <a:gd name="connsiteY1" fmla="*/ 0 h 6858000"/>
              <a:gd name="connsiteX2" fmla="*/ 12193194 w 12193193"/>
              <a:gd name="connsiteY2" fmla="*/ 6858000 h 6858000"/>
              <a:gd name="connsiteX3" fmla="*/ 0 w 121931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93" h="6858000">
                <a:moveTo>
                  <a:pt x="0" y="0"/>
                </a:moveTo>
                <a:lnTo>
                  <a:pt x="12193194" y="0"/>
                </a:lnTo>
                <a:lnTo>
                  <a:pt x="12193194" y="6858000"/>
                </a:lnTo>
                <a:lnTo>
                  <a:pt x="0" y="6858000"/>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E01CB456-3579-41C9-8C06-ADC94B9FDA88}"/>
              </a:ext>
            </a:extLst>
          </p:cNvPr>
          <p:cNvSpPr/>
          <p:nvPr userDrawn="1"/>
        </p:nvSpPr>
        <p:spPr>
          <a:xfrm>
            <a:off x="5817635" y="0"/>
            <a:ext cx="1821487" cy="2234280"/>
          </a:xfrm>
          <a:custGeom>
            <a:avLst/>
            <a:gdLst>
              <a:gd name="connsiteX0" fmla="*/ 1437237 w 1821487"/>
              <a:gd name="connsiteY0" fmla="*/ 0 h 2234280"/>
              <a:gd name="connsiteX1" fmla="*/ 1821487 w 1821487"/>
              <a:gd name="connsiteY1" fmla="*/ 0 h 2234280"/>
              <a:gd name="connsiteX2" fmla="*/ 1796412 w 1821487"/>
              <a:gd name="connsiteY2" fmla="*/ 22870 h 2234280"/>
              <a:gd name="connsiteX3" fmla="*/ 255291 w 1821487"/>
              <a:gd name="connsiteY3" fmla="*/ 2154810 h 2234280"/>
              <a:gd name="connsiteX4" fmla="*/ 133253 w 1821487"/>
              <a:gd name="connsiteY4" fmla="*/ 2234280 h 2234280"/>
              <a:gd name="connsiteX5" fmla="*/ 0 w 1821487"/>
              <a:gd name="connsiteY5" fmla="*/ 2100688 h 2234280"/>
              <a:gd name="connsiteX6" fmla="*/ 11362 w 1821487"/>
              <a:gd name="connsiteY6" fmla="*/ 2046980 h 2234280"/>
              <a:gd name="connsiteX7" fmla="*/ 983011 w 1821487"/>
              <a:gd name="connsiteY7" fmla="*/ 493676 h 2234280"/>
              <a:gd name="connsiteX8" fmla="*/ 1347027 w 1821487"/>
              <a:gd name="connsiteY8" fmla="*/ 89809 h 2234280"/>
              <a:gd name="connsiteX9" fmla="*/ 1437237 w 1821487"/>
              <a:gd name="connsiteY9" fmla="*/ 0 h 223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1487" h="2234280">
                <a:moveTo>
                  <a:pt x="1437237" y="0"/>
                </a:moveTo>
                <a:lnTo>
                  <a:pt x="1821487" y="0"/>
                </a:lnTo>
                <a:lnTo>
                  <a:pt x="1796412" y="22870"/>
                </a:lnTo>
                <a:cubicBezTo>
                  <a:pt x="1114823" y="664757"/>
                  <a:pt x="598513" y="1378402"/>
                  <a:pt x="255291" y="2154810"/>
                </a:cubicBezTo>
                <a:cubicBezTo>
                  <a:pt x="233937" y="2203128"/>
                  <a:pt x="186080" y="2234292"/>
                  <a:pt x="133253" y="2234280"/>
                </a:cubicBezTo>
                <a:cubicBezTo>
                  <a:pt x="59566" y="2234186"/>
                  <a:pt x="-93" y="2174375"/>
                  <a:pt x="0" y="2100688"/>
                </a:cubicBezTo>
                <a:cubicBezTo>
                  <a:pt x="24" y="2082191"/>
                  <a:pt x="3893" y="2063902"/>
                  <a:pt x="11362" y="2046980"/>
                </a:cubicBezTo>
                <a:cubicBezTo>
                  <a:pt x="261126" y="1486382"/>
                  <a:pt x="588187" y="963534"/>
                  <a:pt x="983011" y="493676"/>
                </a:cubicBezTo>
                <a:cubicBezTo>
                  <a:pt x="1097446" y="356700"/>
                  <a:pt x="1218867" y="222004"/>
                  <a:pt x="1347027" y="89809"/>
                </a:cubicBezTo>
                <a:lnTo>
                  <a:pt x="1437237" y="0"/>
                </a:lnTo>
                <a:close/>
              </a:path>
            </a:pathLst>
          </a:custGeom>
          <a:solidFill>
            <a:schemeClr val="accent6"/>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7616F8CF-6A9D-4874-8D05-BB69A9E2BF71}"/>
              </a:ext>
            </a:extLst>
          </p:cNvPr>
          <p:cNvSpPr/>
          <p:nvPr/>
        </p:nvSpPr>
        <p:spPr>
          <a:xfrm>
            <a:off x="-3" y="1966905"/>
            <a:ext cx="6084624" cy="4134902"/>
          </a:xfrm>
          <a:custGeom>
            <a:avLst/>
            <a:gdLst>
              <a:gd name="connsiteX0" fmla="*/ 5952774 w 6084624"/>
              <a:gd name="connsiteY0" fmla="*/ 8 h 4134902"/>
              <a:gd name="connsiteX1" fmla="*/ 6004542 w 6084624"/>
              <a:gd name="connsiteY1" fmla="*/ 11149 h 4134902"/>
              <a:gd name="connsiteX2" fmla="*/ 6073475 w 6084624"/>
              <a:gd name="connsiteY2" fmla="*/ 186685 h 4134902"/>
              <a:gd name="connsiteX3" fmla="*/ 6072936 w 6084624"/>
              <a:gd name="connsiteY3" fmla="*/ 187906 h 4134902"/>
              <a:gd name="connsiteX4" fmla="*/ 5490882 w 6084624"/>
              <a:gd name="connsiteY4" fmla="*/ 3323469 h 4134902"/>
              <a:gd name="connsiteX5" fmla="*/ 5453886 w 6084624"/>
              <a:gd name="connsiteY5" fmla="*/ 4018214 h 4134902"/>
              <a:gd name="connsiteX6" fmla="*/ 5321583 w 6084624"/>
              <a:gd name="connsiteY6" fmla="*/ 4134902 h 4134902"/>
              <a:gd name="connsiteX7" fmla="*/ 0 w 6084624"/>
              <a:gd name="connsiteY7" fmla="*/ 4134902 h 4134902"/>
              <a:gd name="connsiteX8" fmla="*/ 0 w 6084624"/>
              <a:gd name="connsiteY8" fmla="*/ 3868202 h 4134902"/>
              <a:gd name="connsiteX9" fmla="*/ 5201206 w 6084624"/>
              <a:gd name="connsiteY9" fmla="*/ 3868202 h 4134902"/>
              <a:gd name="connsiteX10" fmla="*/ 5224268 w 6084624"/>
              <a:gd name="connsiteY10" fmla="*/ 3316604 h 4134902"/>
              <a:gd name="connsiteX11" fmla="*/ 5829007 w 6084624"/>
              <a:gd name="connsiteY11" fmla="*/ 80083 h 4134902"/>
              <a:gd name="connsiteX12" fmla="*/ 5952774 w 6084624"/>
              <a:gd name="connsiteY12" fmla="*/ 8 h 413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4624" h="4134902">
                <a:moveTo>
                  <a:pt x="5952774" y="8"/>
                </a:moveTo>
                <a:cubicBezTo>
                  <a:pt x="5970096" y="199"/>
                  <a:pt x="5987665" y="3790"/>
                  <a:pt x="6004542" y="11149"/>
                </a:cubicBezTo>
                <a:cubicBezTo>
                  <a:pt x="6072050" y="40587"/>
                  <a:pt x="6102913" y="119177"/>
                  <a:pt x="6073475" y="186685"/>
                </a:cubicBezTo>
                <a:cubicBezTo>
                  <a:pt x="6073297" y="187093"/>
                  <a:pt x="6073118" y="187500"/>
                  <a:pt x="6072936" y="187906"/>
                </a:cubicBezTo>
                <a:cubicBezTo>
                  <a:pt x="5540646" y="1392040"/>
                  <a:pt x="5511879" y="2508362"/>
                  <a:pt x="5490882" y="3323469"/>
                </a:cubicBezTo>
                <a:cubicBezTo>
                  <a:pt x="5483904" y="3594042"/>
                  <a:pt x="5477890" y="3827721"/>
                  <a:pt x="5453886" y="4018214"/>
                </a:cubicBezTo>
                <a:cubicBezTo>
                  <a:pt x="5445489" y="4084891"/>
                  <a:pt x="5388787" y="4134901"/>
                  <a:pt x="5321583" y="4134902"/>
                </a:cubicBezTo>
                <a:lnTo>
                  <a:pt x="0" y="4134902"/>
                </a:lnTo>
                <a:lnTo>
                  <a:pt x="0" y="3868202"/>
                </a:lnTo>
                <a:lnTo>
                  <a:pt x="5201206" y="3868202"/>
                </a:lnTo>
                <a:cubicBezTo>
                  <a:pt x="5214092" y="3711647"/>
                  <a:pt x="5218886" y="3525414"/>
                  <a:pt x="5224268" y="3316604"/>
                </a:cubicBezTo>
                <a:cubicBezTo>
                  <a:pt x="5245842" y="2479251"/>
                  <a:pt x="5275391" y="1332453"/>
                  <a:pt x="5829007" y="80083"/>
                </a:cubicBezTo>
                <a:cubicBezTo>
                  <a:pt x="5851085" y="29452"/>
                  <a:pt x="5900811" y="-566"/>
                  <a:pt x="5952774" y="8"/>
                </a:cubicBezTo>
                <a:close/>
              </a:path>
            </a:pathLst>
          </a:custGeom>
          <a:solidFill>
            <a:schemeClr val="tx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231408927"/>
      </p:ext>
    </p:extLst>
  </p:cSld>
  <p:clrMapOvr>
    <a:masterClrMapping/>
  </p:clrMapOvr>
  <p:extLst>
    <p:ext uri="{DCECCB84-F9BA-43D5-87BE-67443E8EF086}">
      <p15:sldGuideLst xmlns:p15="http://schemas.microsoft.com/office/powerpoint/2012/main">
        <p15:guide id="1" orient="horz" pos="986" userDrawn="1">
          <p15:clr>
            <a:srgbClr val="A4A3A4"/>
          </p15:clr>
        </p15:guide>
        <p15:guide id="2" orient="horz" pos="1576" userDrawn="1">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and Quotation">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8" name="Text Quotation 1">
            <a:extLst>
              <a:ext uri="{FF2B5EF4-FFF2-40B4-BE49-F238E27FC236}">
                <a16:creationId xmlns:a16="http://schemas.microsoft.com/office/drawing/2014/main" id="{CF83A6C2-5484-4078-9A95-3943A67F863C}"/>
              </a:ext>
            </a:extLst>
          </p:cNvPr>
          <p:cNvSpPr>
            <a:spLocks noGrp="1"/>
          </p:cNvSpPr>
          <p:nvPr>
            <p:ph type="body" sz="quarter" idx="22" hasCustomPrompt="1"/>
          </p:nvPr>
        </p:nvSpPr>
        <p:spPr>
          <a:xfrm>
            <a:off x="8007350" y="3683303"/>
            <a:ext cx="3465512" cy="2453971"/>
          </a:xfrm>
        </p:spPr>
        <p:txBody>
          <a:bodyPr/>
          <a:lstStyle>
            <a:lvl1pPr marL="0" indent="0">
              <a:lnSpc>
                <a:spcPct val="90000"/>
              </a:lnSpc>
              <a:buFont typeface="Arial" panose="020B0604020202020204" pitchFamily="34" charset="0"/>
              <a:buNone/>
              <a:defRPr sz="2000" i="1">
                <a:solidFill>
                  <a:schemeClr val="accent1"/>
                </a:solidFill>
                <a:latin typeface="+mj-lt"/>
              </a:defRPr>
            </a:lvl1pPr>
            <a:lvl2pPr marL="0" indent="0">
              <a:lnSpc>
                <a:spcPct val="90000"/>
              </a:lnSpc>
              <a:buNone/>
              <a:defRPr sz="1600" i="1">
                <a:latin typeface="+mj-lt"/>
              </a:defRPr>
            </a:lvl2pPr>
            <a:lvl3pPr marL="0" indent="0">
              <a:lnSpc>
                <a:spcPct val="90000"/>
              </a:lnSpc>
              <a:buNone/>
              <a:defRPr sz="1000" i="0">
                <a:latin typeface="+mn-lt"/>
              </a:defRPr>
            </a:lvl3pPr>
            <a:lvl4pPr marL="0" indent="0">
              <a:lnSpc>
                <a:spcPct val="90000"/>
              </a:lnSpc>
              <a:buNone/>
              <a:defRPr sz="1800" i="1">
                <a:solidFill>
                  <a:schemeClr val="accent1"/>
                </a:solidFill>
                <a:latin typeface="+mj-lt"/>
              </a:defRPr>
            </a:lvl4pPr>
            <a:lvl5pPr marL="0" indent="0">
              <a:lnSpc>
                <a:spcPct val="90000"/>
              </a:lnSpc>
              <a:buFont typeface="Arial" panose="020B0604020202020204" pitchFamily="34" charset="0"/>
              <a:buNone/>
              <a:defRPr sz="1400" i="1">
                <a:latin typeface="+mj-lt"/>
              </a:defRPr>
            </a:lvl5pPr>
            <a:lvl6pPr marL="0" indent="0">
              <a:lnSpc>
                <a:spcPct val="90000"/>
              </a:lnSpc>
              <a:buFont typeface="Arial" panose="020B0604020202020204" pitchFamily="34" charset="0"/>
              <a:buNone/>
              <a:defRPr sz="1200" i="1">
                <a:latin typeface="+mj-lt"/>
              </a:defRPr>
            </a:lvl6pPr>
            <a:lvl7pPr marL="0" indent="0">
              <a:lnSpc>
                <a:spcPct val="90000"/>
              </a:lnSpc>
              <a:spcBef>
                <a:spcPts val="800"/>
              </a:spcBef>
              <a:buFont typeface="Arial" panose="020B0604020202020204" pitchFamily="34" charset="0"/>
              <a:buNone/>
              <a:defRPr sz="1400" i="0">
                <a:solidFill>
                  <a:schemeClr val="tx1"/>
                </a:solidFill>
                <a:latin typeface="+mn-lt"/>
              </a:defRPr>
            </a:lvl7pPr>
            <a:lvl8pPr marL="0" indent="0">
              <a:lnSpc>
                <a:spcPct val="90000"/>
              </a:lnSpc>
              <a:spcBef>
                <a:spcPts val="800"/>
              </a:spcBef>
              <a:buFont typeface="Arial" panose="020B0604020202020204" pitchFamily="34" charset="0"/>
              <a:buNone/>
              <a:defRPr sz="1200" i="0">
                <a:solidFill>
                  <a:schemeClr val="tx1"/>
                </a:solidFill>
                <a:latin typeface="+mn-lt"/>
              </a:defRPr>
            </a:lvl8pPr>
            <a:lvl9pPr marL="0" indent="0">
              <a:lnSpc>
                <a:spcPct val="90000"/>
              </a:lnSpc>
              <a:spcBef>
                <a:spcPts val="800"/>
              </a:spcBef>
              <a:buFont typeface="Arial" panose="020B0604020202020204" pitchFamily="34" charset="0"/>
              <a:buNone/>
              <a:defRPr sz="1000" i="0">
                <a:solidFill>
                  <a:schemeClr val="tx1"/>
                </a:solidFill>
                <a:latin typeface="+mn-lt"/>
              </a:defRPr>
            </a:lvl9pPr>
          </a:lstStyle>
          <a:p>
            <a:pPr lvl="0"/>
            <a:r>
              <a:rPr lang="en-GB" dirty="0"/>
              <a:t>Click to add quotation</a:t>
            </a:r>
          </a:p>
          <a:p>
            <a:pPr lvl="1"/>
            <a:r>
              <a:rPr lang="en-GB" dirty="0"/>
              <a:t>Second level – Name</a:t>
            </a:r>
          </a:p>
          <a:p>
            <a:pPr lvl="2"/>
            <a:r>
              <a:rPr lang="en-GB" dirty="0"/>
              <a:t>Third level – Job Title - Organisation</a:t>
            </a:r>
          </a:p>
          <a:p>
            <a:pPr lvl="3"/>
            <a:r>
              <a:rPr lang="en-GB" dirty="0"/>
              <a:t>Fourth level</a:t>
            </a:r>
          </a:p>
          <a:p>
            <a:pPr lvl="4"/>
            <a:r>
              <a:rPr lang="en-GB" dirty="0"/>
              <a:t>Fifth level – Number 1</a:t>
            </a:r>
          </a:p>
          <a:p>
            <a:pPr lvl="5"/>
            <a:r>
              <a:rPr lang="en-GB" dirty="0"/>
              <a:t>Sixth level – Number 2</a:t>
            </a:r>
          </a:p>
          <a:p>
            <a:pPr lvl="6"/>
            <a:r>
              <a:rPr lang="en-GB" dirty="0"/>
              <a:t>Seventh level – Heading 1</a:t>
            </a:r>
          </a:p>
          <a:p>
            <a:pPr lvl="7"/>
            <a:r>
              <a:rPr lang="en-GB" dirty="0"/>
              <a:t>Eighth level – Heading 2</a:t>
            </a:r>
          </a:p>
          <a:p>
            <a:pPr lvl="8"/>
            <a:r>
              <a:rPr lang="en-GB" dirty="0"/>
              <a:t>Ninth level – Pull-out</a:t>
            </a:r>
          </a:p>
        </p:txBody>
      </p:sp>
      <p:sp>
        <p:nvSpPr>
          <p:cNvPr id="21" name="Quote Icon">
            <a:extLst>
              <a:ext uri="{FF2B5EF4-FFF2-40B4-BE49-F238E27FC236}">
                <a16:creationId xmlns:a16="http://schemas.microsoft.com/office/drawing/2014/main" id="{83E37669-D60C-4BDC-89D8-76B20DB9CD69}"/>
              </a:ext>
            </a:extLst>
          </p:cNvPr>
          <p:cNvSpPr>
            <a:spLocks noGrp="1" noChangeAspect="1"/>
          </p:cNvSpPr>
          <p:nvPr>
            <p:ph type="body" sz="quarter" idx="23" hasCustomPrompt="1"/>
          </p:nvPr>
        </p:nvSpPr>
        <p:spPr>
          <a:xfrm>
            <a:off x="8007350" y="3084485"/>
            <a:ext cx="432000" cy="432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
        <p:nvSpPr>
          <p:cNvPr id="10" name="Freeform: Shape 9">
            <a:extLst>
              <a:ext uri="{FF2B5EF4-FFF2-40B4-BE49-F238E27FC236}">
                <a16:creationId xmlns:a16="http://schemas.microsoft.com/office/drawing/2014/main" id="{7C827E1D-DD48-44F3-B112-3D7A29CC8B57}"/>
              </a:ext>
            </a:extLst>
          </p:cNvPr>
          <p:cNvSpPr/>
          <p:nvPr/>
        </p:nvSpPr>
        <p:spPr>
          <a:xfrm>
            <a:off x="0" y="0"/>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325EB17-9B77-4BB7-B493-547AA259F275}"/>
              </a:ext>
            </a:extLst>
          </p:cNvPr>
          <p:cNvSpPr/>
          <p:nvPr/>
        </p:nvSpPr>
        <p:spPr>
          <a:xfrm>
            <a:off x="7972806" y="2590800"/>
            <a:ext cx="4219193" cy="266700"/>
          </a:xfrm>
          <a:custGeom>
            <a:avLst/>
            <a:gdLst>
              <a:gd name="connsiteX0" fmla="*/ 133350 w 4219193"/>
              <a:gd name="connsiteY0" fmla="*/ 0 h 266700"/>
              <a:gd name="connsiteX1" fmla="*/ 0 w 4219193"/>
              <a:gd name="connsiteY1" fmla="*/ 133350 h 266700"/>
              <a:gd name="connsiteX2" fmla="*/ 133350 w 4219193"/>
              <a:gd name="connsiteY2" fmla="*/ 266700 h 266700"/>
              <a:gd name="connsiteX3" fmla="*/ 4219194 w 4219193"/>
              <a:gd name="connsiteY3" fmla="*/ 266700 h 266700"/>
              <a:gd name="connsiteX4" fmla="*/ 4219194 w 4219193"/>
              <a:gd name="connsiteY4" fmla="*/ 0 h 266700"/>
              <a:gd name="connsiteX5" fmla="*/ 133350 w 4219193"/>
              <a:gd name="connsiteY5" fmla="*/ 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9193" h="266700">
                <a:moveTo>
                  <a:pt x="133350" y="0"/>
                </a:moveTo>
                <a:cubicBezTo>
                  <a:pt x="59703" y="0"/>
                  <a:pt x="0" y="59703"/>
                  <a:pt x="0" y="133350"/>
                </a:cubicBezTo>
                <a:cubicBezTo>
                  <a:pt x="0" y="206997"/>
                  <a:pt x="59703" y="266700"/>
                  <a:pt x="133350" y="266700"/>
                </a:cubicBezTo>
                <a:lnTo>
                  <a:pt x="4219194" y="266700"/>
                </a:lnTo>
                <a:lnTo>
                  <a:pt x="4219194" y="0"/>
                </a:lnTo>
                <a:lnTo>
                  <a:pt x="133350" y="0"/>
                </a:lnTo>
                <a:close/>
              </a:path>
            </a:pathLst>
          </a:custGeom>
          <a:solidFill>
            <a:srgbClr val="FFE84C"/>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4D3F087-01E9-453B-8992-8328DC5AED5E}"/>
              </a:ext>
            </a:extLst>
          </p:cNvPr>
          <p:cNvSpPr/>
          <p:nvPr/>
        </p:nvSpPr>
        <p:spPr>
          <a:xfrm>
            <a:off x="6323203" y="2591054"/>
            <a:ext cx="1916303" cy="4266945"/>
          </a:xfrm>
          <a:custGeom>
            <a:avLst/>
            <a:gdLst>
              <a:gd name="connsiteX0" fmla="*/ 1044067 w 1916303"/>
              <a:gd name="connsiteY0" fmla="*/ 797179 h 4266945"/>
              <a:gd name="connsiteX1" fmla="*/ 1066165 w 1916303"/>
              <a:gd name="connsiteY1" fmla="*/ 266700 h 4266945"/>
              <a:gd name="connsiteX2" fmla="*/ 1782953 w 1916303"/>
              <a:gd name="connsiteY2" fmla="*/ 266700 h 4266945"/>
              <a:gd name="connsiteX3" fmla="*/ 1916303 w 1916303"/>
              <a:gd name="connsiteY3" fmla="*/ 133350 h 4266945"/>
              <a:gd name="connsiteX4" fmla="*/ 1782953 w 1916303"/>
              <a:gd name="connsiteY4" fmla="*/ 0 h 4266945"/>
              <a:gd name="connsiteX5" fmla="*/ 945642 w 1916303"/>
              <a:gd name="connsiteY5" fmla="*/ 0 h 4266945"/>
              <a:gd name="connsiteX6" fmla="*/ 813435 w 1916303"/>
              <a:gd name="connsiteY6" fmla="*/ 116586 h 4266945"/>
              <a:gd name="connsiteX7" fmla="*/ 777494 w 1916303"/>
              <a:gd name="connsiteY7" fmla="*/ 790321 h 4266945"/>
              <a:gd name="connsiteX8" fmla="*/ 0 w 1916303"/>
              <a:gd name="connsiteY8" fmla="*/ 4266946 h 4266945"/>
              <a:gd name="connsiteX9" fmla="*/ 297307 w 1916303"/>
              <a:gd name="connsiteY9" fmla="*/ 4266946 h 4266945"/>
              <a:gd name="connsiteX10" fmla="*/ 594360 w 1916303"/>
              <a:gd name="connsiteY10" fmla="*/ 3597783 h 4266945"/>
              <a:gd name="connsiteX11" fmla="*/ 1044067 w 1916303"/>
              <a:gd name="connsiteY11" fmla="*/ 797179 h 426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16303" h="4266945">
                <a:moveTo>
                  <a:pt x="1044067" y="797179"/>
                </a:moveTo>
                <a:cubicBezTo>
                  <a:pt x="1049274" y="596519"/>
                  <a:pt x="1053846" y="417449"/>
                  <a:pt x="1066165" y="266700"/>
                </a:cubicBezTo>
                <a:lnTo>
                  <a:pt x="1782953" y="266700"/>
                </a:lnTo>
                <a:cubicBezTo>
                  <a:pt x="1856601" y="266700"/>
                  <a:pt x="1916303" y="206997"/>
                  <a:pt x="1916303" y="133350"/>
                </a:cubicBezTo>
                <a:cubicBezTo>
                  <a:pt x="1916303" y="59703"/>
                  <a:pt x="1856601" y="0"/>
                  <a:pt x="1782953" y="0"/>
                </a:cubicBezTo>
                <a:lnTo>
                  <a:pt x="945642" y="0"/>
                </a:lnTo>
                <a:cubicBezTo>
                  <a:pt x="878487" y="-14"/>
                  <a:pt x="821821" y="49957"/>
                  <a:pt x="813435" y="116586"/>
                </a:cubicBezTo>
                <a:cubicBezTo>
                  <a:pt x="790067" y="301371"/>
                  <a:pt x="784225" y="527939"/>
                  <a:pt x="777494" y="790321"/>
                </a:cubicBezTo>
                <a:cubicBezTo>
                  <a:pt x="754380" y="1683004"/>
                  <a:pt x="721740" y="2947797"/>
                  <a:pt x="0" y="4266946"/>
                </a:cubicBezTo>
                <a:lnTo>
                  <a:pt x="297307" y="4266946"/>
                </a:lnTo>
                <a:cubicBezTo>
                  <a:pt x="409624" y="4050036"/>
                  <a:pt x="508820" y="3826580"/>
                  <a:pt x="594360" y="3597783"/>
                </a:cubicBezTo>
                <a:cubicBezTo>
                  <a:pt x="999744" y="2512441"/>
                  <a:pt x="1025398" y="1521079"/>
                  <a:pt x="1044067" y="797179"/>
                </a:cubicBez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22949209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11066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110662" cy="720000"/>
          </a:xfrm>
        </p:spPr>
        <p:txBody>
          <a:bodyPr/>
          <a:lstStyle/>
          <a:p>
            <a:pPr lvl="0"/>
            <a:r>
              <a:rPr lang="en-US"/>
              <a:t>Click to edit Master title style</a:t>
            </a:r>
            <a:endParaRPr lang="en-GB" dirty="0"/>
          </a:p>
        </p:txBody>
      </p:sp>
      <p:sp>
        <p:nvSpPr>
          <p:cNvPr id="12" name="Freeform: Shape 11">
            <a:extLst>
              <a:ext uri="{FF2B5EF4-FFF2-40B4-BE49-F238E27FC236}">
                <a16:creationId xmlns:a16="http://schemas.microsoft.com/office/drawing/2014/main" id="{AB4A32E8-75AB-42D3-86D2-1B66C4AB73D9}"/>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168678461"/>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6" name="Content Placeholder 3">
            <a:extLst>
              <a:ext uri="{FF2B5EF4-FFF2-40B4-BE49-F238E27FC236}">
                <a16:creationId xmlns:a16="http://schemas.microsoft.com/office/drawing/2014/main" id="{828B6303-5E5A-4F9F-B85F-7C003AC607B9}"/>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a:extLst>
              <a:ext uri="{FF2B5EF4-FFF2-40B4-BE49-F238E27FC236}">
                <a16:creationId xmlns:a16="http://schemas.microsoft.com/office/drawing/2014/main" id="{C14F23CB-D366-4F09-BEDD-C82A562BC064}"/>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1">
            <a:extLst>
              <a:ext uri="{FF2B5EF4-FFF2-40B4-BE49-F238E27FC236}">
                <a16:creationId xmlns:a16="http://schemas.microsoft.com/office/drawing/2014/main" id="{2508DEB1-7FFB-4003-BD92-0A426636F4B2}"/>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9" name="Freeform: Shape 8">
            <a:extLst>
              <a:ext uri="{FF2B5EF4-FFF2-40B4-BE49-F238E27FC236}">
                <a16:creationId xmlns:a16="http://schemas.microsoft.com/office/drawing/2014/main" id="{20C34EB3-71F9-4B2D-8EEE-10FB2F2DE143}"/>
              </a:ext>
            </a:extLst>
          </p:cNvPr>
          <p:cNvSpPr/>
          <p:nvPr/>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39AB9437-5153-4E47-9687-8F42B346B14C}"/>
              </a:ext>
            </a:extLst>
          </p:cNvPr>
          <p:cNvSpPr/>
          <p:nvPr/>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88B3C57A-F96E-40E7-A327-2E5A668D994C}"/>
              </a:ext>
            </a:extLst>
          </p:cNvPr>
          <p:cNvSpPr/>
          <p:nvPr/>
        </p:nvSpPr>
        <p:spPr>
          <a:xfrm>
            <a:off x="8958833" y="0"/>
            <a:ext cx="3233293" cy="1615694"/>
          </a:xfrm>
          <a:custGeom>
            <a:avLst/>
            <a:gdLst>
              <a:gd name="connsiteX0" fmla="*/ 297942 w 3233293"/>
              <a:gd name="connsiteY0" fmla="*/ 316484 h 1615694"/>
              <a:gd name="connsiteX1" fmla="*/ 3233293 w 3233293"/>
              <a:gd name="connsiteY1" fmla="*/ 1615694 h 1615694"/>
              <a:gd name="connsiteX2" fmla="*/ 3233293 w 3233293"/>
              <a:gd name="connsiteY2" fmla="*/ 0 h 1615694"/>
              <a:gd name="connsiteX3" fmla="*/ 0 w 3233293"/>
              <a:gd name="connsiteY3" fmla="*/ 0 h 1615694"/>
              <a:gd name="connsiteX4" fmla="*/ 297942 w 3233293"/>
              <a:gd name="connsiteY4" fmla="*/ 316484 h 1615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3293" h="1615694">
                <a:moveTo>
                  <a:pt x="297942" y="316484"/>
                </a:moveTo>
                <a:cubicBezTo>
                  <a:pt x="1101217" y="1095629"/>
                  <a:pt x="2088642" y="1532382"/>
                  <a:pt x="3233293" y="1615694"/>
                </a:cubicBezTo>
                <a:lnTo>
                  <a:pt x="3233293" y="0"/>
                </a:lnTo>
                <a:lnTo>
                  <a:pt x="0" y="0"/>
                </a:lnTo>
                <a:cubicBezTo>
                  <a:pt x="88519" y="102870"/>
                  <a:pt x="187706" y="209550"/>
                  <a:pt x="297942" y="316484"/>
                </a:cubicBezTo>
                <a:close/>
              </a:path>
            </a:pathLst>
          </a:custGeom>
          <a:no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97C31D8C-1F17-46A9-B024-3B19A10B3DA3}"/>
              </a:ext>
            </a:extLst>
          </p:cNvPr>
          <p:cNvSpPr/>
          <p:nvPr/>
        </p:nvSpPr>
        <p:spPr>
          <a:xfrm>
            <a:off x="8637125"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5"/>
          </a:solidFill>
          <a:ln w="12700" cap="flat">
            <a:noFill/>
            <a:prstDash val="solid"/>
            <a:miter/>
          </a:ln>
        </p:spPr>
        <p:txBody>
          <a:bodyPr rtlCol="0" anchor="ctr"/>
          <a:lstStyle/>
          <a:p>
            <a:endParaRPr lang="en-GB"/>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840912"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2880992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ree Content and Image">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1CD836DB-20FF-4ECB-BFDB-285EE8F4E18F}"/>
              </a:ext>
            </a:extLst>
          </p:cNvPr>
          <p:cNvGrpSpPr/>
          <p:nvPr userDrawn="1"/>
        </p:nvGrpSpPr>
        <p:grpSpPr>
          <a:xfrm>
            <a:off x="8944357" y="1706544"/>
            <a:ext cx="3247771" cy="5151963"/>
            <a:chOff x="8944357" y="1706544"/>
            <a:chExt cx="3247771" cy="5151963"/>
          </a:xfrm>
        </p:grpSpPr>
        <p:sp>
          <p:nvSpPr>
            <p:cNvPr id="18" name="Freeform: Shape 17">
              <a:extLst>
                <a:ext uri="{FF2B5EF4-FFF2-40B4-BE49-F238E27FC236}">
                  <a16:creationId xmlns:a16="http://schemas.microsoft.com/office/drawing/2014/main" id="{05966845-85E6-49B2-AB13-39C3A22ACF17}"/>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chemeClr val="accent2"/>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A0D2D12A-F7B7-4BA7-AB91-7EC22598788D}"/>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chemeClr val="accent1"/>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
        <p:nvSpPr>
          <p:cNvPr id="6" name="Picture Placeholder 5">
            <a:extLst>
              <a:ext uri="{FF2B5EF4-FFF2-40B4-BE49-F238E27FC236}">
                <a16:creationId xmlns:a16="http://schemas.microsoft.com/office/drawing/2014/main" id="{4B43E360-FC59-4631-9065-F313F8D5F664}"/>
              </a:ext>
            </a:extLst>
          </p:cNvPr>
          <p:cNvSpPr>
            <a:spLocks noGrp="1"/>
          </p:cNvSpPr>
          <p:nvPr>
            <p:ph type="pic" sz="quarter" idx="15"/>
          </p:nvPr>
        </p:nvSpPr>
        <p:spPr>
          <a:xfrm>
            <a:off x="8918575" y="2127906"/>
            <a:ext cx="2552699" cy="4006800"/>
          </a:xfrm>
        </p:spPr>
        <p:txBody>
          <a:bodyPr/>
          <a:lstStyle/>
          <a:p>
            <a:r>
              <a:rPr lang="en-US"/>
              <a:t>Click icon to add picture</a:t>
            </a:r>
            <a:endParaRPr lang="en-GB" dirty="0"/>
          </a:p>
        </p:txBody>
      </p:sp>
      <p:sp>
        <p:nvSpPr>
          <p:cNvPr id="17" name="Freeform: Shape 16">
            <a:extLst>
              <a:ext uri="{FF2B5EF4-FFF2-40B4-BE49-F238E27FC236}">
                <a16:creationId xmlns:a16="http://schemas.microsoft.com/office/drawing/2014/main" id="{324DC9B5-A353-4960-B089-EE1C2A20997D}"/>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64826261"/>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7"/>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7"/>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7"/>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7"/>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11066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06E694C4-9BFB-4141-B1A7-97C150BE685E}"/>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865536544"/>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ur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84091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8201026" cy="720000"/>
          </a:xfrm>
        </p:spPr>
        <p:txBody>
          <a:bodyPr/>
          <a:lstStyle/>
          <a:p>
            <a:pPr lvl="0"/>
            <a:r>
              <a:rPr lang="en-US"/>
              <a:t>Click to edit Master title style</a:t>
            </a:r>
            <a:endParaRPr lang="en-GB" dirty="0"/>
          </a:p>
        </p:txBody>
      </p:sp>
      <p:sp>
        <p:nvSpPr>
          <p:cNvPr id="16" name="Freeform: Shape 15">
            <a:extLst>
              <a:ext uri="{FF2B5EF4-FFF2-40B4-BE49-F238E27FC236}">
                <a16:creationId xmlns:a16="http://schemas.microsoft.com/office/drawing/2014/main" id="{A3FBBA86-6D28-470B-B82F-E07AEEEA545A}"/>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904482470"/>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our Content 4">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6186488" y="4215056"/>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719137" y="4215056"/>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6488" y="2128838"/>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020300"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110662" cy="720000"/>
          </a:xfrm>
        </p:spPr>
        <p:txBody>
          <a:bodyPr/>
          <a:lstStyle/>
          <a:p>
            <a:pPr lvl="0"/>
            <a:r>
              <a:rPr lang="en-US"/>
              <a:t>Click to edit Master title style</a:t>
            </a:r>
            <a:endParaRPr lang="en-GB" dirty="0"/>
          </a:p>
        </p:txBody>
      </p:sp>
      <p:sp>
        <p:nvSpPr>
          <p:cNvPr id="13" name="Freeform: Shape 12">
            <a:extLst>
              <a:ext uri="{FF2B5EF4-FFF2-40B4-BE49-F238E27FC236}">
                <a16:creationId xmlns:a16="http://schemas.microsoft.com/office/drawing/2014/main" id="{818F1BCE-16CB-48EB-BE3B-58808302C046}"/>
              </a:ext>
            </a:extLst>
          </p:cNvPr>
          <p:cNvSpPr/>
          <p:nvPr userDrawn="1"/>
        </p:nvSpPr>
        <p:spPr>
          <a:xfrm>
            <a:off x="8828904" y="0"/>
            <a:ext cx="3363096" cy="3729110"/>
          </a:xfrm>
          <a:custGeom>
            <a:avLst/>
            <a:gdLst>
              <a:gd name="connsiteX0" fmla="*/ 0 w 3363096"/>
              <a:gd name="connsiteY0" fmla="*/ 0 h 3729110"/>
              <a:gd name="connsiteX1" fmla="*/ 728074 w 3363096"/>
              <a:gd name="connsiteY1" fmla="*/ 0 h 3729110"/>
              <a:gd name="connsiteX2" fmla="*/ 968906 w 3363096"/>
              <a:gd name="connsiteY2" fmla="*/ 116498 h 3729110"/>
              <a:gd name="connsiteX3" fmla="*/ 3096120 w 3363096"/>
              <a:gd name="connsiteY3" fmla="*/ 2231288 h 3729110"/>
              <a:gd name="connsiteX4" fmla="*/ 3240633 w 3363096"/>
              <a:gd name="connsiteY4" fmla="*/ 2529001 h 3729110"/>
              <a:gd name="connsiteX5" fmla="*/ 3363096 w 3363096"/>
              <a:gd name="connsiteY5" fmla="*/ 2824201 h 3729110"/>
              <a:gd name="connsiteX6" fmla="*/ 3363096 w 3363096"/>
              <a:gd name="connsiteY6" fmla="*/ 3729110 h 3729110"/>
              <a:gd name="connsiteX7" fmla="*/ 3328737 w 3363096"/>
              <a:gd name="connsiteY7" fmla="*/ 3584522 h 3729110"/>
              <a:gd name="connsiteX8" fmla="*/ 2859849 w 3363096"/>
              <a:gd name="connsiteY8" fmla="*/ 2354986 h 3729110"/>
              <a:gd name="connsiteX9" fmla="*/ 277127 w 3363096"/>
              <a:gd name="connsiteY9" fmla="*/ 98569 h 3729110"/>
              <a:gd name="connsiteX10" fmla="*/ 0 w 3363096"/>
              <a:gd name="connsiteY10" fmla="*/ 0 h 372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3096" h="3729110">
                <a:moveTo>
                  <a:pt x="0" y="0"/>
                </a:moveTo>
                <a:lnTo>
                  <a:pt x="728074" y="0"/>
                </a:lnTo>
                <a:lnTo>
                  <a:pt x="968906" y="116498"/>
                </a:lnTo>
                <a:cubicBezTo>
                  <a:pt x="1900050" y="599885"/>
                  <a:pt x="2612194" y="1306901"/>
                  <a:pt x="3096120" y="2231288"/>
                </a:cubicBezTo>
                <a:cubicBezTo>
                  <a:pt x="3146748" y="2327997"/>
                  <a:pt x="3194924" y="2427252"/>
                  <a:pt x="3240633" y="2529001"/>
                </a:cubicBezTo>
                <a:lnTo>
                  <a:pt x="3363096" y="2824201"/>
                </a:lnTo>
                <a:lnTo>
                  <a:pt x="3363096" y="3729110"/>
                </a:lnTo>
                <a:lnTo>
                  <a:pt x="3328737" y="3584522"/>
                </a:lnTo>
                <a:cubicBezTo>
                  <a:pt x="3210521" y="3136652"/>
                  <a:pt x="3053949" y="2725763"/>
                  <a:pt x="2859849" y="2354986"/>
                </a:cubicBezTo>
                <a:cubicBezTo>
                  <a:pt x="2309303" y="1303371"/>
                  <a:pt x="1443340" y="547810"/>
                  <a:pt x="277127" y="98569"/>
                </a:cubicBezTo>
                <a:lnTo>
                  <a:pt x="0" y="0"/>
                </a:lnTo>
                <a:close/>
              </a:path>
            </a:pathLst>
          </a:custGeom>
          <a:solidFill>
            <a:schemeClr val="tx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07433483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No subhead)">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1627188"/>
            <a:ext cx="5286376" cy="4510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1627188"/>
            <a:ext cx="5286376" cy="4510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78212305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Content 5">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884741"/>
            <a:ext cx="2551111"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884741"/>
            <a:ext cx="2551111"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884741"/>
            <a:ext cx="2552699"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884741"/>
            <a:ext cx="2552700"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
        <p:nvSpPr>
          <p:cNvPr id="28" name="Freeform: Shape 27">
            <a:extLst>
              <a:ext uri="{FF2B5EF4-FFF2-40B4-BE49-F238E27FC236}">
                <a16:creationId xmlns:a16="http://schemas.microsoft.com/office/drawing/2014/main" id="{8DF29A4C-9712-4E66-B9C1-AF538CFF51BB}"/>
              </a:ext>
            </a:extLst>
          </p:cNvPr>
          <p:cNvSpPr/>
          <p:nvPr userDrawn="1"/>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CB2D6E4F-11A2-47EB-92FE-B5E446DBE52C}"/>
              </a:ext>
            </a:extLst>
          </p:cNvPr>
          <p:cNvSpPr/>
          <p:nvPr/>
        </p:nvSpPr>
        <p:spPr>
          <a:xfrm>
            <a:off x="8650096" y="2349500"/>
            <a:ext cx="3541903" cy="266700"/>
          </a:xfrm>
          <a:custGeom>
            <a:avLst/>
            <a:gdLst>
              <a:gd name="connsiteX0" fmla="*/ 0 w 3541903"/>
              <a:gd name="connsiteY0" fmla="*/ 133350 h 266700"/>
              <a:gd name="connsiteX1" fmla="*/ 133350 w 3541903"/>
              <a:gd name="connsiteY1" fmla="*/ 266700 h 266700"/>
              <a:gd name="connsiteX2" fmla="*/ 3541903 w 3541903"/>
              <a:gd name="connsiteY2" fmla="*/ 266700 h 266700"/>
              <a:gd name="connsiteX3" fmla="*/ 3541903 w 3541903"/>
              <a:gd name="connsiteY3" fmla="*/ 0 h 266700"/>
              <a:gd name="connsiteX4" fmla="*/ 133350 w 3541903"/>
              <a:gd name="connsiteY4" fmla="*/ 0 h 266700"/>
              <a:gd name="connsiteX5" fmla="*/ 0 w 3541903"/>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41903" h="266700">
                <a:moveTo>
                  <a:pt x="0" y="133350"/>
                </a:moveTo>
                <a:cubicBezTo>
                  <a:pt x="0" y="206997"/>
                  <a:pt x="59703" y="266700"/>
                  <a:pt x="133350" y="266700"/>
                </a:cubicBezTo>
                <a:lnTo>
                  <a:pt x="3541903" y="266700"/>
                </a:lnTo>
                <a:lnTo>
                  <a:pt x="3541903" y="0"/>
                </a:lnTo>
                <a:lnTo>
                  <a:pt x="133350" y="0"/>
                </a:lnTo>
                <a:cubicBezTo>
                  <a:pt x="59703" y="0"/>
                  <a:pt x="0" y="59703"/>
                  <a:pt x="0" y="133350"/>
                </a:cubicBezTo>
                <a:close/>
              </a:path>
            </a:pathLst>
          </a:custGeom>
          <a:solidFill>
            <a:schemeClr val="accent3"/>
          </a:solidFill>
          <a:ln w="12700"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76FF8548-3421-4E4E-9A66-8B44D31050B3}"/>
              </a:ext>
            </a:extLst>
          </p:cNvPr>
          <p:cNvSpPr/>
          <p:nvPr/>
        </p:nvSpPr>
        <p:spPr>
          <a:xfrm>
            <a:off x="5683884" y="2349500"/>
            <a:ext cx="3805428" cy="266700"/>
          </a:xfrm>
          <a:custGeom>
            <a:avLst/>
            <a:gdLst>
              <a:gd name="connsiteX0" fmla="*/ 3672078 w 3805428"/>
              <a:gd name="connsiteY0" fmla="*/ 266700 h 266700"/>
              <a:gd name="connsiteX1" fmla="*/ 133350 w 3805428"/>
              <a:gd name="connsiteY1" fmla="*/ 266700 h 266700"/>
              <a:gd name="connsiteX2" fmla="*/ 0 w 3805428"/>
              <a:gd name="connsiteY2" fmla="*/ 133350 h 266700"/>
              <a:gd name="connsiteX3" fmla="*/ 133350 w 3805428"/>
              <a:gd name="connsiteY3" fmla="*/ 0 h 266700"/>
              <a:gd name="connsiteX4" fmla="*/ 3672078 w 3805428"/>
              <a:gd name="connsiteY4" fmla="*/ 0 h 266700"/>
              <a:gd name="connsiteX5" fmla="*/ 3805428 w 3805428"/>
              <a:gd name="connsiteY5" fmla="*/ 133350 h 266700"/>
              <a:gd name="connsiteX6" fmla="*/ 3672078 w 3805428"/>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8" h="266700">
                <a:moveTo>
                  <a:pt x="3672078" y="266700"/>
                </a:moveTo>
                <a:lnTo>
                  <a:pt x="133350" y="266700"/>
                </a:lnTo>
                <a:cubicBezTo>
                  <a:pt x="59703" y="266700"/>
                  <a:pt x="0" y="206997"/>
                  <a:pt x="0" y="133350"/>
                </a:cubicBezTo>
                <a:cubicBezTo>
                  <a:pt x="0" y="59703"/>
                  <a:pt x="59703" y="0"/>
                  <a:pt x="133350" y="0"/>
                </a:cubicBezTo>
                <a:lnTo>
                  <a:pt x="3672078" y="0"/>
                </a:lnTo>
                <a:cubicBezTo>
                  <a:pt x="3745726" y="0"/>
                  <a:pt x="3805428" y="59703"/>
                  <a:pt x="3805428" y="133350"/>
                </a:cubicBezTo>
                <a:cubicBezTo>
                  <a:pt x="3805428" y="206997"/>
                  <a:pt x="3745726" y="266700"/>
                  <a:pt x="3672078" y="266700"/>
                </a:cubicBezTo>
                <a:close/>
              </a:path>
            </a:pathLst>
          </a:custGeom>
          <a:solidFill>
            <a:schemeClr val="accent5"/>
          </a:solidFill>
          <a:ln w="12700"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DB94F954-1122-427F-AA9E-A4AACAED58A9}"/>
              </a:ext>
            </a:extLst>
          </p:cNvPr>
          <p:cNvSpPr/>
          <p:nvPr/>
        </p:nvSpPr>
        <p:spPr>
          <a:xfrm>
            <a:off x="2715132" y="2349500"/>
            <a:ext cx="3805301" cy="266700"/>
          </a:xfrm>
          <a:custGeom>
            <a:avLst/>
            <a:gdLst>
              <a:gd name="connsiteX0" fmla="*/ 3671951 w 3805301"/>
              <a:gd name="connsiteY0" fmla="*/ 266700 h 266700"/>
              <a:gd name="connsiteX1" fmla="*/ 133350 w 3805301"/>
              <a:gd name="connsiteY1" fmla="*/ 266700 h 266700"/>
              <a:gd name="connsiteX2" fmla="*/ 0 w 3805301"/>
              <a:gd name="connsiteY2" fmla="*/ 133350 h 266700"/>
              <a:gd name="connsiteX3" fmla="*/ 133350 w 3805301"/>
              <a:gd name="connsiteY3" fmla="*/ 0 h 266700"/>
              <a:gd name="connsiteX4" fmla="*/ 3671951 w 3805301"/>
              <a:gd name="connsiteY4" fmla="*/ 0 h 266700"/>
              <a:gd name="connsiteX5" fmla="*/ 3805302 w 3805301"/>
              <a:gd name="connsiteY5" fmla="*/ 133350 h 266700"/>
              <a:gd name="connsiteX6" fmla="*/ 3671952 w 3805301"/>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301" h="266700">
                <a:moveTo>
                  <a:pt x="3671951" y="266700"/>
                </a:moveTo>
                <a:lnTo>
                  <a:pt x="133350" y="266700"/>
                </a:lnTo>
                <a:cubicBezTo>
                  <a:pt x="59703" y="266700"/>
                  <a:pt x="0" y="206997"/>
                  <a:pt x="0" y="133350"/>
                </a:cubicBezTo>
                <a:cubicBezTo>
                  <a:pt x="0" y="59703"/>
                  <a:pt x="59703" y="0"/>
                  <a:pt x="133350" y="0"/>
                </a:cubicBezTo>
                <a:lnTo>
                  <a:pt x="3671951" y="0"/>
                </a:lnTo>
                <a:cubicBezTo>
                  <a:pt x="3745598" y="0"/>
                  <a:pt x="3805302" y="59703"/>
                  <a:pt x="3805302" y="133350"/>
                </a:cubicBezTo>
                <a:cubicBezTo>
                  <a:pt x="3805302" y="206997"/>
                  <a:pt x="3745599" y="266700"/>
                  <a:pt x="3671952" y="266700"/>
                </a:cubicBezTo>
                <a:close/>
              </a:path>
            </a:pathLst>
          </a:custGeom>
          <a:solidFill>
            <a:schemeClr val="accent2"/>
          </a:solidFill>
          <a:ln w="12700"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326E4F0B-FAC1-4CDE-948B-7C353EBC5D15}"/>
              </a:ext>
            </a:extLst>
          </p:cNvPr>
          <p:cNvSpPr/>
          <p:nvPr/>
        </p:nvSpPr>
        <p:spPr>
          <a:xfrm>
            <a:off x="0" y="2349500"/>
            <a:ext cx="3542029" cy="266700"/>
          </a:xfrm>
          <a:custGeom>
            <a:avLst/>
            <a:gdLst>
              <a:gd name="connsiteX0" fmla="*/ 3542030 w 3542029"/>
              <a:gd name="connsiteY0" fmla="*/ 133350 h 266700"/>
              <a:gd name="connsiteX1" fmla="*/ 3408680 w 3542029"/>
              <a:gd name="connsiteY1" fmla="*/ 0 h 266700"/>
              <a:gd name="connsiteX2" fmla="*/ 0 w 3542029"/>
              <a:gd name="connsiteY2" fmla="*/ 0 h 266700"/>
              <a:gd name="connsiteX3" fmla="*/ 0 w 3542029"/>
              <a:gd name="connsiteY3" fmla="*/ 266700 h 266700"/>
              <a:gd name="connsiteX4" fmla="*/ 3408680 w 3542029"/>
              <a:gd name="connsiteY4" fmla="*/ 266700 h 266700"/>
              <a:gd name="connsiteX5" fmla="*/ 3542030 w 3542029"/>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42029" h="266700">
                <a:moveTo>
                  <a:pt x="3542030" y="133350"/>
                </a:moveTo>
                <a:cubicBezTo>
                  <a:pt x="3542030" y="59703"/>
                  <a:pt x="3482327" y="0"/>
                  <a:pt x="3408680" y="0"/>
                </a:cubicBezTo>
                <a:lnTo>
                  <a:pt x="0" y="0"/>
                </a:lnTo>
                <a:lnTo>
                  <a:pt x="0" y="266700"/>
                </a:lnTo>
                <a:lnTo>
                  <a:pt x="3408680" y="266700"/>
                </a:lnTo>
                <a:cubicBezTo>
                  <a:pt x="3482327" y="266700"/>
                  <a:pt x="3542030" y="206997"/>
                  <a:pt x="3542030" y="133350"/>
                </a:cubicBezTo>
                <a:close/>
              </a:path>
            </a:pathLst>
          </a:custGeom>
          <a:solidFill>
            <a:schemeClr val="accent1"/>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414101308"/>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52D7E41-C7F8-4707-B5F1-EA6F8F846A0A}"/>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3" name="Footer Placeholder 2">
            <a:extLst>
              <a:ext uri="{FF2B5EF4-FFF2-40B4-BE49-F238E27FC236}">
                <a16:creationId xmlns:a16="http://schemas.microsoft.com/office/drawing/2014/main" id="{A16A7665-89F6-450F-B436-DAFC760E9AD1}"/>
              </a:ext>
            </a:extLst>
          </p:cNvPr>
          <p:cNvSpPr>
            <a:spLocks noGrp="1"/>
          </p:cNvSpPr>
          <p:nvPr>
            <p:ph type="ftr" sz="quarter" idx="11"/>
          </p:nvPr>
        </p:nvSpPr>
        <p:spPr/>
        <p:txBody>
          <a:bodyPr/>
          <a:lstStyle/>
          <a:p>
            <a:r>
              <a:rPr lang="en-GB"/>
              <a:t>Update Footer to add the Document title</a:t>
            </a:r>
            <a:endParaRPr lang="en-GB" dirty="0"/>
          </a:p>
        </p:txBody>
      </p:sp>
    </p:spTree>
    <p:extLst>
      <p:ext uri="{BB962C8B-B14F-4D97-AF65-F5344CB8AC3E}">
        <p14:creationId xmlns:p14="http://schemas.microsoft.com/office/powerpoint/2010/main" val="218828213"/>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ne Content and Image">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D5260AAC-FBD9-4C1E-B169-41C32038B4F2}"/>
              </a:ext>
            </a:extLst>
          </p:cNvPr>
          <p:cNvSpPr/>
          <p:nvPr/>
        </p:nvSpPr>
        <p:spPr>
          <a:xfrm>
            <a:off x="5379781" y="3391416"/>
            <a:ext cx="6810629" cy="3466581"/>
          </a:xfrm>
          <a:custGeom>
            <a:avLst/>
            <a:gdLst>
              <a:gd name="connsiteX0" fmla="*/ 6810630 w 6810629"/>
              <a:gd name="connsiteY0" fmla="*/ 271424 h 3466581"/>
              <a:gd name="connsiteX1" fmla="*/ 6810630 w 6810629"/>
              <a:gd name="connsiteY1" fmla="*/ 4759 h 3466581"/>
              <a:gd name="connsiteX2" fmla="*/ 4348548 w 6810629"/>
              <a:gd name="connsiteY2" fmla="*/ 254789 h 3466581"/>
              <a:gd name="connsiteX3" fmla="*/ 994788 w 6810629"/>
              <a:gd name="connsiteY3" fmla="*/ 2207922 h 3466581"/>
              <a:gd name="connsiteX4" fmla="*/ 0 w 6810629"/>
              <a:gd name="connsiteY4" fmla="*/ 3466581 h 3466581"/>
              <a:gd name="connsiteX5" fmla="*/ 320506 w 6810629"/>
              <a:gd name="connsiteY5" fmla="*/ 3466581 h 3466581"/>
              <a:gd name="connsiteX6" fmla="*/ 1186787 w 6810629"/>
              <a:gd name="connsiteY6" fmla="*/ 2392937 h 3466581"/>
              <a:gd name="connsiteX7" fmla="*/ 6810630 w 6810629"/>
              <a:gd name="connsiteY7" fmla="*/ 271424 h 346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10629" h="3466581">
                <a:moveTo>
                  <a:pt x="6810630" y="271424"/>
                </a:moveTo>
                <a:lnTo>
                  <a:pt x="6810630" y="4759"/>
                </a:lnTo>
                <a:cubicBezTo>
                  <a:pt x="5929873" y="-21654"/>
                  <a:pt x="5104988" y="61902"/>
                  <a:pt x="4348548" y="254789"/>
                </a:cubicBezTo>
                <a:cubicBezTo>
                  <a:pt x="3054840" y="584692"/>
                  <a:pt x="1926339" y="1241831"/>
                  <a:pt x="994788" y="2207922"/>
                </a:cubicBezTo>
                <a:cubicBezTo>
                  <a:pt x="624210" y="2595137"/>
                  <a:pt x="291127" y="3016571"/>
                  <a:pt x="0" y="3466581"/>
                </a:cubicBezTo>
                <a:lnTo>
                  <a:pt x="320506" y="3466581"/>
                </a:lnTo>
                <a:cubicBezTo>
                  <a:pt x="578284" y="3084771"/>
                  <a:pt x="868090" y="2725593"/>
                  <a:pt x="1186787" y="2392937"/>
                </a:cubicBezTo>
                <a:cubicBezTo>
                  <a:pt x="2614081" y="912818"/>
                  <a:pt x="4502706" y="201329"/>
                  <a:pt x="6810630" y="271424"/>
                </a:cubicBezTo>
                <a:close/>
              </a:path>
            </a:pathLst>
          </a:custGeom>
          <a:solidFill>
            <a:schemeClr val="accent1"/>
          </a:solidFill>
          <a:ln w="1269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096125" y="2128838"/>
            <a:ext cx="4375150" cy="400680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465762"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9B9455DB-5F59-44BE-8DE3-D293EF6BD9FF}"/>
              </a:ext>
            </a:extLst>
          </p:cNvPr>
          <p:cNvSpPr/>
          <p:nvPr userDrawn="1"/>
        </p:nvSpPr>
        <p:spPr>
          <a:xfrm>
            <a:off x="1" y="893"/>
            <a:ext cx="12190536" cy="6857105"/>
          </a:xfrm>
          <a:custGeom>
            <a:avLst/>
            <a:gdLst>
              <a:gd name="connsiteX0" fmla="*/ 0 w 12190536"/>
              <a:gd name="connsiteY0" fmla="*/ 0 h 6857105"/>
              <a:gd name="connsiteX1" fmla="*/ 12190537 w 12190536"/>
              <a:gd name="connsiteY1" fmla="*/ 0 h 6857105"/>
              <a:gd name="connsiteX2" fmla="*/ 12190537 w 12190536"/>
              <a:gd name="connsiteY2" fmla="*/ 6857105 h 6857105"/>
              <a:gd name="connsiteX3" fmla="*/ 0 w 12190536"/>
              <a:gd name="connsiteY3" fmla="*/ 6857105 h 6857105"/>
            </a:gdLst>
            <a:ahLst/>
            <a:cxnLst>
              <a:cxn ang="0">
                <a:pos x="connsiteX0" y="connsiteY0"/>
              </a:cxn>
              <a:cxn ang="0">
                <a:pos x="connsiteX1" y="connsiteY1"/>
              </a:cxn>
              <a:cxn ang="0">
                <a:pos x="connsiteX2" y="connsiteY2"/>
              </a:cxn>
              <a:cxn ang="0">
                <a:pos x="connsiteX3" y="connsiteY3"/>
              </a:cxn>
            </a:cxnLst>
            <a:rect l="l" t="t" r="r" b="b"/>
            <a:pathLst>
              <a:path w="12190536" h="6857105">
                <a:moveTo>
                  <a:pt x="0" y="0"/>
                </a:moveTo>
                <a:lnTo>
                  <a:pt x="12190537" y="0"/>
                </a:lnTo>
                <a:lnTo>
                  <a:pt x="12190537" y="6857105"/>
                </a:lnTo>
                <a:lnTo>
                  <a:pt x="0" y="6857105"/>
                </a:lnTo>
                <a:close/>
              </a:path>
            </a:pathLst>
          </a:custGeom>
          <a:no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391797783"/>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ne Content and Small Image">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F5E56D3C-DAC2-43A0-AEC2-CC85CC8D5308}"/>
              </a:ext>
            </a:extLst>
          </p:cNvPr>
          <p:cNvSpPr/>
          <p:nvPr/>
        </p:nvSpPr>
        <p:spPr>
          <a:xfrm>
            <a:off x="9663795" y="0"/>
            <a:ext cx="2528205" cy="4327499"/>
          </a:xfrm>
          <a:custGeom>
            <a:avLst/>
            <a:gdLst>
              <a:gd name="connsiteX0" fmla="*/ 2528206 w 2528205"/>
              <a:gd name="connsiteY0" fmla="*/ 4327500 h 4327499"/>
              <a:gd name="connsiteX1" fmla="*/ 2528206 w 2528205"/>
              <a:gd name="connsiteY1" fmla="*/ 4011680 h 4327499"/>
              <a:gd name="connsiteX2" fmla="*/ 932346 w 2528205"/>
              <a:gd name="connsiteY2" fmla="*/ 2254292 h 4327499"/>
              <a:gd name="connsiteX3" fmla="*/ 268199 w 2528205"/>
              <a:gd name="connsiteY3" fmla="*/ 0 h 4327499"/>
              <a:gd name="connsiteX4" fmla="*/ 0 w 2528205"/>
              <a:gd name="connsiteY4" fmla="*/ 0 h 4327499"/>
              <a:gd name="connsiteX5" fmla="*/ 696149 w 2528205"/>
              <a:gd name="connsiteY5" fmla="*/ 2377979 h 4327499"/>
              <a:gd name="connsiteX6" fmla="*/ 2528206 w 2528205"/>
              <a:gd name="connsiteY6" fmla="*/ 4327500 h 432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8205" h="4327499">
                <a:moveTo>
                  <a:pt x="2528206" y="4327500"/>
                </a:moveTo>
                <a:lnTo>
                  <a:pt x="2528206" y="4011680"/>
                </a:lnTo>
                <a:cubicBezTo>
                  <a:pt x="1847888" y="3570608"/>
                  <a:pt x="1315935" y="2984812"/>
                  <a:pt x="932346" y="2254292"/>
                </a:cubicBezTo>
                <a:cubicBezTo>
                  <a:pt x="598368" y="1616431"/>
                  <a:pt x="375631" y="859582"/>
                  <a:pt x="268199" y="0"/>
                </a:cubicBezTo>
                <a:lnTo>
                  <a:pt x="0" y="0"/>
                </a:lnTo>
                <a:cubicBezTo>
                  <a:pt x="109209" y="905044"/>
                  <a:pt x="342868" y="1703545"/>
                  <a:pt x="696149" y="2377979"/>
                </a:cubicBezTo>
                <a:cubicBezTo>
                  <a:pt x="1127527" y="3202131"/>
                  <a:pt x="1740499" y="3853453"/>
                  <a:pt x="2528206" y="4327500"/>
                </a:cubicBezTo>
                <a:close/>
              </a:path>
            </a:pathLst>
          </a:custGeom>
          <a:solidFill>
            <a:schemeClr val="tx2"/>
          </a:solidFill>
          <a:ln w="1269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918575" y="2128838"/>
            <a:ext cx="2552699" cy="400680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7288212"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8929687" cy="720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13D53B7E-D789-4970-8EF6-A8ACEEEA4426}"/>
              </a:ext>
            </a:extLst>
          </p:cNvPr>
          <p:cNvSpPr/>
          <p:nvPr/>
        </p:nvSpPr>
        <p:spPr>
          <a:xfrm>
            <a:off x="1145" y="0"/>
            <a:ext cx="12191997" cy="6857356"/>
          </a:xfrm>
          <a:custGeom>
            <a:avLst/>
            <a:gdLst>
              <a:gd name="connsiteX0" fmla="*/ 0 w 12191997"/>
              <a:gd name="connsiteY0" fmla="*/ 0 h 6857356"/>
              <a:gd name="connsiteX1" fmla="*/ 12191998 w 12191997"/>
              <a:gd name="connsiteY1" fmla="*/ 0 h 6857356"/>
              <a:gd name="connsiteX2" fmla="*/ 12191998 w 12191997"/>
              <a:gd name="connsiteY2" fmla="*/ 6857356 h 6857356"/>
              <a:gd name="connsiteX3" fmla="*/ 0 w 12191997"/>
              <a:gd name="connsiteY3" fmla="*/ 6857356 h 6857356"/>
            </a:gdLst>
            <a:ahLst/>
            <a:cxnLst>
              <a:cxn ang="0">
                <a:pos x="connsiteX0" y="connsiteY0"/>
              </a:cxn>
              <a:cxn ang="0">
                <a:pos x="connsiteX1" y="connsiteY1"/>
              </a:cxn>
              <a:cxn ang="0">
                <a:pos x="connsiteX2" y="connsiteY2"/>
              </a:cxn>
              <a:cxn ang="0">
                <a:pos x="connsiteX3" y="connsiteY3"/>
              </a:cxn>
            </a:cxnLst>
            <a:rect l="l" t="t" r="r" b="b"/>
            <a:pathLst>
              <a:path w="12191997" h="6857356">
                <a:moveTo>
                  <a:pt x="0" y="0"/>
                </a:moveTo>
                <a:lnTo>
                  <a:pt x="12191998" y="0"/>
                </a:lnTo>
                <a:lnTo>
                  <a:pt x="12191998" y="6857356"/>
                </a:lnTo>
                <a:lnTo>
                  <a:pt x="0" y="6857356"/>
                </a:lnTo>
                <a:close/>
              </a:path>
            </a:pathLst>
          </a:custGeom>
          <a:noFill/>
          <a:ln w="1269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C0498395-BC18-46FC-857B-AC4EF1D1550B}"/>
              </a:ext>
            </a:extLst>
          </p:cNvPr>
          <p:cNvSpPr/>
          <p:nvPr/>
        </p:nvSpPr>
        <p:spPr>
          <a:xfrm>
            <a:off x="1145" y="0"/>
            <a:ext cx="12191998" cy="6857356"/>
          </a:xfrm>
          <a:custGeom>
            <a:avLst/>
            <a:gdLst>
              <a:gd name="connsiteX0" fmla="*/ 10359941 w 12191998"/>
              <a:gd name="connsiteY0" fmla="*/ 2377979 h 6857356"/>
              <a:gd name="connsiteX1" fmla="*/ 9663792 w 12191998"/>
              <a:gd name="connsiteY1" fmla="*/ 0 h 6857356"/>
              <a:gd name="connsiteX2" fmla="*/ 0 w 12191998"/>
              <a:gd name="connsiteY2" fmla="*/ 0 h 6857356"/>
              <a:gd name="connsiteX3" fmla="*/ 0 w 12191998"/>
              <a:gd name="connsiteY3" fmla="*/ 6857356 h 6857356"/>
              <a:gd name="connsiteX4" fmla="*/ 12191998 w 12191998"/>
              <a:gd name="connsiteY4" fmla="*/ 6857356 h 6857356"/>
              <a:gd name="connsiteX5" fmla="*/ 12191998 w 12191998"/>
              <a:gd name="connsiteY5" fmla="*/ 4327500 h 6857356"/>
              <a:gd name="connsiteX6" fmla="*/ 10359941 w 12191998"/>
              <a:gd name="connsiteY6" fmla="*/ 2377979 h 6857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8" h="6857356">
                <a:moveTo>
                  <a:pt x="10359941" y="2377979"/>
                </a:moveTo>
                <a:cubicBezTo>
                  <a:pt x="10006660" y="1703545"/>
                  <a:pt x="9773002" y="905044"/>
                  <a:pt x="9663792" y="0"/>
                </a:cubicBezTo>
                <a:lnTo>
                  <a:pt x="0" y="0"/>
                </a:lnTo>
                <a:lnTo>
                  <a:pt x="0" y="6857356"/>
                </a:lnTo>
                <a:lnTo>
                  <a:pt x="12191998" y="6857356"/>
                </a:lnTo>
                <a:lnTo>
                  <a:pt x="12191998" y="4327500"/>
                </a:lnTo>
                <a:cubicBezTo>
                  <a:pt x="11404291" y="3853453"/>
                  <a:pt x="10791319" y="3202131"/>
                  <a:pt x="10359941" y="2377979"/>
                </a:cubicBezTo>
                <a:close/>
              </a:path>
            </a:pathLst>
          </a:custGeom>
          <a:no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746086772"/>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ne Content and Large Image">
    <p:bg>
      <p:bgPr>
        <a:solidFill>
          <a:schemeClr val="accent2"/>
        </a:solid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78D6020D-1F24-427E-AFFD-B74FAE976B9B}"/>
              </a:ext>
            </a:extLst>
          </p:cNvPr>
          <p:cNvGrpSpPr/>
          <p:nvPr userDrawn="1"/>
        </p:nvGrpSpPr>
        <p:grpSpPr>
          <a:xfrm>
            <a:off x="6140583" y="1514596"/>
            <a:ext cx="6052444" cy="5343401"/>
            <a:chOff x="6140583" y="1514596"/>
            <a:chExt cx="6052444" cy="5343401"/>
          </a:xfrm>
        </p:grpSpPr>
        <p:sp>
          <p:nvSpPr>
            <p:cNvPr id="17" name="Freeform: Shape 16">
              <a:extLst>
                <a:ext uri="{FF2B5EF4-FFF2-40B4-BE49-F238E27FC236}">
                  <a16:creationId xmlns:a16="http://schemas.microsoft.com/office/drawing/2014/main" id="{1A9AE98D-929D-4305-8E20-BEE836EA715F}"/>
                </a:ext>
              </a:extLst>
            </p:cNvPr>
            <p:cNvSpPr/>
            <p:nvPr/>
          </p:nvSpPr>
          <p:spPr>
            <a:xfrm>
              <a:off x="9649277" y="2908322"/>
              <a:ext cx="1814208" cy="1635607"/>
            </a:xfrm>
            <a:custGeom>
              <a:avLst/>
              <a:gdLst>
                <a:gd name="connsiteX0" fmla="*/ 133414 w 1814208"/>
                <a:gd name="connsiteY0" fmla="*/ 1635607 h 1635607"/>
                <a:gd name="connsiteX1" fmla="*/ 0 w 1814208"/>
                <a:gd name="connsiteY1" fmla="*/ 1502322 h 1635607"/>
                <a:gd name="connsiteX2" fmla="*/ 64454 w 1814208"/>
                <a:gd name="connsiteY2" fmla="*/ 1388084 h 1635607"/>
                <a:gd name="connsiteX3" fmla="*/ 1579057 w 1814208"/>
                <a:gd name="connsiteY3" fmla="*/ 47217 h 1635607"/>
                <a:gd name="connsiteX4" fmla="*/ 1766991 w 1814208"/>
                <a:gd name="connsiteY4" fmla="*/ 31555 h 1635607"/>
                <a:gd name="connsiteX5" fmla="*/ 1784796 w 1814208"/>
                <a:gd name="connsiteY5" fmla="*/ 216889 h 1635607"/>
                <a:gd name="connsiteX6" fmla="*/ 202249 w 1814208"/>
                <a:gd name="connsiteY6" fmla="*/ 1616430 h 1635607"/>
                <a:gd name="connsiteX7" fmla="*/ 133415 w 1814208"/>
                <a:gd name="connsiteY7" fmla="*/ 1635607 h 163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4208" h="1635607">
                  <a:moveTo>
                    <a:pt x="133414" y="1635607"/>
                  </a:moveTo>
                  <a:cubicBezTo>
                    <a:pt x="59767" y="1635643"/>
                    <a:pt x="36" y="1575969"/>
                    <a:pt x="0" y="1502322"/>
                  </a:cubicBezTo>
                  <a:cubicBezTo>
                    <a:pt x="-22" y="1455578"/>
                    <a:pt x="24432" y="1412235"/>
                    <a:pt x="64454" y="1388084"/>
                  </a:cubicBezTo>
                  <a:cubicBezTo>
                    <a:pt x="604585" y="1062202"/>
                    <a:pt x="1114110" y="611097"/>
                    <a:pt x="1579057" y="47217"/>
                  </a:cubicBezTo>
                  <a:cubicBezTo>
                    <a:pt x="1626628" y="-9005"/>
                    <a:pt x="1710769" y="-16017"/>
                    <a:pt x="1766991" y="31555"/>
                  </a:cubicBezTo>
                  <a:cubicBezTo>
                    <a:pt x="1822211" y="78279"/>
                    <a:pt x="1830110" y="160507"/>
                    <a:pt x="1784796" y="216889"/>
                  </a:cubicBezTo>
                  <a:cubicBezTo>
                    <a:pt x="1300673" y="804011"/>
                    <a:pt x="768796" y="1274927"/>
                    <a:pt x="202249" y="1616430"/>
                  </a:cubicBezTo>
                  <a:cubicBezTo>
                    <a:pt x="181474" y="1628959"/>
                    <a:pt x="157676" y="1635590"/>
                    <a:pt x="133415" y="1635607"/>
                  </a:cubicBezTo>
                  <a:close/>
                </a:path>
              </a:pathLst>
            </a:custGeom>
            <a:solidFill>
              <a:srgbClr val="FFFFFF"/>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50F3C96E-5D9C-4E33-A548-A25E9BEC1E8A}"/>
                </a:ext>
              </a:extLst>
            </p:cNvPr>
            <p:cNvSpPr/>
            <p:nvPr/>
          </p:nvSpPr>
          <p:spPr>
            <a:xfrm>
              <a:off x="11203339" y="1514596"/>
              <a:ext cx="989688" cy="1659410"/>
            </a:xfrm>
            <a:custGeom>
              <a:avLst/>
              <a:gdLst>
                <a:gd name="connsiteX0" fmla="*/ 48871 w 989688"/>
                <a:gd name="connsiteY0" fmla="*/ 1629157 h 1659410"/>
                <a:gd name="connsiteX1" fmla="*/ 236372 w 989688"/>
                <a:gd name="connsiteY1" fmla="*/ 1610711 h 1659410"/>
                <a:gd name="connsiteX2" fmla="*/ 236450 w 989688"/>
                <a:gd name="connsiteY2" fmla="*/ 1610615 h 1659410"/>
                <a:gd name="connsiteX3" fmla="*/ 989688 w 989688"/>
                <a:gd name="connsiteY3" fmla="*/ 535051 h 1659410"/>
                <a:gd name="connsiteX4" fmla="*/ 989688 w 989688"/>
                <a:gd name="connsiteY4" fmla="*/ 0 h 1659410"/>
                <a:gd name="connsiteX5" fmla="*/ 30202 w 989688"/>
                <a:gd name="connsiteY5" fmla="*/ 1441578 h 1659410"/>
                <a:gd name="connsiteX6" fmla="*/ 48762 w 989688"/>
                <a:gd name="connsiteY6" fmla="*/ 1629068 h 1659410"/>
                <a:gd name="connsiteX7" fmla="*/ 48871 w 989688"/>
                <a:gd name="connsiteY7" fmla="*/ 1629157 h 165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9688" h="1659410">
                  <a:moveTo>
                    <a:pt x="48871" y="1629157"/>
                  </a:moveTo>
                  <a:cubicBezTo>
                    <a:pt x="105742" y="1675840"/>
                    <a:pt x="189689" y="1667582"/>
                    <a:pt x="236372" y="1610711"/>
                  </a:cubicBezTo>
                  <a:cubicBezTo>
                    <a:pt x="236399" y="1610679"/>
                    <a:pt x="236424" y="1610647"/>
                    <a:pt x="236450" y="1610615"/>
                  </a:cubicBezTo>
                  <a:cubicBezTo>
                    <a:pt x="513004" y="1270625"/>
                    <a:pt x="764733" y="911176"/>
                    <a:pt x="989688" y="535051"/>
                  </a:cubicBezTo>
                  <a:lnTo>
                    <a:pt x="989688" y="0"/>
                  </a:lnTo>
                  <a:cubicBezTo>
                    <a:pt x="693354" y="541867"/>
                    <a:pt x="373526" y="1022393"/>
                    <a:pt x="30202" y="1441578"/>
                  </a:cubicBezTo>
                  <a:cubicBezTo>
                    <a:pt x="-16446" y="1498477"/>
                    <a:pt x="-8137" y="1582419"/>
                    <a:pt x="48762" y="1629068"/>
                  </a:cubicBezTo>
                  <a:cubicBezTo>
                    <a:pt x="48798" y="1629097"/>
                    <a:pt x="48835" y="1629127"/>
                    <a:pt x="48871" y="1629157"/>
                  </a:cubicBezTo>
                  <a:close/>
                </a:path>
              </a:pathLst>
            </a:custGeom>
            <a:solidFill>
              <a:srgbClr val="FFFFFF"/>
            </a:solid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085557CA-AED1-46C0-B285-11DD0961E0F3}"/>
                </a:ext>
              </a:extLst>
            </p:cNvPr>
            <p:cNvSpPr/>
            <p:nvPr/>
          </p:nvSpPr>
          <p:spPr>
            <a:xfrm>
              <a:off x="6140583" y="4276592"/>
              <a:ext cx="3775525" cy="2581405"/>
            </a:xfrm>
            <a:custGeom>
              <a:avLst/>
              <a:gdLst>
                <a:gd name="connsiteX0" fmla="*/ 1653542 w 3775525"/>
                <a:gd name="connsiteY0" fmla="*/ 905005 h 2581405"/>
                <a:gd name="connsiteX1" fmla="*/ 3710943 w 3775525"/>
                <a:gd name="connsiteY1" fmla="*/ 247779 h 2581405"/>
                <a:gd name="connsiteX2" fmla="*/ 3756346 w 3775525"/>
                <a:gd name="connsiteY2" fmla="*/ 64582 h 2581405"/>
                <a:gd name="connsiteX3" fmla="*/ 3573149 w 3775525"/>
                <a:gd name="connsiteY3" fmla="*/ 19179 h 2581405"/>
                <a:gd name="connsiteX4" fmla="*/ 1651256 w 3775525"/>
                <a:gd name="connsiteY4" fmla="*/ 637796 h 2581405"/>
                <a:gd name="connsiteX5" fmla="*/ 843154 w 3775525"/>
                <a:gd name="connsiteY5" fmla="*/ 582933 h 2581405"/>
                <a:gd name="connsiteX6" fmla="*/ 682372 w 3775525"/>
                <a:gd name="connsiteY6" fmla="*/ 666753 h 2581405"/>
                <a:gd name="connsiteX7" fmla="*/ 0 w 3775525"/>
                <a:gd name="connsiteY7" fmla="*/ 2581406 h 2581405"/>
                <a:gd name="connsiteX8" fmla="*/ 283083 w 3775525"/>
                <a:gd name="connsiteY8" fmla="*/ 2581406 h 2581405"/>
                <a:gd name="connsiteX9" fmla="*/ 895224 w 3775525"/>
                <a:gd name="connsiteY9" fmla="*/ 866905 h 2581405"/>
                <a:gd name="connsiteX10" fmla="*/ 1653542 w 3775525"/>
                <a:gd name="connsiteY10" fmla="*/ 905005 h 2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75525" h="2581405">
                  <a:moveTo>
                    <a:pt x="1653542" y="905005"/>
                  </a:moveTo>
                  <a:cubicBezTo>
                    <a:pt x="2139063" y="878589"/>
                    <a:pt x="2890142" y="742952"/>
                    <a:pt x="3710943" y="247779"/>
                  </a:cubicBezTo>
                  <a:cubicBezTo>
                    <a:pt x="3774070" y="209728"/>
                    <a:pt x="3794397" y="127708"/>
                    <a:pt x="3756346" y="64582"/>
                  </a:cubicBezTo>
                  <a:cubicBezTo>
                    <a:pt x="3718295" y="1456"/>
                    <a:pt x="3636275" y="-18872"/>
                    <a:pt x="3573149" y="19179"/>
                  </a:cubicBezTo>
                  <a:cubicBezTo>
                    <a:pt x="2804417" y="482983"/>
                    <a:pt x="2103756" y="611508"/>
                    <a:pt x="1651256" y="637796"/>
                  </a:cubicBezTo>
                  <a:cubicBezTo>
                    <a:pt x="1159892" y="666245"/>
                    <a:pt x="846075" y="583695"/>
                    <a:pt x="843154" y="582933"/>
                  </a:cubicBezTo>
                  <a:cubicBezTo>
                    <a:pt x="775894" y="564598"/>
                    <a:pt x="705853" y="601112"/>
                    <a:pt x="682372" y="666753"/>
                  </a:cubicBezTo>
                  <a:lnTo>
                    <a:pt x="0" y="2581406"/>
                  </a:lnTo>
                  <a:lnTo>
                    <a:pt x="283083" y="2581406"/>
                  </a:lnTo>
                  <a:lnTo>
                    <a:pt x="895224" y="866905"/>
                  </a:lnTo>
                  <a:cubicBezTo>
                    <a:pt x="1038734" y="892305"/>
                    <a:pt x="1303656" y="924563"/>
                    <a:pt x="1653542" y="905005"/>
                  </a:cubicBezTo>
                  <a:close/>
                </a:path>
              </a:pathLst>
            </a:custGeom>
            <a:solidFill>
              <a:srgbClr val="FFFFFF"/>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0"/>
            <a:ext cx="2733674" cy="6137275"/>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990937"/>
            <a:ext cx="7108826"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6" y="2128838"/>
            <a:ext cx="7108827" cy="756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1"/>
                </a:solidFill>
                <a:latin typeface="+mj-lt"/>
              </a:defRPr>
            </a:lvl7pPr>
            <a:lvl8pPr marL="0" indent="0" algn="l">
              <a:lnSpc>
                <a:spcPct val="100000"/>
              </a:lnSpc>
              <a:spcBef>
                <a:spcPts val="0"/>
              </a:spcBef>
              <a:buNone/>
              <a:defRPr sz="1800" i="1">
                <a:solidFill>
                  <a:schemeClr val="tx2"/>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6" y="666745"/>
            <a:ext cx="7108827" cy="1368000"/>
          </a:xfrm>
        </p:spPr>
        <p:txBody>
          <a:bodyPr/>
          <a:lstStyle/>
          <a:p>
            <a:pPr lvl="0"/>
            <a:r>
              <a:rPr lang="en-US"/>
              <a:t>Click to edit Master title style</a:t>
            </a:r>
            <a:endParaRPr lang="en-GB" dirty="0"/>
          </a:p>
        </p:txBody>
      </p:sp>
      <p:sp>
        <p:nvSpPr>
          <p:cNvPr id="20" name="Freeform: Shape 19">
            <a:extLst>
              <a:ext uri="{FF2B5EF4-FFF2-40B4-BE49-F238E27FC236}">
                <a16:creationId xmlns:a16="http://schemas.microsoft.com/office/drawing/2014/main" id="{8ECF9D0E-6D6B-4A9D-9688-3D0EC0BC5D39}"/>
              </a:ext>
            </a:extLst>
          </p:cNvPr>
          <p:cNvSpPr/>
          <p:nvPr/>
        </p:nvSpPr>
        <p:spPr>
          <a:xfrm>
            <a:off x="1" y="-7"/>
            <a:ext cx="12193153" cy="6858005"/>
          </a:xfrm>
          <a:custGeom>
            <a:avLst/>
            <a:gdLst>
              <a:gd name="connsiteX0" fmla="*/ 0 w 12193153"/>
              <a:gd name="connsiteY0" fmla="*/ 0 h 6858005"/>
              <a:gd name="connsiteX1" fmla="*/ 12193153 w 12193153"/>
              <a:gd name="connsiteY1" fmla="*/ 0 h 6858005"/>
              <a:gd name="connsiteX2" fmla="*/ 12193153 w 12193153"/>
              <a:gd name="connsiteY2" fmla="*/ 6858005 h 6858005"/>
              <a:gd name="connsiteX3" fmla="*/ 0 w 12193153"/>
              <a:gd name="connsiteY3" fmla="*/ 6858005 h 6858005"/>
            </a:gdLst>
            <a:ahLst/>
            <a:cxnLst>
              <a:cxn ang="0">
                <a:pos x="connsiteX0" y="connsiteY0"/>
              </a:cxn>
              <a:cxn ang="0">
                <a:pos x="connsiteX1" y="connsiteY1"/>
              </a:cxn>
              <a:cxn ang="0">
                <a:pos x="connsiteX2" y="connsiteY2"/>
              </a:cxn>
              <a:cxn ang="0">
                <a:pos x="connsiteX3" y="connsiteY3"/>
              </a:cxn>
            </a:cxnLst>
            <a:rect l="l" t="t" r="r" b="b"/>
            <a:pathLst>
              <a:path w="12193153" h="6858005">
                <a:moveTo>
                  <a:pt x="0" y="0"/>
                </a:moveTo>
                <a:lnTo>
                  <a:pt x="12193153" y="0"/>
                </a:lnTo>
                <a:lnTo>
                  <a:pt x="12193153" y="6858005"/>
                </a:lnTo>
                <a:lnTo>
                  <a:pt x="0" y="6858005"/>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54363447"/>
      </p:ext>
    </p:extLst>
  </p:cSld>
  <p:clrMapOvr>
    <a:masterClrMapping/>
  </p:clrMapOvr>
  <p:extLst>
    <p:ext uri="{DCECCB84-F9BA-43D5-87BE-67443E8EF086}">
      <p15:sldGuideLst xmlns:p15="http://schemas.microsoft.com/office/powerpoint/2012/main">
        <p15:guide id="3" orient="horz" pos="2233" userDrawn="1">
          <p15:clr>
            <a:srgbClr val="A4A3A4"/>
          </p15:clr>
        </p15:guide>
        <p15:guide id="5" orient="horz" pos="986" userDrawn="1">
          <p15:clr>
            <a:srgbClr val="A4A3A4"/>
          </p15:clr>
        </p15:guide>
        <p15:guide id="6" orient="horz" pos="1576" userDrawn="1">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and Large Image">
    <p:bg>
      <p:bgPr>
        <a:solidFill>
          <a:schemeClr val="accent4"/>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F738942-6048-45C4-98D8-C0116A51019A}"/>
              </a:ext>
            </a:extLst>
          </p:cNvPr>
          <p:cNvGrpSpPr/>
          <p:nvPr userDrawn="1"/>
        </p:nvGrpSpPr>
        <p:grpSpPr>
          <a:xfrm>
            <a:off x="6140583" y="1514596"/>
            <a:ext cx="6052444" cy="5343401"/>
            <a:chOff x="6140583" y="1514596"/>
            <a:chExt cx="6052444" cy="5343401"/>
          </a:xfrm>
        </p:grpSpPr>
        <p:sp>
          <p:nvSpPr>
            <p:cNvPr id="18" name="Freeform: Shape 17">
              <a:extLst>
                <a:ext uri="{FF2B5EF4-FFF2-40B4-BE49-F238E27FC236}">
                  <a16:creationId xmlns:a16="http://schemas.microsoft.com/office/drawing/2014/main" id="{05D24422-BEC0-46DA-A735-2F65A8E5017F}"/>
                </a:ext>
              </a:extLst>
            </p:cNvPr>
            <p:cNvSpPr/>
            <p:nvPr/>
          </p:nvSpPr>
          <p:spPr>
            <a:xfrm>
              <a:off x="9649277" y="2908322"/>
              <a:ext cx="1814208" cy="1635607"/>
            </a:xfrm>
            <a:custGeom>
              <a:avLst/>
              <a:gdLst>
                <a:gd name="connsiteX0" fmla="*/ 133414 w 1814208"/>
                <a:gd name="connsiteY0" fmla="*/ 1635607 h 1635607"/>
                <a:gd name="connsiteX1" fmla="*/ 0 w 1814208"/>
                <a:gd name="connsiteY1" fmla="*/ 1502322 h 1635607"/>
                <a:gd name="connsiteX2" fmla="*/ 64454 w 1814208"/>
                <a:gd name="connsiteY2" fmla="*/ 1388084 h 1635607"/>
                <a:gd name="connsiteX3" fmla="*/ 1579057 w 1814208"/>
                <a:gd name="connsiteY3" fmla="*/ 47217 h 1635607"/>
                <a:gd name="connsiteX4" fmla="*/ 1766991 w 1814208"/>
                <a:gd name="connsiteY4" fmla="*/ 31555 h 1635607"/>
                <a:gd name="connsiteX5" fmla="*/ 1784796 w 1814208"/>
                <a:gd name="connsiteY5" fmla="*/ 216889 h 1635607"/>
                <a:gd name="connsiteX6" fmla="*/ 202249 w 1814208"/>
                <a:gd name="connsiteY6" fmla="*/ 1616430 h 1635607"/>
                <a:gd name="connsiteX7" fmla="*/ 133415 w 1814208"/>
                <a:gd name="connsiteY7" fmla="*/ 1635607 h 163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4208" h="1635607">
                  <a:moveTo>
                    <a:pt x="133414" y="1635607"/>
                  </a:moveTo>
                  <a:cubicBezTo>
                    <a:pt x="59767" y="1635643"/>
                    <a:pt x="36" y="1575969"/>
                    <a:pt x="0" y="1502322"/>
                  </a:cubicBezTo>
                  <a:cubicBezTo>
                    <a:pt x="-22" y="1455578"/>
                    <a:pt x="24432" y="1412235"/>
                    <a:pt x="64454" y="1388084"/>
                  </a:cubicBezTo>
                  <a:cubicBezTo>
                    <a:pt x="604585" y="1062202"/>
                    <a:pt x="1114110" y="611097"/>
                    <a:pt x="1579057" y="47217"/>
                  </a:cubicBezTo>
                  <a:cubicBezTo>
                    <a:pt x="1626628" y="-9005"/>
                    <a:pt x="1710769" y="-16017"/>
                    <a:pt x="1766991" y="31555"/>
                  </a:cubicBezTo>
                  <a:cubicBezTo>
                    <a:pt x="1822211" y="78279"/>
                    <a:pt x="1830110" y="160507"/>
                    <a:pt x="1784796" y="216889"/>
                  </a:cubicBezTo>
                  <a:cubicBezTo>
                    <a:pt x="1300673" y="804011"/>
                    <a:pt x="768796" y="1274927"/>
                    <a:pt x="202249" y="1616430"/>
                  </a:cubicBezTo>
                  <a:cubicBezTo>
                    <a:pt x="181474" y="1628959"/>
                    <a:pt x="157676" y="1635590"/>
                    <a:pt x="133415" y="1635607"/>
                  </a:cubicBezTo>
                  <a:close/>
                </a:path>
              </a:pathLst>
            </a:custGeom>
            <a:solidFill>
              <a:srgbClr val="FFFFFF"/>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923FD5AC-26EE-4EB7-A613-3325FAB84AA3}"/>
                </a:ext>
              </a:extLst>
            </p:cNvPr>
            <p:cNvSpPr/>
            <p:nvPr/>
          </p:nvSpPr>
          <p:spPr>
            <a:xfrm>
              <a:off x="11203339" y="1514596"/>
              <a:ext cx="989688" cy="1659410"/>
            </a:xfrm>
            <a:custGeom>
              <a:avLst/>
              <a:gdLst>
                <a:gd name="connsiteX0" fmla="*/ 48871 w 989688"/>
                <a:gd name="connsiteY0" fmla="*/ 1629157 h 1659410"/>
                <a:gd name="connsiteX1" fmla="*/ 236372 w 989688"/>
                <a:gd name="connsiteY1" fmla="*/ 1610711 h 1659410"/>
                <a:gd name="connsiteX2" fmla="*/ 236450 w 989688"/>
                <a:gd name="connsiteY2" fmla="*/ 1610615 h 1659410"/>
                <a:gd name="connsiteX3" fmla="*/ 989688 w 989688"/>
                <a:gd name="connsiteY3" fmla="*/ 535051 h 1659410"/>
                <a:gd name="connsiteX4" fmla="*/ 989688 w 989688"/>
                <a:gd name="connsiteY4" fmla="*/ 0 h 1659410"/>
                <a:gd name="connsiteX5" fmla="*/ 30202 w 989688"/>
                <a:gd name="connsiteY5" fmla="*/ 1441578 h 1659410"/>
                <a:gd name="connsiteX6" fmla="*/ 48762 w 989688"/>
                <a:gd name="connsiteY6" fmla="*/ 1629068 h 1659410"/>
                <a:gd name="connsiteX7" fmla="*/ 48871 w 989688"/>
                <a:gd name="connsiteY7" fmla="*/ 1629157 h 165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9688" h="1659410">
                  <a:moveTo>
                    <a:pt x="48871" y="1629157"/>
                  </a:moveTo>
                  <a:cubicBezTo>
                    <a:pt x="105742" y="1675840"/>
                    <a:pt x="189689" y="1667582"/>
                    <a:pt x="236372" y="1610711"/>
                  </a:cubicBezTo>
                  <a:cubicBezTo>
                    <a:pt x="236399" y="1610679"/>
                    <a:pt x="236424" y="1610647"/>
                    <a:pt x="236450" y="1610615"/>
                  </a:cubicBezTo>
                  <a:cubicBezTo>
                    <a:pt x="513004" y="1270625"/>
                    <a:pt x="764733" y="911176"/>
                    <a:pt x="989688" y="535051"/>
                  </a:cubicBezTo>
                  <a:lnTo>
                    <a:pt x="989688" y="0"/>
                  </a:lnTo>
                  <a:cubicBezTo>
                    <a:pt x="693354" y="541867"/>
                    <a:pt x="373526" y="1022393"/>
                    <a:pt x="30202" y="1441578"/>
                  </a:cubicBezTo>
                  <a:cubicBezTo>
                    <a:pt x="-16446" y="1498477"/>
                    <a:pt x="-8137" y="1582419"/>
                    <a:pt x="48762" y="1629068"/>
                  </a:cubicBezTo>
                  <a:cubicBezTo>
                    <a:pt x="48798" y="1629097"/>
                    <a:pt x="48835" y="1629127"/>
                    <a:pt x="48871" y="1629157"/>
                  </a:cubicBezTo>
                  <a:close/>
                </a:path>
              </a:pathLst>
            </a:custGeom>
            <a:solidFill>
              <a:srgbClr val="FFFFFF"/>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99417C80-6101-47AB-B3F7-40A05CC3A2EA}"/>
                </a:ext>
              </a:extLst>
            </p:cNvPr>
            <p:cNvSpPr/>
            <p:nvPr/>
          </p:nvSpPr>
          <p:spPr>
            <a:xfrm>
              <a:off x="6140583" y="4276592"/>
              <a:ext cx="3775525" cy="2581405"/>
            </a:xfrm>
            <a:custGeom>
              <a:avLst/>
              <a:gdLst>
                <a:gd name="connsiteX0" fmla="*/ 1653542 w 3775525"/>
                <a:gd name="connsiteY0" fmla="*/ 905005 h 2581405"/>
                <a:gd name="connsiteX1" fmla="*/ 3710943 w 3775525"/>
                <a:gd name="connsiteY1" fmla="*/ 247779 h 2581405"/>
                <a:gd name="connsiteX2" fmla="*/ 3756346 w 3775525"/>
                <a:gd name="connsiteY2" fmla="*/ 64582 h 2581405"/>
                <a:gd name="connsiteX3" fmla="*/ 3573149 w 3775525"/>
                <a:gd name="connsiteY3" fmla="*/ 19179 h 2581405"/>
                <a:gd name="connsiteX4" fmla="*/ 1651256 w 3775525"/>
                <a:gd name="connsiteY4" fmla="*/ 637796 h 2581405"/>
                <a:gd name="connsiteX5" fmla="*/ 843154 w 3775525"/>
                <a:gd name="connsiteY5" fmla="*/ 582933 h 2581405"/>
                <a:gd name="connsiteX6" fmla="*/ 682372 w 3775525"/>
                <a:gd name="connsiteY6" fmla="*/ 666753 h 2581405"/>
                <a:gd name="connsiteX7" fmla="*/ 0 w 3775525"/>
                <a:gd name="connsiteY7" fmla="*/ 2581406 h 2581405"/>
                <a:gd name="connsiteX8" fmla="*/ 283083 w 3775525"/>
                <a:gd name="connsiteY8" fmla="*/ 2581406 h 2581405"/>
                <a:gd name="connsiteX9" fmla="*/ 895224 w 3775525"/>
                <a:gd name="connsiteY9" fmla="*/ 866905 h 2581405"/>
                <a:gd name="connsiteX10" fmla="*/ 1653542 w 3775525"/>
                <a:gd name="connsiteY10" fmla="*/ 905005 h 2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75525" h="2581405">
                  <a:moveTo>
                    <a:pt x="1653542" y="905005"/>
                  </a:moveTo>
                  <a:cubicBezTo>
                    <a:pt x="2139063" y="878589"/>
                    <a:pt x="2890142" y="742952"/>
                    <a:pt x="3710943" y="247779"/>
                  </a:cubicBezTo>
                  <a:cubicBezTo>
                    <a:pt x="3774070" y="209728"/>
                    <a:pt x="3794397" y="127708"/>
                    <a:pt x="3756346" y="64582"/>
                  </a:cubicBezTo>
                  <a:cubicBezTo>
                    <a:pt x="3718295" y="1456"/>
                    <a:pt x="3636275" y="-18872"/>
                    <a:pt x="3573149" y="19179"/>
                  </a:cubicBezTo>
                  <a:cubicBezTo>
                    <a:pt x="2804417" y="482983"/>
                    <a:pt x="2103756" y="611508"/>
                    <a:pt x="1651256" y="637796"/>
                  </a:cubicBezTo>
                  <a:cubicBezTo>
                    <a:pt x="1159892" y="666245"/>
                    <a:pt x="846075" y="583695"/>
                    <a:pt x="843154" y="582933"/>
                  </a:cubicBezTo>
                  <a:cubicBezTo>
                    <a:pt x="775894" y="564598"/>
                    <a:pt x="705853" y="601112"/>
                    <a:pt x="682372" y="666753"/>
                  </a:cubicBezTo>
                  <a:lnTo>
                    <a:pt x="0" y="2581406"/>
                  </a:lnTo>
                  <a:lnTo>
                    <a:pt x="283083" y="2581406"/>
                  </a:lnTo>
                  <a:lnTo>
                    <a:pt x="895224" y="866905"/>
                  </a:lnTo>
                  <a:cubicBezTo>
                    <a:pt x="1038734" y="892305"/>
                    <a:pt x="1303656" y="924563"/>
                    <a:pt x="1653542" y="905005"/>
                  </a:cubicBezTo>
                  <a:close/>
                </a:path>
              </a:pathLst>
            </a:custGeom>
            <a:solidFill>
              <a:srgbClr val="FFFFFF"/>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0"/>
            <a:ext cx="2733674" cy="6137275"/>
          </a:xfrm>
        </p:spPr>
        <p:txBody>
          <a:bodyPr/>
          <a:lstStyle/>
          <a:p>
            <a:r>
              <a:rPr lang="en-US"/>
              <a:t>Click icon to add picture</a:t>
            </a:r>
            <a:endParaRPr lang="en-GB" dirty="0"/>
          </a:p>
        </p:txBody>
      </p:sp>
      <p:sp>
        <p:nvSpPr>
          <p:cNvPr id="9" name="Content Placeholder 2">
            <a:extLst>
              <a:ext uri="{FF2B5EF4-FFF2-40B4-BE49-F238E27FC236}">
                <a16:creationId xmlns:a16="http://schemas.microsoft.com/office/drawing/2014/main" id="{91BA52AE-9ABC-4055-9C13-8C8165D9881B}"/>
              </a:ext>
            </a:extLst>
          </p:cNvPr>
          <p:cNvSpPr>
            <a:spLocks noGrp="1"/>
          </p:cNvSpPr>
          <p:nvPr>
            <p:ph idx="14"/>
          </p:nvPr>
        </p:nvSpPr>
        <p:spPr>
          <a:xfrm>
            <a:off x="4364038" y="2990638"/>
            <a:ext cx="3463925"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990639"/>
            <a:ext cx="3463925"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2128838"/>
            <a:ext cx="7108826" cy="756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7108826" cy="1368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598337872"/>
      </p:ext>
    </p:extLst>
  </p:cSld>
  <p:clrMapOvr>
    <a:masterClrMapping/>
  </p:clrMapOvr>
  <p:extLst>
    <p:ext uri="{DCECCB84-F9BA-43D5-87BE-67443E8EF086}">
      <p15:sldGuideLst xmlns:p15="http://schemas.microsoft.com/office/powerpoint/2012/main">
        <p15:guide id="3" orient="horz" pos="2233" userDrawn="1">
          <p15:clr>
            <a:srgbClr val="A4A3A4"/>
          </p15:clr>
        </p15:guide>
        <p15:guide id="5" orient="horz" pos="986" userDrawn="1">
          <p15:clr>
            <a:srgbClr val="A4A3A4"/>
          </p15:clr>
        </p15:guide>
        <p15:guide id="6" orient="horz" pos="1576" userDrawn="1">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ne Content and Large Image Lef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33F0F39-6985-46BC-BFAE-091A8332FB26}"/>
              </a:ext>
            </a:extLst>
          </p:cNvPr>
          <p:cNvGrpSpPr/>
          <p:nvPr userDrawn="1"/>
        </p:nvGrpSpPr>
        <p:grpSpPr>
          <a:xfrm>
            <a:off x="0" y="0"/>
            <a:ext cx="5134863" cy="4480922"/>
            <a:chOff x="0" y="0"/>
            <a:chExt cx="5134863" cy="4480922"/>
          </a:xfrm>
        </p:grpSpPr>
        <p:sp>
          <p:nvSpPr>
            <p:cNvPr id="16" name="Freeform: Shape 15">
              <a:extLst>
                <a:ext uri="{FF2B5EF4-FFF2-40B4-BE49-F238E27FC236}">
                  <a16:creationId xmlns:a16="http://schemas.microsoft.com/office/drawing/2014/main" id="{F76299E4-E25F-4038-A9F4-ADCF55EE1965}"/>
                </a:ext>
              </a:extLst>
            </p:cNvPr>
            <p:cNvSpPr/>
            <p:nvPr/>
          </p:nvSpPr>
          <p:spPr>
            <a:xfrm>
              <a:off x="954718" y="0"/>
              <a:ext cx="4180145" cy="4480922"/>
            </a:xfrm>
            <a:custGeom>
              <a:avLst/>
              <a:gdLst>
                <a:gd name="connsiteX0" fmla="*/ 2385381 w 4180145"/>
                <a:gd name="connsiteY0" fmla="*/ 1186053 h 4480922"/>
                <a:gd name="connsiteX1" fmla="*/ 1048325 w 4180145"/>
                <a:gd name="connsiteY1" fmla="*/ 3687953 h 4480922"/>
                <a:gd name="connsiteX2" fmla="*/ 854777 w 4180145"/>
                <a:gd name="connsiteY2" fmla="*/ 4182364 h 4480922"/>
                <a:gd name="connsiteX3" fmla="*/ 176851 w 4180145"/>
                <a:gd name="connsiteY3" fmla="*/ 3948684 h 4480922"/>
                <a:gd name="connsiteX4" fmla="*/ 7306 w 4180145"/>
                <a:gd name="connsiteY4" fmla="*/ 4031361 h 4480922"/>
                <a:gd name="connsiteX5" fmla="*/ 89983 w 4180145"/>
                <a:gd name="connsiteY5" fmla="*/ 4200907 h 4480922"/>
                <a:gd name="connsiteX6" fmla="*/ 881701 w 4180145"/>
                <a:gd name="connsiteY6" fmla="*/ 4473448 h 4480922"/>
                <a:gd name="connsiteX7" fmla="*/ 1044769 w 4180145"/>
                <a:gd name="connsiteY7" fmla="*/ 4406900 h 4480922"/>
                <a:gd name="connsiteX8" fmla="*/ 1298134 w 4180145"/>
                <a:gd name="connsiteY8" fmla="*/ 3781679 h 4480922"/>
                <a:gd name="connsiteX9" fmla="*/ 4180146 w 4180145"/>
                <a:gd name="connsiteY9" fmla="*/ 0 h 4480922"/>
                <a:gd name="connsiteX10" fmla="*/ 3688274 w 4180145"/>
                <a:gd name="connsiteY10" fmla="*/ 0 h 4480922"/>
                <a:gd name="connsiteX11" fmla="*/ 2385381 w 4180145"/>
                <a:gd name="connsiteY11" fmla="*/ 1186053 h 448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0145" h="4480922">
                  <a:moveTo>
                    <a:pt x="2385381" y="1186053"/>
                  </a:moveTo>
                  <a:cubicBezTo>
                    <a:pt x="1648781" y="2080387"/>
                    <a:pt x="1301690" y="3009392"/>
                    <a:pt x="1048325" y="3687953"/>
                  </a:cubicBezTo>
                  <a:cubicBezTo>
                    <a:pt x="978221" y="3875913"/>
                    <a:pt x="915483" y="4043553"/>
                    <a:pt x="854777" y="4182364"/>
                  </a:cubicBezTo>
                  <a:lnTo>
                    <a:pt x="176851" y="3948684"/>
                  </a:lnTo>
                  <a:cubicBezTo>
                    <a:pt x="107202" y="3924696"/>
                    <a:pt x="31294" y="3961712"/>
                    <a:pt x="7306" y="4031361"/>
                  </a:cubicBezTo>
                  <a:cubicBezTo>
                    <a:pt x="-16682" y="4101011"/>
                    <a:pt x="20334" y="4176918"/>
                    <a:pt x="89983" y="4200907"/>
                  </a:cubicBezTo>
                  <a:lnTo>
                    <a:pt x="881701" y="4473448"/>
                  </a:lnTo>
                  <a:cubicBezTo>
                    <a:pt x="945063" y="4495604"/>
                    <a:pt x="1015002" y="4467062"/>
                    <a:pt x="1044769" y="4406900"/>
                  </a:cubicBezTo>
                  <a:cubicBezTo>
                    <a:pt x="1127065" y="4239768"/>
                    <a:pt x="1206313" y="4027424"/>
                    <a:pt x="1298134" y="3781679"/>
                  </a:cubicBezTo>
                  <a:cubicBezTo>
                    <a:pt x="1691961" y="2726436"/>
                    <a:pt x="2292671" y="1117600"/>
                    <a:pt x="4180146" y="0"/>
                  </a:cubicBezTo>
                  <a:lnTo>
                    <a:pt x="3688274" y="0"/>
                  </a:lnTo>
                  <a:cubicBezTo>
                    <a:pt x="3200117" y="331803"/>
                    <a:pt x="2761457" y="731126"/>
                    <a:pt x="2385381" y="1186053"/>
                  </a:cubicBezTo>
                  <a:close/>
                </a:path>
              </a:pathLst>
            </a:custGeom>
            <a:solidFill>
              <a:schemeClr val="accent4"/>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5C98D058-C87A-4B6A-83A1-6235BF2E7E5F}"/>
                </a:ext>
              </a:extLst>
            </p:cNvPr>
            <p:cNvSpPr/>
            <p:nvPr/>
          </p:nvSpPr>
          <p:spPr>
            <a:xfrm>
              <a:off x="0" y="3559047"/>
              <a:ext cx="1221581" cy="649097"/>
            </a:xfrm>
            <a:custGeom>
              <a:avLst/>
              <a:gdLst>
                <a:gd name="connsiteX0" fmla="*/ 1088136 w 1221581"/>
                <a:gd name="connsiteY0" fmla="*/ 649097 h 649097"/>
                <a:gd name="connsiteX1" fmla="*/ 1221582 w 1221581"/>
                <a:gd name="connsiteY1" fmla="*/ 515843 h 649097"/>
                <a:gd name="connsiteX2" fmla="*/ 1131570 w 1221581"/>
                <a:gd name="connsiteY2" fmla="*/ 389636 h 649097"/>
                <a:gd name="connsiteX3" fmla="*/ 0 w 1221581"/>
                <a:gd name="connsiteY3" fmla="*/ 0 h 649097"/>
                <a:gd name="connsiteX4" fmla="*/ 0 w 1221581"/>
                <a:gd name="connsiteY4" fmla="*/ 282067 h 649097"/>
                <a:gd name="connsiteX5" fmla="*/ 1044702 w 1221581"/>
                <a:gd name="connsiteY5" fmla="*/ 641858 h 649097"/>
                <a:gd name="connsiteX6" fmla="*/ 1088136 w 1221581"/>
                <a:gd name="connsiteY6" fmla="*/ 649097 h 64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581" h="649097">
                  <a:moveTo>
                    <a:pt x="1088136" y="649097"/>
                  </a:moveTo>
                  <a:cubicBezTo>
                    <a:pt x="1161783" y="649150"/>
                    <a:pt x="1221529" y="589490"/>
                    <a:pt x="1221582" y="515843"/>
                  </a:cubicBezTo>
                  <a:cubicBezTo>
                    <a:pt x="1221622" y="458864"/>
                    <a:pt x="1185456" y="408154"/>
                    <a:pt x="1131570" y="389636"/>
                  </a:cubicBezTo>
                  <a:lnTo>
                    <a:pt x="0" y="0"/>
                  </a:lnTo>
                  <a:lnTo>
                    <a:pt x="0" y="282067"/>
                  </a:lnTo>
                  <a:lnTo>
                    <a:pt x="1044702" y="641858"/>
                  </a:lnTo>
                  <a:cubicBezTo>
                    <a:pt x="1058681" y="646654"/>
                    <a:pt x="1073358" y="649101"/>
                    <a:pt x="1088136" y="649097"/>
                  </a:cubicBezTo>
                  <a:close/>
                </a:path>
              </a:pathLst>
            </a:custGeom>
            <a:solidFill>
              <a:schemeClr val="tx2"/>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userDrawn="1">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userDrawn="1">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userDrawn="1">
            <p:ph type="pic" sz="quarter" idx="13"/>
          </p:nvPr>
        </p:nvSpPr>
        <p:spPr>
          <a:xfrm>
            <a:off x="719139" y="720725"/>
            <a:ext cx="4375150" cy="541655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userDrawn="1">
            <p:ph idx="1"/>
          </p:nvPr>
        </p:nvSpPr>
        <p:spPr>
          <a:xfrm>
            <a:off x="6005513" y="3374933"/>
            <a:ext cx="5465761" cy="27623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userDrawn="1">
            <p:ph type="subTitle" idx="12"/>
          </p:nvPr>
        </p:nvSpPr>
        <p:spPr>
          <a:xfrm>
            <a:off x="6005513" y="2128838"/>
            <a:ext cx="5465761" cy="1152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userDrawn="1">
            <p:ph type="title"/>
          </p:nvPr>
        </p:nvSpPr>
        <p:spPr>
          <a:xfrm>
            <a:off x="6005513" y="666744"/>
            <a:ext cx="5465761" cy="1368000"/>
          </a:xfrm>
        </p:spPr>
        <p:txBody>
          <a:bodyPr>
            <a:noAutofit/>
          </a:bodyPr>
          <a:lstStyle/>
          <a:p>
            <a:pPr lvl="0"/>
            <a:r>
              <a:rPr lang="en-US"/>
              <a:t>Click to edit Master title style</a:t>
            </a:r>
            <a:endParaRPr lang="en-GB" dirty="0"/>
          </a:p>
        </p:txBody>
      </p:sp>
    </p:spTree>
    <p:extLst>
      <p:ext uri="{BB962C8B-B14F-4D97-AF65-F5344CB8AC3E}">
        <p14:creationId xmlns:p14="http://schemas.microsoft.com/office/powerpoint/2010/main" val="3847709359"/>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ne Content and Large Image Left 2">
    <p:bg>
      <p:bgPr>
        <a:solidFill>
          <a:schemeClr val="accent1"/>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259" y="720725"/>
            <a:ext cx="4375150" cy="5416550"/>
          </a:xfrm>
        </p:spPr>
        <p:txBody>
          <a:bodyPr/>
          <a:lstStyle/>
          <a:p>
            <a:r>
              <a:rPr lang="en-US"/>
              <a:t>Click icon to add pictur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6005513" y="666744"/>
            <a:ext cx="5465761" cy="672823"/>
          </a:xfrm>
        </p:spPr>
        <p:txBody>
          <a:bodyPr>
            <a:noAutofit/>
          </a:bodyPr>
          <a:lstStyle/>
          <a:p>
            <a:pPr lvl="0"/>
            <a:r>
              <a:rPr lang="en-US"/>
              <a:t>Click to edit Master title style</a:t>
            </a:r>
            <a:endParaRPr lang="en-GB" dirty="0"/>
          </a:p>
        </p:txBody>
      </p:sp>
      <p:sp>
        <p:nvSpPr>
          <p:cNvPr id="9" name="Subtitle 1">
            <a:extLst>
              <a:ext uri="{FF2B5EF4-FFF2-40B4-BE49-F238E27FC236}">
                <a16:creationId xmlns:a16="http://schemas.microsoft.com/office/drawing/2014/main" id="{2DA586D9-EBA0-4AB4-8F39-649FC494C899}"/>
              </a:ext>
            </a:extLst>
          </p:cNvPr>
          <p:cNvSpPr>
            <a:spLocks noGrp="1"/>
          </p:cNvSpPr>
          <p:nvPr>
            <p:ph type="subTitle" idx="12"/>
          </p:nvPr>
        </p:nvSpPr>
        <p:spPr>
          <a:xfrm>
            <a:off x="6005513" y="1339568"/>
            <a:ext cx="5465761" cy="527734"/>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10" name="Freeform: Shape 9">
            <a:extLst>
              <a:ext uri="{FF2B5EF4-FFF2-40B4-BE49-F238E27FC236}">
                <a16:creationId xmlns:a16="http://schemas.microsoft.com/office/drawing/2014/main" id="{3B7B3F0B-1F83-4BC9-8F30-052B22C24275}"/>
              </a:ext>
            </a:extLst>
          </p:cNvPr>
          <p:cNvSpPr/>
          <p:nvPr userDrawn="1"/>
        </p:nvSpPr>
        <p:spPr>
          <a:xfrm rot="18016983">
            <a:off x="-1583825" y="693673"/>
            <a:ext cx="6428373" cy="5597475"/>
          </a:xfrm>
          <a:custGeom>
            <a:avLst/>
            <a:gdLst>
              <a:gd name="connsiteX0" fmla="*/ 2795284 w 6428373"/>
              <a:gd name="connsiteY0" fmla="*/ 4502023 h 5597475"/>
              <a:gd name="connsiteX1" fmla="*/ 128919 w 6428373"/>
              <a:gd name="connsiteY1" fmla="*/ 5330698 h 5597475"/>
              <a:gd name="connsiteX2" fmla="*/ 78 w 6428373"/>
              <a:gd name="connsiteY2" fmla="*/ 5468557 h 5597475"/>
              <a:gd name="connsiteX3" fmla="*/ 137936 w 6428373"/>
              <a:gd name="connsiteY3" fmla="*/ 5597398 h 5597475"/>
              <a:gd name="connsiteX4" fmla="*/ 147207 w 6428373"/>
              <a:gd name="connsiteY4" fmla="*/ 5597398 h 5597475"/>
              <a:gd name="connsiteX5" fmla="*/ 2928507 w 6428373"/>
              <a:gd name="connsiteY5" fmla="*/ 4733798 h 5597475"/>
              <a:gd name="connsiteX6" fmla="*/ 5107066 w 6428373"/>
              <a:gd name="connsiteY6" fmla="*/ 2848991 h 5597475"/>
              <a:gd name="connsiteX7" fmla="*/ 6188597 w 6428373"/>
              <a:gd name="connsiteY7" fmla="*/ 840232 h 5597475"/>
              <a:gd name="connsiteX8" fmla="*/ 6428374 w 6428373"/>
              <a:gd name="connsiteY8" fmla="*/ 0 h 5597475"/>
              <a:gd name="connsiteX9" fmla="*/ 6154307 w 6428373"/>
              <a:gd name="connsiteY9" fmla="*/ 0 h 5597475"/>
              <a:gd name="connsiteX10" fmla="*/ 5936756 w 6428373"/>
              <a:gd name="connsiteY10" fmla="*/ 752348 h 5597475"/>
              <a:gd name="connsiteX11" fmla="*/ 2795284 w 6428373"/>
              <a:gd name="connsiteY11" fmla="*/ 4502023 h 559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28373" h="5597475">
                <a:moveTo>
                  <a:pt x="2795284" y="4502023"/>
                </a:moveTo>
                <a:cubicBezTo>
                  <a:pt x="1951750" y="4988052"/>
                  <a:pt x="1054622" y="5266944"/>
                  <a:pt x="128919" y="5330698"/>
                </a:cubicBezTo>
                <a:cubicBezTo>
                  <a:pt x="55272" y="5333188"/>
                  <a:pt x="-2412" y="5394909"/>
                  <a:pt x="78" y="5468557"/>
                </a:cubicBezTo>
                <a:cubicBezTo>
                  <a:pt x="2568" y="5542204"/>
                  <a:pt x="64289" y="5599888"/>
                  <a:pt x="137936" y="5597398"/>
                </a:cubicBezTo>
                <a:cubicBezTo>
                  <a:pt x="140984" y="5597398"/>
                  <a:pt x="144032" y="5597398"/>
                  <a:pt x="147207" y="5597398"/>
                </a:cubicBezTo>
                <a:cubicBezTo>
                  <a:pt x="1113677" y="5530850"/>
                  <a:pt x="2049540" y="5240274"/>
                  <a:pt x="2928507" y="4733798"/>
                </a:cubicBezTo>
                <a:cubicBezTo>
                  <a:pt x="3796553" y="4233545"/>
                  <a:pt x="4529596" y="3599434"/>
                  <a:pt x="5107066" y="2848991"/>
                </a:cubicBezTo>
                <a:cubicBezTo>
                  <a:pt x="5572820" y="2241642"/>
                  <a:pt x="5937983" y="1563415"/>
                  <a:pt x="6188597" y="840232"/>
                </a:cubicBezTo>
                <a:cubicBezTo>
                  <a:pt x="6284668" y="565016"/>
                  <a:pt x="6364727" y="284469"/>
                  <a:pt x="6428374" y="0"/>
                </a:cubicBezTo>
                <a:lnTo>
                  <a:pt x="6154307" y="0"/>
                </a:lnTo>
                <a:cubicBezTo>
                  <a:pt x="6095493" y="254544"/>
                  <a:pt x="6022869" y="505698"/>
                  <a:pt x="5936756" y="752348"/>
                </a:cubicBezTo>
                <a:cubicBezTo>
                  <a:pt x="5550422" y="1859915"/>
                  <a:pt x="4691267" y="3409442"/>
                  <a:pt x="2795284" y="4502023"/>
                </a:cubicBezTo>
                <a:close/>
              </a:path>
            </a:pathLst>
          </a:custGeom>
          <a:solidFill>
            <a:schemeClr val="tx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892404241"/>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ne Content and Image Left">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2AADBDED-F3FE-4CAB-88F5-3C5B19159405}"/>
              </a:ext>
            </a:extLst>
          </p:cNvPr>
          <p:cNvGrpSpPr/>
          <p:nvPr userDrawn="1"/>
        </p:nvGrpSpPr>
        <p:grpSpPr>
          <a:xfrm>
            <a:off x="0" y="0"/>
            <a:ext cx="5134863" cy="4480922"/>
            <a:chOff x="0" y="0"/>
            <a:chExt cx="5134863" cy="4480922"/>
          </a:xfrm>
        </p:grpSpPr>
        <p:sp>
          <p:nvSpPr>
            <p:cNvPr id="14" name="Freeform: Shape 13">
              <a:extLst>
                <a:ext uri="{FF2B5EF4-FFF2-40B4-BE49-F238E27FC236}">
                  <a16:creationId xmlns:a16="http://schemas.microsoft.com/office/drawing/2014/main" id="{2F20CED0-286C-49EF-8946-C9362682E66E}"/>
                </a:ext>
              </a:extLst>
            </p:cNvPr>
            <p:cNvSpPr/>
            <p:nvPr/>
          </p:nvSpPr>
          <p:spPr>
            <a:xfrm>
              <a:off x="954718" y="0"/>
              <a:ext cx="4180145" cy="4480922"/>
            </a:xfrm>
            <a:custGeom>
              <a:avLst/>
              <a:gdLst>
                <a:gd name="connsiteX0" fmla="*/ 2385381 w 4180145"/>
                <a:gd name="connsiteY0" fmla="*/ 1186053 h 4480922"/>
                <a:gd name="connsiteX1" fmla="*/ 1048325 w 4180145"/>
                <a:gd name="connsiteY1" fmla="*/ 3687953 h 4480922"/>
                <a:gd name="connsiteX2" fmla="*/ 854777 w 4180145"/>
                <a:gd name="connsiteY2" fmla="*/ 4182364 h 4480922"/>
                <a:gd name="connsiteX3" fmla="*/ 176851 w 4180145"/>
                <a:gd name="connsiteY3" fmla="*/ 3948684 h 4480922"/>
                <a:gd name="connsiteX4" fmla="*/ 7306 w 4180145"/>
                <a:gd name="connsiteY4" fmla="*/ 4031361 h 4480922"/>
                <a:gd name="connsiteX5" fmla="*/ 89983 w 4180145"/>
                <a:gd name="connsiteY5" fmla="*/ 4200907 h 4480922"/>
                <a:gd name="connsiteX6" fmla="*/ 881701 w 4180145"/>
                <a:gd name="connsiteY6" fmla="*/ 4473448 h 4480922"/>
                <a:gd name="connsiteX7" fmla="*/ 1044769 w 4180145"/>
                <a:gd name="connsiteY7" fmla="*/ 4406900 h 4480922"/>
                <a:gd name="connsiteX8" fmla="*/ 1298134 w 4180145"/>
                <a:gd name="connsiteY8" fmla="*/ 3781679 h 4480922"/>
                <a:gd name="connsiteX9" fmla="*/ 4180146 w 4180145"/>
                <a:gd name="connsiteY9" fmla="*/ 0 h 4480922"/>
                <a:gd name="connsiteX10" fmla="*/ 3688274 w 4180145"/>
                <a:gd name="connsiteY10" fmla="*/ 0 h 4480922"/>
                <a:gd name="connsiteX11" fmla="*/ 2385381 w 4180145"/>
                <a:gd name="connsiteY11" fmla="*/ 1186053 h 448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0145" h="4480922">
                  <a:moveTo>
                    <a:pt x="2385381" y="1186053"/>
                  </a:moveTo>
                  <a:cubicBezTo>
                    <a:pt x="1648781" y="2080387"/>
                    <a:pt x="1301690" y="3009392"/>
                    <a:pt x="1048325" y="3687953"/>
                  </a:cubicBezTo>
                  <a:cubicBezTo>
                    <a:pt x="978221" y="3875913"/>
                    <a:pt x="915483" y="4043553"/>
                    <a:pt x="854777" y="4182364"/>
                  </a:cubicBezTo>
                  <a:lnTo>
                    <a:pt x="176851" y="3948684"/>
                  </a:lnTo>
                  <a:cubicBezTo>
                    <a:pt x="107202" y="3924696"/>
                    <a:pt x="31294" y="3961712"/>
                    <a:pt x="7306" y="4031361"/>
                  </a:cubicBezTo>
                  <a:cubicBezTo>
                    <a:pt x="-16682" y="4101011"/>
                    <a:pt x="20334" y="4176918"/>
                    <a:pt x="89983" y="4200907"/>
                  </a:cubicBezTo>
                  <a:lnTo>
                    <a:pt x="881701" y="4473448"/>
                  </a:lnTo>
                  <a:cubicBezTo>
                    <a:pt x="945063" y="4495604"/>
                    <a:pt x="1015002" y="4467062"/>
                    <a:pt x="1044769" y="4406900"/>
                  </a:cubicBezTo>
                  <a:cubicBezTo>
                    <a:pt x="1127065" y="4239768"/>
                    <a:pt x="1206313" y="4027424"/>
                    <a:pt x="1298134" y="3781679"/>
                  </a:cubicBezTo>
                  <a:cubicBezTo>
                    <a:pt x="1691961" y="2726436"/>
                    <a:pt x="2292671" y="1117600"/>
                    <a:pt x="4180146" y="0"/>
                  </a:cubicBezTo>
                  <a:lnTo>
                    <a:pt x="3688274" y="0"/>
                  </a:lnTo>
                  <a:cubicBezTo>
                    <a:pt x="3200117" y="331803"/>
                    <a:pt x="2761457" y="731126"/>
                    <a:pt x="2385381" y="1186053"/>
                  </a:cubicBezTo>
                  <a:close/>
                </a:path>
              </a:pathLst>
            </a:custGeom>
            <a:solidFill>
              <a:schemeClr val="accent1"/>
            </a:solid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C27D2956-1F82-4E82-8703-8B886F1DDC2B}"/>
                </a:ext>
              </a:extLst>
            </p:cNvPr>
            <p:cNvSpPr/>
            <p:nvPr/>
          </p:nvSpPr>
          <p:spPr>
            <a:xfrm>
              <a:off x="0" y="3559047"/>
              <a:ext cx="1221581" cy="649097"/>
            </a:xfrm>
            <a:custGeom>
              <a:avLst/>
              <a:gdLst>
                <a:gd name="connsiteX0" fmla="*/ 1088136 w 1221581"/>
                <a:gd name="connsiteY0" fmla="*/ 649097 h 649097"/>
                <a:gd name="connsiteX1" fmla="*/ 1221582 w 1221581"/>
                <a:gd name="connsiteY1" fmla="*/ 515843 h 649097"/>
                <a:gd name="connsiteX2" fmla="*/ 1131570 w 1221581"/>
                <a:gd name="connsiteY2" fmla="*/ 389636 h 649097"/>
                <a:gd name="connsiteX3" fmla="*/ 0 w 1221581"/>
                <a:gd name="connsiteY3" fmla="*/ 0 h 649097"/>
                <a:gd name="connsiteX4" fmla="*/ 0 w 1221581"/>
                <a:gd name="connsiteY4" fmla="*/ 282067 h 649097"/>
                <a:gd name="connsiteX5" fmla="*/ 1044702 w 1221581"/>
                <a:gd name="connsiteY5" fmla="*/ 641858 h 649097"/>
                <a:gd name="connsiteX6" fmla="*/ 1088136 w 1221581"/>
                <a:gd name="connsiteY6" fmla="*/ 649097 h 64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581" h="649097">
                  <a:moveTo>
                    <a:pt x="1088136" y="649097"/>
                  </a:moveTo>
                  <a:cubicBezTo>
                    <a:pt x="1161783" y="649150"/>
                    <a:pt x="1221529" y="589490"/>
                    <a:pt x="1221582" y="515843"/>
                  </a:cubicBezTo>
                  <a:cubicBezTo>
                    <a:pt x="1221622" y="458864"/>
                    <a:pt x="1185456" y="408154"/>
                    <a:pt x="1131570" y="389636"/>
                  </a:cubicBezTo>
                  <a:lnTo>
                    <a:pt x="0" y="0"/>
                  </a:lnTo>
                  <a:lnTo>
                    <a:pt x="0" y="282067"/>
                  </a:lnTo>
                  <a:lnTo>
                    <a:pt x="1044702" y="641858"/>
                  </a:lnTo>
                  <a:cubicBezTo>
                    <a:pt x="1058681" y="646654"/>
                    <a:pt x="1073358" y="649101"/>
                    <a:pt x="1088136" y="649097"/>
                  </a:cubicBezTo>
                  <a:close/>
                </a:path>
              </a:pathLst>
            </a:custGeom>
            <a:solidFill>
              <a:schemeClr val="tx2"/>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19139" y="720725"/>
            <a:ext cx="3463924" cy="541655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5094289" y="3374933"/>
            <a:ext cx="6376986" cy="27623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5094289" y="2128838"/>
            <a:ext cx="6376986" cy="1152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5094289" y="666744"/>
            <a:ext cx="6376986" cy="1368000"/>
          </a:xfrm>
        </p:spPr>
        <p:txBody>
          <a:bodyPr>
            <a:noAutofit/>
          </a:bodyPr>
          <a:lstStyle/>
          <a:p>
            <a:pPr lvl="0"/>
            <a:r>
              <a:rPr lang="en-US"/>
              <a:t>Click to edit Master title style</a:t>
            </a:r>
            <a:endParaRPr lang="en-GB" dirty="0"/>
          </a:p>
        </p:txBody>
      </p:sp>
    </p:spTree>
    <p:extLst>
      <p:ext uri="{BB962C8B-B14F-4D97-AF65-F5344CB8AC3E}">
        <p14:creationId xmlns:p14="http://schemas.microsoft.com/office/powerpoint/2010/main" val="2774142057"/>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and Imag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23F42A6-7097-4D1F-8F48-FDAEECAAEB72}"/>
              </a:ext>
            </a:extLst>
          </p:cNvPr>
          <p:cNvGrpSpPr/>
          <p:nvPr userDrawn="1"/>
        </p:nvGrpSpPr>
        <p:grpSpPr>
          <a:xfrm>
            <a:off x="8944357" y="1706544"/>
            <a:ext cx="3247771" cy="5151963"/>
            <a:chOff x="8944357" y="1706544"/>
            <a:chExt cx="3247771" cy="5151963"/>
          </a:xfrm>
        </p:grpSpPr>
        <p:sp>
          <p:nvSpPr>
            <p:cNvPr id="15" name="Freeform: Shape 14">
              <a:extLst>
                <a:ext uri="{FF2B5EF4-FFF2-40B4-BE49-F238E27FC236}">
                  <a16:creationId xmlns:a16="http://schemas.microsoft.com/office/drawing/2014/main" id="{321533E8-4C38-475F-B611-B8828AB98470}"/>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chemeClr val="accent2"/>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002651D8-68D2-4C77-A852-FB29D7F2CA05}"/>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chemeClr val="accent1"/>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2128838"/>
            <a:ext cx="2733673" cy="4006800"/>
          </a:xfrm>
        </p:spPr>
        <p:txBody>
          <a:bodyPr/>
          <a:lstStyle/>
          <a:p>
            <a:r>
              <a:rPr lang="en-US"/>
              <a:t>Click icon to add picture</a:t>
            </a:r>
            <a:endParaRPr lang="en-GB" dirty="0"/>
          </a:p>
        </p:txBody>
      </p:sp>
      <p:sp>
        <p:nvSpPr>
          <p:cNvPr id="9" name="Content Placeholder 2">
            <a:extLst>
              <a:ext uri="{FF2B5EF4-FFF2-40B4-BE49-F238E27FC236}">
                <a16:creationId xmlns:a16="http://schemas.microsoft.com/office/drawing/2014/main" id="{6B4CA702-2FD4-456F-AE3B-5E547319FD5E}"/>
              </a:ext>
            </a:extLst>
          </p:cNvPr>
          <p:cNvSpPr>
            <a:spLocks noGrp="1"/>
          </p:cNvSpPr>
          <p:nvPr>
            <p:ph idx="14"/>
          </p:nvPr>
        </p:nvSpPr>
        <p:spPr>
          <a:xfrm>
            <a:off x="43640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3463924"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Tree>
    <p:extLst>
      <p:ext uri="{BB962C8B-B14F-4D97-AF65-F5344CB8AC3E}">
        <p14:creationId xmlns:p14="http://schemas.microsoft.com/office/powerpoint/2010/main" val="372603204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760133430"/>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am Bio 1">
    <p:bg>
      <p:bgPr>
        <a:solidFill>
          <a:schemeClr val="accent5"/>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8B05E4C6-B644-4A07-BE10-28429BB2C13E}"/>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tx2"/>
          </a:solidFill>
          <a:ln w="1270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rot="16200000">
            <a:off x="-1628637" y="3068637"/>
            <a:ext cx="5417275"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2541587" y="719997"/>
            <a:ext cx="2552699" cy="1701799"/>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6184901" y="719999"/>
            <a:ext cx="5286374" cy="360001"/>
          </a:xfrm>
        </p:spPr>
        <p:txBody>
          <a:bodyPr>
            <a:noAutofit/>
          </a:bodyPr>
          <a:lstStyle>
            <a:lvl1pPr marL="0">
              <a:lnSpc>
                <a:spcPct val="95000"/>
              </a:lnSpc>
              <a:spcBef>
                <a:spcPts val="0"/>
              </a:spcBef>
              <a:buFontTx/>
              <a:buNone/>
              <a:defRPr sz="2000" i="1">
                <a:solidFill>
                  <a:schemeClr val="tx1"/>
                </a:solidFill>
                <a:latin typeface="+mj-lt"/>
              </a:defRPr>
            </a:lvl1pPr>
            <a:lvl2pPr marL="0" indent="0">
              <a:lnSpc>
                <a:spcPct val="95000"/>
              </a:lnSpc>
              <a:spcBef>
                <a:spcPts val="0"/>
              </a:spcBef>
              <a:buFontTx/>
              <a:buNone/>
              <a:defRPr sz="2000" i="1">
                <a:solidFill>
                  <a:schemeClr val="tx1"/>
                </a:solidFill>
                <a:latin typeface="+mj-lt"/>
              </a:defRPr>
            </a:lvl2pPr>
            <a:lvl3pPr marL="0" indent="0">
              <a:lnSpc>
                <a:spcPct val="95000"/>
              </a:lnSpc>
              <a:spcBef>
                <a:spcPts val="0"/>
              </a:spcBef>
              <a:buFontTx/>
              <a:buNone/>
              <a:defRPr sz="1800" i="1">
                <a:solidFill>
                  <a:schemeClr val="tx1"/>
                </a:solidFill>
                <a:latin typeface="+mj-lt"/>
              </a:defRPr>
            </a:lvl3pPr>
            <a:lvl4pPr marL="0" indent="0">
              <a:lnSpc>
                <a:spcPct val="95000"/>
              </a:lnSpc>
              <a:spcBef>
                <a:spcPts val="0"/>
              </a:spcBef>
              <a:buFontTx/>
              <a:buNone/>
              <a:defRPr sz="1600" i="1">
                <a:solidFill>
                  <a:schemeClr val="tx1"/>
                </a:solidFill>
                <a:latin typeface="+mj-lt"/>
              </a:defRPr>
            </a:lvl4pPr>
            <a:lvl5pPr marL="0" indent="0">
              <a:lnSpc>
                <a:spcPct val="95000"/>
              </a:lnSpc>
              <a:spcBef>
                <a:spcPts val="0"/>
              </a:spcBef>
              <a:buFontTx/>
              <a:buNone/>
              <a:defRPr sz="1600" i="1">
                <a:solidFill>
                  <a:schemeClr val="tx1"/>
                </a:solidFill>
                <a:latin typeface="+mj-lt"/>
              </a:defRPr>
            </a:lvl5pPr>
            <a:lvl6pPr marL="0" indent="0">
              <a:lnSpc>
                <a:spcPct val="95000"/>
              </a:lnSpc>
              <a:spcBef>
                <a:spcPts val="0"/>
              </a:spcBef>
              <a:buFontTx/>
              <a:buNone/>
              <a:defRPr sz="1600" i="1">
                <a:solidFill>
                  <a:schemeClr val="tx1"/>
                </a:solidFill>
                <a:latin typeface="+mj-lt"/>
              </a:defRPr>
            </a:lvl6pPr>
            <a:lvl7pPr marL="0">
              <a:lnSpc>
                <a:spcPct val="95000"/>
              </a:lnSpc>
              <a:spcBef>
                <a:spcPts val="0"/>
              </a:spcBef>
              <a:buFontTx/>
              <a:buNone/>
              <a:defRPr sz="1600" i="1">
                <a:solidFill>
                  <a:schemeClr val="tx1"/>
                </a:solidFill>
                <a:latin typeface="+mj-lt"/>
              </a:defRPr>
            </a:lvl7pPr>
            <a:lvl8pPr marL="0">
              <a:lnSpc>
                <a:spcPct val="95000"/>
              </a:lnSpc>
              <a:spcBef>
                <a:spcPts val="0"/>
              </a:spcBef>
              <a:buFontTx/>
              <a:buNone/>
              <a:defRPr sz="1600" i="1">
                <a:solidFill>
                  <a:schemeClr val="tx1"/>
                </a:solidFill>
                <a:latin typeface="+mj-lt"/>
              </a:defRPr>
            </a:lvl8pPr>
            <a:lvl9pPr marL="0">
              <a:lnSpc>
                <a:spcPct val="95000"/>
              </a:lnSpc>
              <a:spcBef>
                <a:spcPts val="0"/>
              </a:spcBef>
              <a:buFontTx/>
              <a:buNone/>
              <a:defRPr sz="16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6184901" y="1259999"/>
            <a:ext cx="2217636" cy="482274"/>
          </a:xfrm>
          <a:prstGeom prst="roundRect">
            <a:avLst>
              <a:gd name="adj" fmla="val 50000"/>
            </a:avLst>
          </a:prstGeom>
          <a:solidFill>
            <a:schemeClr val="accent2"/>
          </a:solidFill>
        </p:spPr>
        <p:txBody>
          <a:bodyPr wrap="none" lIns="72000" tIns="54000" rIns="72000" bIns="54000" anchor="ctr" anchorCtr="0">
            <a:spAutoFit/>
          </a:bodyPr>
          <a:lstStyle>
            <a:lvl1pPr marL="0" indent="0">
              <a:lnSpc>
                <a:spcPct val="95000"/>
              </a:lnSpc>
              <a:spcBef>
                <a:spcPts val="0"/>
              </a:spcBef>
              <a:buFont typeface="Arial" panose="020B0604020202020204" pitchFamily="34" charset="0"/>
              <a:buNone/>
              <a:defRPr sz="1600" i="1">
                <a:solidFill>
                  <a:schemeClr val="tx1"/>
                </a:solidFill>
                <a:latin typeface="+mj-lt"/>
              </a:defRPr>
            </a:lvl1pPr>
            <a:lvl2pPr marL="0" indent="0">
              <a:lnSpc>
                <a:spcPct val="95000"/>
              </a:lnSpc>
              <a:spcBef>
                <a:spcPts val="0"/>
              </a:spcBef>
              <a:buNone/>
              <a:defRPr sz="1600" i="1">
                <a:solidFill>
                  <a:schemeClr val="tx1"/>
                </a:solidFill>
                <a:latin typeface="+mj-lt"/>
              </a:defRPr>
            </a:lvl2pPr>
            <a:lvl3pPr marL="0" indent="0">
              <a:lnSpc>
                <a:spcPct val="95000"/>
              </a:lnSpc>
              <a:spcBef>
                <a:spcPts val="0"/>
              </a:spcBef>
              <a:buNone/>
              <a:defRPr sz="1600" i="1">
                <a:solidFill>
                  <a:schemeClr val="tx1"/>
                </a:solidFill>
                <a:latin typeface="+mj-lt"/>
              </a:defRPr>
            </a:lvl3pPr>
            <a:lvl4pPr marL="0" indent="0">
              <a:lnSpc>
                <a:spcPct val="95000"/>
              </a:lnSpc>
              <a:spcBef>
                <a:spcPts val="0"/>
              </a:spcBef>
              <a:buNone/>
              <a:defRPr sz="1600" i="1">
                <a:solidFill>
                  <a:schemeClr val="tx1"/>
                </a:solidFill>
                <a:latin typeface="+mj-lt"/>
              </a:defRPr>
            </a:lvl4pPr>
            <a:lvl5pPr marL="0" indent="0">
              <a:lnSpc>
                <a:spcPct val="95000"/>
              </a:lnSpc>
              <a:spcBef>
                <a:spcPts val="0"/>
              </a:spcBef>
              <a:buFont typeface="Arial" panose="020B0604020202020204" pitchFamily="34" charset="0"/>
              <a:buNone/>
              <a:defRPr sz="1600" i="1">
                <a:solidFill>
                  <a:schemeClr val="tx1"/>
                </a:solidFill>
                <a:latin typeface="+mj-lt"/>
              </a:defRPr>
            </a:lvl5pPr>
            <a:lvl6pPr marL="0" indent="0">
              <a:lnSpc>
                <a:spcPct val="95000"/>
              </a:lnSpc>
              <a:spcBef>
                <a:spcPts val="0"/>
              </a:spcBef>
              <a:buFont typeface="Arial" panose="020B0604020202020204" pitchFamily="34" charset="0"/>
              <a:buNone/>
              <a:defRPr sz="1600" i="1">
                <a:solidFill>
                  <a:schemeClr val="tx1"/>
                </a:solidFill>
                <a:latin typeface="+mj-lt"/>
              </a:defRPr>
            </a:lvl6pPr>
            <a:lvl7pPr marL="0" indent="0">
              <a:lnSpc>
                <a:spcPct val="95000"/>
              </a:lnSpc>
              <a:spcBef>
                <a:spcPts val="0"/>
              </a:spcBef>
              <a:buFont typeface="Arial" panose="020B0604020202020204" pitchFamily="34" charset="0"/>
              <a:buNone/>
              <a:defRPr sz="1600" i="1">
                <a:solidFill>
                  <a:schemeClr val="tx1"/>
                </a:solidFill>
                <a:latin typeface="+mj-lt"/>
              </a:defRPr>
            </a:lvl7pPr>
            <a:lvl8pPr marL="0" indent="0">
              <a:lnSpc>
                <a:spcPct val="95000"/>
              </a:lnSpc>
              <a:spcBef>
                <a:spcPts val="0"/>
              </a:spcBef>
              <a:buFont typeface="Arial" panose="020B0604020202020204" pitchFamily="34" charset="0"/>
              <a:buNone/>
              <a:defRPr sz="1600" i="1">
                <a:solidFill>
                  <a:schemeClr val="tx1"/>
                </a:solidFill>
                <a:latin typeface="+mj-lt"/>
              </a:defRPr>
            </a:lvl8pPr>
            <a:lvl9pPr marL="0" indent="0">
              <a:lnSpc>
                <a:spcPct val="95000"/>
              </a:lnSpc>
              <a:spcBef>
                <a:spcPts val="0"/>
              </a:spcBef>
              <a:buFont typeface="Arial" panose="020B0604020202020204" pitchFamily="34" charset="0"/>
              <a:buNone/>
              <a:defRPr sz="1600" i="1">
                <a:solidFill>
                  <a:schemeClr val="tx1"/>
                </a:solidFill>
                <a:latin typeface="+mj-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6184901" y="1922273"/>
            <a:ext cx="5286374" cy="468000"/>
          </a:xfrm>
        </p:spPr>
        <p:txBody>
          <a:bodyPr>
            <a:noAutofit/>
          </a:bodyPr>
          <a:lstStyle>
            <a:lvl1pPr marL="0" indent="0">
              <a:lnSpc>
                <a:spcPct val="95000"/>
              </a:lnSpc>
              <a:spcBef>
                <a:spcPts val="300"/>
              </a:spcBef>
              <a:buFont typeface="Arial" panose="020B0604020202020204" pitchFamily="34" charset="0"/>
              <a:buNone/>
              <a:defRPr sz="1400">
                <a:solidFill>
                  <a:schemeClr val="tx1"/>
                </a:solidFill>
                <a:latin typeface="+mn-lt"/>
              </a:defRPr>
            </a:lvl1pPr>
            <a:lvl2pPr marL="0" indent="0">
              <a:lnSpc>
                <a:spcPct val="95000"/>
              </a:lnSpc>
              <a:spcBef>
                <a:spcPts val="300"/>
              </a:spcBef>
              <a:buNone/>
              <a:defRPr sz="1200">
                <a:solidFill>
                  <a:schemeClr val="tx1"/>
                </a:solidFill>
                <a:latin typeface="+mn-lt"/>
              </a:defRPr>
            </a:lvl2pPr>
            <a:lvl3pPr marL="0" indent="0">
              <a:lnSpc>
                <a:spcPct val="95000"/>
              </a:lnSpc>
              <a:spcBef>
                <a:spcPts val="300"/>
              </a:spcBef>
              <a:buNone/>
              <a:defRPr sz="1100">
                <a:solidFill>
                  <a:schemeClr val="tx1"/>
                </a:solidFill>
                <a:latin typeface="+mn-lt"/>
              </a:defRPr>
            </a:lvl3pPr>
            <a:lvl4pPr marL="0" indent="0">
              <a:lnSpc>
                <a:spcPct val="95000"/>
              </a:lnSpc>
              <a:spcBef>
                <a:spcPts val="300"/>
              </a:spcBef>
              <a:buNone/>
              <a:defRPr sz="1100">
                <a:solidFill>
                  <a:schemeClr val="tx1"/>
                </a:solidFill>
                <a:latin typeface="+mn-lt"/>
              </a:defRPr>
            </a:lvl4pPr>
            <a:lvl5pPr marL="0" indent="0">
              <a:lnSpc>
                <a:spcPct val="95000"/>
              </a:lnSpc>
              <a:spcBef>
                <a:spcPts val="300"/>
              </a:spcBef>
              <a:buFont typeface="Arial" panose="020B0604020202020204" pitchFamily="34" charset="0"/>
              <a:buNone/>
              <a:defRPr sz="1100">
                <a:solidFill>
                  <a:schemeClr val="tx1"/>
                </a:solidFill>
                <a:latin typeface="+mn-lt"/>
              </a:defRPr>
            </a:lvl5pPr>
            <a:lvl6pPr marL="0" indent="0">
              <a:lnSpc>
                <a:spcPct val="95000"/>
              </a:lnSpc>
              <a:spcBef>
                <a:spcPts val="300"/>
              </a:spcBef>
              <a:buFont typeface="Arial" panose="020B0604020202020204" pitchFamily="34" charset="0"/>
              <a:buNone/>
              <a:defRPr sz="1100">
                <a:solidFill>
                  <a:schemeClr val="tx1"/>
                </a:solidFill>
                <a:latin typeface="+mn-lt"/>
              </a:defRPr>
            </a:lvl6pPr>
            <a:lvl7pPr marL="0" indent="0">
              <a:lnSpc>
                <a:spcPct val="95000"/>
              </a:lnSpc>
              <a:spcBef>
                <a:spcPts val="300"/>
              </a:spcBef>
              <a:buFont typeface="Arial" panose="020B0604020202020204" pitchFamily="34" charset="0"/>
              <a:buNone/>
              <a:defRPr sz="1100">
                <a:solidFill>
                  <a:schemeClr val="tx1"/>
                </a:solidFill>
                <a:latin typeface="+mn-lt"/>
              </a:defRPr>
            </a:lvl7pPr>
            <a:lvl8pPr marL="0" indent="0">
              <a:lnSpc>
                <a:spcPct val="95000"/>
              </a:lnSpc>
              <a:spcBef>
                <a:spcPts val="300"/>
              </a:spcBef>
              <a:buFont typeface="Arial" panose="020B0604020202020204" pitchFamily="34" charset="0"/>
              <a:buNone/>
              <a:defRPr sz="1100">
                <a:solidFill>
                  <a:schemeClr val="tx1"/>
                </a:solidFill>
                <a:latin typeface="+mn-lt"/>
              </a:defRPr>
            </a:lvl8pPr>
            <a:lvl9pPr marL="0" indent="0">
              <a:lnSpc>
                <a:spcPct val="95000"/>
              </a:lnSpc>
              <a:spcBef>
                <a:spcPts val="300"/>
              </a:spcBef>
              <a:buFont typeface="Arial" panose="020B0604020202020204" pitchFamily="34" charset="0"/>
              <a:buNone/>
              <a:defRPr sz="1100">
                <a:solidFill>
                  <a:schemeClr val="tx1"/>
                </a:solidFill>
                <a:latin typeface="+mn-lt"/>
              </a:defRPr>
            </a:lvl9pPr>
          </a:lstStyle>
          <a:p>
            <a:pPr lvl="0"/>
            <a:r>
              <a:rPr lang="en-GB" dirty="0"/>
              <a:t>Click to add email address</a:t>
            </a:r>
          </a:p>
        </p:txBody>
      </p:sp>
      <p:sp>
        <p:nvSpPr>
          <p:cNvPr id="31" name="Bio Description 1">
            <a:extLst>
              <a:ext uri="{FF2B5EF4-FFF2-40B4-BE49-F238E27FC236}">
                <a16:creationId xmlns:a16="http://schemas.microsoft.com/office/drawing/2014/main" id="{B718AAF7-E3B8-4B2A-A298-9B65FE37CFCE}"/>
              </a:ext>
            </a:extLst>
          </p:cNvPr>
          <p:cNvSpPr>
            <a:spLocks noGrp="1"/>
          </p:cNvSpPr>
          <p:nvPr>
            <p:ph type="body" sz="quarter" idx="21" hasCustomPrompt="1"/>
          </p:nvPr>
        </p:nvSpPr>
        <p:spPr>
          <a:xfrm>
            <a:off x="6184901" y="2570273"/>
            <a:ext cx="5286374" cy="3567002"/>
          </a:xfrm>
        </p:spPr>
        <p:txBody>
          <a:bodyPr vert="horz" lIns="0" tIns="0" rIns="0" bIns="0" rtlCol="0">
            <a:normAutofit/>
          </a:bodyPr>
          <a:lstStyle>
            <a:lvl1pPr>
              <a:defRPr lang="en-US" dirty="0"/>
            </a:lvl1pPr>
            <a:lvl2pPr>
              <a:defRPr lang="en-US" dirty="0"/>
            </a:lvl2pPr>
            <a:lvl3pPr>
              <a:defRPr lang="en-US" dirty="0"/>
            </a:lvl3pPr>
            <a:lvl4pPr>
              <a:defRPr lang="en-US" dirty="0"/>
            </a:lvl4pPr>
            <a:lvl5pPr marL="0" indent="0">
              <a:lnSpc>
                <a:spcPct val="95000"/>
              </a:lnSpc>
              <a:spcBef>
                <a:spcPts val="800"/>
              </a:spcBef>
              <a:buFont typeface="Arial" panose="020B0604020202020204" pitchFamily="34" charset="0"/>
              <a:buNone/>
              <a:defRPr lang="en-US" sz="1600" dirty="0">
                <a:solidFill>
                  <a:schemeClr val="tx2"/>
                </a:solidFill>
                <a:latin typeface="+mn-lt"/>
              </a:defRPr>
            </a:lvl5pPr>
            <a:lvl6pPr marL="0" indent="0">
              <a:lnSpc>
                <a:spcPct val="95000"/>
              </a:lnSpc>
              <a:spcBef>
                <a:spcPts val="800"/>
              </a:spcBef>
              <a:buFont typeface="Arial" panose="020B0604020202020204" pitchFamily="34" charset="0"/>
              <a:buNone/>
              <a:defRPr lang="en-US" sz="1600" dirty="0">
                <a:solidFill>
                  <a:schemeClr val="tx1"/>
                </a:solidFill>
                <a:latin typeface="+mn-lt"/>
              </a:defRPr>
            </a:lvl6pPr>
            <a:lvl7pPr marL="0" indent="0">
              <a:lnSpc>
                <a:spcPct val="95000"/>
              </a:lnSpc>
              <a:spcBef>
                <a:spcPts val="800"/>
              </a:spcBef>
              <a:buFont typeface="Arial" panose="020B0604020202020204" pitchFamily="34" charset="0"/>
              <a:buNone/>
              <a:defRPr lang="en-US" sz="1600" dirty="0">
                <a:solidFill>
                  <a:schemeClr val="tx1"/>
                </a:solidFill>
                <a:latin typeface="+mn-lt"/>
              </a:defRPr>
            </a:lvl7pPr>
            <a:lvl8pPr marL="0" indent="0">
              <a:lnSpc>
                <a:spcPct val="95000"/>
              </a:lnSpc>
              <a:spcBef>
                <a:spcPts val="800"/>
              </a:spcBef>
              <a:buFont typeface="Arial" panose="020B0604020202020204" pitchFamily="34" charset="0"/>
              <a:buNone/>
              <a:defRPr lang="en-US" sz="1600" dirty="0">
                <a:solidFill>
                  <a:schemeClr val="tx1"/>
                </a:solidFill>
                <a:latin typeface="+mn-lt"/>
              </a:defRPr>
            </a:lvl8pPr>
            <a:lvl9pPr marL="0" indent="0">
              <a:lnSpc>
                <a:spcPct val="95000"/>
              </a:lnSpc>
              <a:spcBef>
                <a:spcPts val="800"/>
              </a:spcBef>
              <a:buFont typeface="Arial" panose="020B0604020202020204" pitchFamily="34" charset="0"/>
              <a:buNone/>
              <a:defRPr lang="en-GB" sz="1600" dirty="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sp>
        <p:nvSpPr>
          <p:cNvPr id="16" name="Text Quotation 1">
            <a:extLst>
              <a:ext uri="{FF2B5EF4-FFF2-40B4-BE49-F238E27FC236}">
                <a16:creationId xmlns:a16="http://schemas.microsoft.com/office/drawing/2014/main" id="{6AD1114A-9EDA-479C-ACC6-49277F39F273}"/>
              </a:ext>
            </a:extLst>
          </p:cNvPr>
          <p:cNvSpPr>
            <a:spLocks noGrp="1"/>
          </p:cNvSpPr>
          <p:nvPr>
            <p:ph type="body" sz="quarter" idx="22" hasCustomPrompt="1"/>
          </p:nvPr>
        </p:nvSpPr>
        <p:spPr>
          <a:xfrm>
            <a:off x="2541588" y="3039291"/>
            <a:ext cx="2552700" cy="2504577"/>
          </a:xfrm>
        </p:spPr>
        <p:txBody>
          <a:bodyPr/>
          <a:lstStyle>
            <a:lvl1pPr marL="0" indent="0">
              <a:lnSpc>
                <a:spcPct val="90000"/>
              </a:lnSpc>
              <a:buFont typeface="Arial" panose="020B0604020202020204" pitchFamily="34" charset="0"/>
              <a:buNone/>
              <a:defRPr sz="2000" i="1">
                <a:latin typeface="+mj-lt"/>
              </a:defRPr>
            </a:lvl1pPr>
            <a:lvl2pPr marL="0" indent="0">
              <a:lnSpc>
                <a:spcPct val="90000"/>
              </a:lnSpc>
              <a:buNone/>
              <a:defRPr sz="1600" i="1">
                <a:latin typeface="+mj-lt"/>
              </a:defRPr>
            </a:lvl2pPr>
            <a:lvl3pPr marL="0" indent="0">
              <a:lnSpc>
                <a:spcPct val="90000"/>
              </a:lnSpc>
              <a:buNone/>
              <a:defRPr sz="1000" i="0">
                <a:latin typeface="+mn-lt"/>
              </a:defRPr>
            </a:lvl3pPr>
            <a:lvl4pPr marL="0" indent="0">
              <a:lnSpc>
                <a:spcPct val="90000"/>
              </a:lnSpc>
              <a:buNone/>
              <a:defRPr sz="1800" i="1">
                <a:latin typeface="+mj-lt"/>
              </a:defRPr>
            </a:lvl4pPr>
            <a:lvl5pPr marL="0" indent="0">
              <a:lnSpc>
                <a:spcPct val="90000"/>
              </a:lnSpc>
              <a:buFont typeface="Arial" panose="020B0604020202020204" pitchFamily="34" charset="0"/>
              <a:buNone/>
              <a:defRPr sz="1400" i="1">
                <a:latin typeface="+mj-lt"/>
              </a:defRPr>
            </a:lvl5pPr>
            <a:lvl6pPr marL="0" indent="0">
              <a:lnSpc>
                <a:spcPct val="90000"/>
              </a:lnSpc>
              <a:buFont typeface="Arial" panose="020B0604020202020204" pitchFamily="34" charset="0"/>
              <a:buNone/>
              <a:defRPr sz="1200" i="1">
                <a:latin typeface="+mj-lt"/>
              </a:defRPr>
            </a:lvl6pPr>
            <a:lvl7pPr marL="0" indent="0">
              <a:lnSpc>
                <a:spcPct val="90000"/>
              </a:lnSpc>
              <a:spcBef>
                <a:spcPts val="800"/>
              </a:spcBef>
              <a:buFont typeface="Arial" panose="020B0604020202020204" pitchFamily="34" charset="0"/>
              <a:buNone/>
              <a:defRPr sz="1400" i="0">
                <a:solidFill>
                  <a:schemeClr val="tx1"/>
                </a:solidFill>
                <a:latin typeface="+mn-lt"/>
              </a:defRPr>
            </a:lvl7pPr>
            <a:lvl8pPr marL="0" indent="0">
              <a:lnSpc>
                <a:spcPct val="90000"/>
              </a:lnSpc>
              <a:spcBef>
                <a:spcPts val="800"/>
              </a:spcBef>
              <a:buFont typeface="Arial" panose="020B0604020202020204" pitchFamily="34" charset="0"/>
              <a:buNone/>
              <a:defRPr sz="1200" i="0">
                <a:solidFill>
                  <a:schemeClr val="tx1"/>
                </a:solidFill>
                <a:latin typeface="+mn-lt"/>
              </a:defRPr>
            </a:lvl8pPr>
            <a:lvl9pPr marL="0" indent="0">
              <a:lnSpc>
                <a:spcPct val="90000"/>
              </a:lnSpc>
              <a:spcBef>
                <a:spcPts val="800"/>
              </a:spcBef>
              <a:buFont typeface="Arial" panose="020B0604020202020204" pitchFamily="34" charset="0"/>
              <a:buNone/>
              <a:defRPr sz="1000" i="0">
                <a:solidFill>
                  <a:schemeClr val="tx1"/>
                </a:solidFill>
                <a:latin typeface="+mn-lt"/>
              </a:defRPr>
            </a:lvl9pPr>
          </a:lstStyle>
          <a:p>
            <a:pPr lvl="0"/>
            <a:r>
              <a:rPr lang="en-GB" dirty="0"/>
              <a:t>Click to add quotation</a:t>
            </a:r>
          </a:p>
          <a:p>
            <a:pPr lvl="1"/>
            <a:r>
              <a:rPr lang="en-GB" dirty="0"/>
              <a:t>Second level – Name</a:t>
            </a:r>
          </a:p>
          <a:p>
            <a:pPr lvl="2"/>
            <a:r>
              <a:rPr lang="en-GB" dirty="0"/>
              <a:t>Third level – Job Title - Organisation</a:t>
            </a:r>
          </a:p>
          <a:p>
            <a:pPr lvl="3"/>
            <a:r>
              <a:rPr lang="en-GB" dirty="0"/>
              <a:t>Fourth level</a:t>
            </a:r>
          </a:p>
          <a:p>
            <a:pPr lvl="4"/>
            <a:r>
              <a:rPr lang="en-GB" dirty="0"/>
              <a:t>Fifth level – Number 1</a:t>
            </a:r>
          </a:p>
          <a:p>
            <a:pPr lvl="5"/>
            <a:r>
              <a:rPr lang="en-GB" dirty="0"/>
              <a:t>Sixth level – Number 2</a:t>
            </a:r>
          </a:p>
          <a:p>
            <a:pPr lvl="6"/>
            <a:r>
              <a:rPr lang="en-GB" dirty="0"/>
              <a:t>Seventh level – Heading 1</a:t>
            </a:r>
          </a:p>
          <a:p>
            <a:pPr lvl="7"/>
            <a:r>
              <a:rPr lang="en-GB" dirty="0"/>
              <a:t>Eighth level – Heading 2</a:t>
            </a:r>
          </a:p>
          <a:p>
            <a:pPr lvl="8"/>
            <a:r>
              <a:rPr lang="en-GB" dirty="0"/>
              <a:t>Ninth level – Pull-out</a:t>
            </a:r>
          </a:p>
        </p:txBody>
      </p:sp>
      <p:sp>
        <p:nvSpPr>
          <p:cNvPr id="9" name="Quote Icon">
            <a:extLst>
              <a:ext uri="{FF2B5EF4-FFF2-40B4-BE49-F238E27FC236}">
                <a16:creationId xmlns:a16="http://schemas.microsoft.com/office/drawing/2014/main" id="{7DB0792E-7D00-4D1D-9A1F-8330DCE1DB7A}"/>
              </a:ext>
            </a:extLst>
          </p:cNvPr>
          <p:cNvSpPr>
            <a:spLocks noGrp="1" noChangeAspect="1"/>
          </p:cNvSpPr>
          <p:nvPr>
            <p:ph type="body" sz="quarter" idx="23" hasCustomPrompt="1"/>
          </p:nvPr>
        </p:nvSpPr>
        <p:spPr>
          <a:xfrm>
            <a:off x="1820613" y="3039291"/>
            <a:ext cx="540000" cy="540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732520471"/>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am Bio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5465762"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719137" y="1565274"/>
            <a:ext cx="2160000" cy="1440000"/>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719137" y="3113274"/>
            <a:ext cx="5286374"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719137" y="3488716"/>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719137" y="3873967"/>
            <a:ext cx="5286374"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31" name="Bio Description 1">
            <a:extLst>
              <a:ext uri="{FF2B5EF4-FFF2-40B4-BE49-F238E27FC236}">
                <a16:creationId xmlns:a16="http://schemas.microsoft.com/office/drawing/2014/main" id="{B718AAF7-E3B8-4B2A-A298-9B65FE37CFCE}"/>
              </a:ext>
            </a:extLst>
          </p:cNvPr>
          <p:cNvSpPr>
            <a:spLocks noGrp="1"/>
          </p:cNvSpPr>
          <p:nvPr>
            <p:ph type="body" sz="quarter" idx="21" hasCustomPrompt="1"/>
          </p:nvPr>
        </p:nvSpPr>
        <p:spPr>
          <a:xfrm>
            <a:off x="719137" y="4342066"/>
            <a:ext cx="5286374" cy="1795209"/>
          </a:xfrm>
        </p:spPr>
        <p:txBody>
          <a:bodyPr>
            <a:normAutofit/>
          </a:bodyPr>
          <a:lstStyle>
            <a:lvl1pPr>
              <a:lnSpc>
                <a:spcPct val="95000"/>
              </a:lnSpc>
              <a:spcBef>
                <a:spcPts val="600"/>
              </a:spcBef>
              <a:defRPr sz="1200">
                <a:latin typeface="+mn-lt"/>
              </a:defRPr>
            </a:lvl1pPr>
            <a:lvl2pPr>
              <a:lnSpc>
                <a:spcPct val="95000"/>
              </a:lnSpc>
              <a:spcBef>
                <a:spcPts val="600"/>
              </a:spcBef>
              <a:defRPr sz="1200">
                <a:latin typeface="+mn-lt"/>
              </a:defRPr>
            </a:lvl2pPr>
            <a:lvl3pPr>
              <a:lnSpc>
                <a:spcPct val="95000"/>
              </a:lnSpc>
              <a:spcBef>
                <a:spcPts val="600"/>
              </a:spcBef>
              <a:defRPr sz="1200">
                <a:latin typeface="+mn-lt"/>
              </a:defRPr>
            </a:lvl3pPr>
            <a:lvl4pPr>
              <a:lnSpc>
                <a:spcPct val="95000"/>
              </a:lnSpc>
              <a:spcBef>
                <a:spcPts val="600"/>
              </a:spcBef>
              <a:defRPr sz="1200">
                <a:latin typeface="+mn-lt"/>
              </a:defRPr>
            </a:lvl4pPr>
            <a:lvl5pPr marL="0" indent="0">
              <a:lnSpc>
                <a:spcPct val="95000"/>
              </a:lnSpc>
              <a:spcBef>
                <a:spcPts val="600"/>
              </a:spcBef>
              <a:buFont typeface="Arial" panose="020B0604020202020204" pitchFamily="34" charset="0"/>
              <a:buNone/>
              <a:defRPr sz="1200">
                <a:solidFill>
                  <a:schemeClr val="tx2"/>
                </a:solidFill>
                <a:latin typeface="+mn-lt"/>
              </a:defRPr>
            </a:lvl5pPr>
            <a:lvl6pPr marL="0" indent="0">
              <a:lnSpc>
                <a:spcPct val="95000"/>
              </a:lnSpc>
              <a:spcBef>
                <a:spcPts val="600"/>
              </a:spcBef>
              <a:buFont typeface="Arial" panose="020B0604020202020204" pitchFamily="34" charset="0"/>
              <a:buNone/>
              <a:defRPr sz="1200">
                <a:solidFill>
                  <a:schemeClr val="tx1"/>
                </a:solidFill>
                <a:latin typeface="+mn-lt"/>
              </a:defRPr>
            </a:lvl6pPr>
            <a:lvl7pPr marL="0" indent="0">
              <a:lnSpc>
                <a:spcPct val="95000"/>
              </a:lnSpc>
              <a:spcBef>
                <a:spcPts val="600"/>
              </a:spcBef>
              <a:buFont typeface="Arial" panose="020B0604020202020204" pitchFamily="34" charset="0"/>
              <a:buNone/>
              <a:defRPr sz="1200">
                <a:solidFill>
                  <a:schemeClr val="tx1"/>
                </a:solidFill>
                <a:latin typeface="+mn-lt"/>
              </a:defRPr>
            </a:lvl7pPr>
            <a:lvl8pPr marL="0" indent="0">
              <a:lnSpc>
                <a:spcPct val="95000"/>
              </a:lnSpc>
              <a:spcBef>
                <a:spcPts val="600"/>
              </a:spcBef>
              <a:buFont typeface="Arial" panose="020B0604020202020204" pitchFamily="34" charset="0"/>
              <a:buNone/>
              <a:defRPr sz="1200">
                <a:solidFill>
                  <a:schemeClr val="tx1"/>
                </a:solidFill>
                <a:latin typeface="+mn-lt"/>
              </a:defRPr>
            </a:lvl8pPr>
            <a:lvl9pPr marL="0" indent="0">
              <a:lnSpc>
                <a:spcPct val="95000"/>
              </a:lnSpc>
              <a:spcBef>
                <a:spcPts val="600"/>
              </a:spcBef>
              <a:buFont typeface="Arial" panose="020B0604020202020204" pitchFamily="34" charset="0"/>
              <a:buNone/>
              <a:defRPr sz="120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sp>
        <p:nvSpPr>
          <p:cNvPr id="43" name="Picture Placeholder 2">
            <a:extLst>
              <a:ext uri="{FF2B5EF4-FFF2-40B4-BE49-F238E27FC236}">
                <a16:creationId xmlns:a16="http://schemas.microsoft.com/office/drawing/2014/main" id="{2C71EBB3-958B-46B2-B16A-D9A971CB5E21}"/>
              </a:ext>
            </a:extLst>
          </p:cNvPr>
          <p:cNvSpPr>
            <a:spLocks noGrp="1" noChangeAspect="1"/>
          </p:cNvSpPr>
          <p:nvPr>
            <p:ph type="pic" sz="quarter" idx="22"/>
          </p:nvPr>
        </p:nvSpPr>
        <p:spPr>
          <a:xfrm>
            <a:off x="6184900" y="1565274"/>
            <a:ext cx="2160000" cy="1440000"/>
          </a:xfrm>
          <a:solidFill>
            <a:schemeClr val="bg2"/>
          </a:solidFill>
        </p:spPr>
        <p:txBody>
          <a:bodyPr/>
          <a:lstStyle/>
          <a:p>
            <a:r>
              <a:rPr lang="en-US"/>
              <a:t>Click icon to add picture</a:t>
            </a:r>
            <a:endParaRPr lang="en-GB" dirty="0"/>
          </a:p>
        </p:txBody>
      </p:sp>
      <p:sp>
        <p:nvSpPr>
          <p:cNvPr id="44" name="Name Placeholder 2">
            <a:extLst>
              <a:ext uri="{FF2B5EF4-FFF2-40B4-BE49-F238E27FC236}">
                <a16:creationId xmlns:a16="http://schemas.microsoft.com/office/drawing/2014/main" id="{D127DC27-338F-4B6A-987F-E7D622D13008}"/>
              </a:ext>
            </a:extLst>
          </p:cNvPr>
          <p:cNvSpPr>
            <a:spLocks noGrp="1"/>
          </p:cNvSpPr>
          <p:nvPr>
            <p:ph type="body" sz="quarter" idx="23" hasCustomPrompt="1"/>
          </p:nvPr>
        </p:nvSpPr>
        <p:spPr>
          <a:xfrm>
            <a:off x="6184900" y="3113274"/>
            <a:ext cx="5286374"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5" name="Job Title 2">
            <a:extLst>
              <a:ext uri="{FF2B5EF4-FFF2-40B4-BE49-F238E27FC236}">
                <a16:creationId xmlns:a16="http://schemas.microsoft.com/office/drawing/2014/main" id="{B788EC0D-1D8D-4859-B60F-E5B18534D185}"/>
              </a:ext>
            </a:extLst>
          </p:cNvPr>
          <p:cNvSpPr>
            <a:spLocks noGrp="1"/>
          </p:cNvSpPr>
          <p:nvPr>
            <p:ph type="body" sz="quarter" idx="24" hasCustomPrompt="1"/>
          </p:nvPr>
        </p:nvSpPr>
        <p:spPr>
          <a:xfrm>
            <a:off x="6184900" y="3488716"/>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46" name="Contact Details 2">
            <a:extLst>
              <a:ext uri="{FF2B5EF4-FFF2-40B4-BE49-F238E27FC236}">
                <a16:creationId xmlns:a16="http://schemas.microsoft.com/office/drawing/2014/main" id="{AEBC6940-689F-426A-81F4-5DFBF83B31F3}"/>
              </a:ext>
            </a:extLst>
          </p:cNvPr>
          <p:cNvSpPr>
            <a:spLocks noGrp="1"/>
          </p:cNvSpPr>
          <p:nvPr>
            <p:ph type="body" sz="quarter" idx="25" hasCustomPrompt="1"/>
          </p:nvPr>
        </p:nvSpPr>
        <p:spPr>
          <a:xfrm>
            <a:off x="6184900" y="3873967"/>
            <a:ext cx="5286374"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7" name="Bio Description 2">
            <a:extLst>
              <a:ext uri="{FF2B5EF4-FFF2-40B4-BE49-F238E27FC236}">
                <a16:creationId xmlns:a16="http://schemas.microsoft.com/office/drawing/2014/main" id="{546D1641-B818-46C5-869C-6A568D01E42F}"/>
              </a:ext>
            </a:extLst>
          </p:cNvPr>
          <p:cNvSpPr>
            <a:spLocks noGrp="1"/>
          </p:cNvSpPr>
          <p:nvPr>
            <p:ph type="body" sz="quarter" idx="26" hasCustomPrompt="1"/>
          </p:nvPr>
        </p:nvSpPr>
        <p:spPr>
          <a:xfrm>
            <a:off x="6184900" y="4342066"/>
            <a:ext cx="5286374" cy="1795209"/>
          </a:xfrm>
        </p:spPr>
        <p:txBody>
          <a:bodyPr>
            <a:normAutofit/>
          </a:bodyPr>
          <a:lstStyle>
            <a:lvl1pPr>
              <a:lnSpc>
                <a:spcPct val="95000"/>
              </a:lnSpc>
              <a:spcBef>
                <a:spcPts val="600"/>
              </a:spcBef>
              <a:defRPr sz="1200">
                <a:latin typeface="+mn-lt"/>
              </a:defRPr>
            </a:lvl1pPr>
            <a:lvl2pPr>
              <a:lnSpc>
                <a:spcPct val="95000"/>
              </a:lnSpc>
              <a:spcBef>
                <a:spcPts val="600"/>
              </a:spcBef>
              <a:defRPr sz="1200">
                <a:latin typeface="+mn-lt"/>
              </a:defRPr>
            </a:lvl2pPr>
            <a:lvl3pPr>
              <a:lnSpc>
                <a:spcPct val="95000"/>
              </a:lnSpc>
              <a:spcBef>
                <a:spcPts val="600"/>
              </a:spcBef>
              <a:defRPr sz="1200">
                <a:latin typeface="+mn-lt"/>
              </a:defRPr>
            </a:lvl3pPr>
            <a:lvl4pPr>
              <a:lnSpc>
                <a:spcPct val="95000"/>
              </a:lnSpc>
              <a:spcBef>
                <a:spcPts val="600"/>
              </a:spcBef>
              <a:defRPr sz="1200">
                <a:latin typeface="+mn-lt"/>
              </a:defRPr>
            </a:lvl4pPr>
            <a:lvl5pPr marL="0" indent="0">
              <a:lnSpc>
                <a:spcPct val="95000"/>
              </a:lnSpc>
              <a:spcBef>
                <a:spcPts val="600"/>
              </a:spcBef>
              <a:buFont typeface="Arial" panose="020B0604020202020204" pitchFamily="34" charset="0"/>
              <a:buNone/>
              <a:defRPr sz="1200">
                <a:solidFill>
                  <a:schemeClr val="tx2"/>
                </a:solidFill>
                <a:latin typeface="+mn-lt"/>
              </a:defRPr>
            </a:lvl5pPr>
            <a:lvl6pPr marL="0" indent="0">
              <a:lnSpc>
                <a:spcPct val="95000"/>
              </a:lnSpc>
              <a:spcBef>
                <a:spcPts val="600"/>
              </a:spcBef>
              <a:buFont typeface="Arial" panose="020B0604020202020204" pitchFamily="34" charset="0"/>
              <a:buNone/>
              <a:defRPr sz="1200">
                <a:solidFill>
                  <a:schemeClr val="tx1"/>
                </a:solidFill>
                <a:latin typeface="+mn-lt"/>
              </a:defRPr>
            </a:lvl6pPr>
            <a:lvl7pPr marL="0" indent="0">
              <a:lnSpc>
                <a:spcPct val="95000"/>
              </a:lnSpc>
              <a:spcBef>
                <a:spcPts val="600"/>
              </a:spcBef>
              <a:buFont typeface="Arial" panose="020B0604020202020204" pitchFamily="34" charset="0"/>
              <a:buNone/>
              <a:defRPr sz="1200">
                <a:solidFill>
                  <a:schemeClr val="tx1"/>
                </a:solidFill>
                <a:latin typeface="+mn-lt"/>
              </a:defRPr>
            </a:lvl7pPr>
            <a:lvl8pPr marL="0" indent="0">
              <a:lnSpc>
                <a:spcPct val="95000"/>
              </a:lnSpc>
              <a:spcBef>
                <a:spcPts val="600"/>
              </a:spcBef>
              <a:buFont typeface="Arial" panose="020B0604020202020204" pitchFamily="34" charset="0"/>
              <a:buNone/>
              <a:defRPr sz="1200">
                <a:solidFill>
                  <a:schemeClr val="tx1"/>
                </a:solidFill>
                <a:latin typeface="+mn-lt"/>
              </a:defRPr>
            </a:lvl8pPr>
            <a:lvl9pPr marL="0" indent="0">
              <a:lnSpc>
                <a:spcPct val="95000"/>
              </a:lnSpc>
              <a:spcBef>
                <a:spcPts val="600"/>
              </a:spcBef>
              <a:buFont typeface="Arial" panose="020B0604020202020204" pitchFamily="34" charset="0"/>
              <a:buNone/>
              <a:defRPr sz="120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grpSp>
        <p:nvGrpSpPr>
          <p:cNvPr id="15" name="Group 14">
            <a:extLst>
              <a:ext uri="{FF2B5EF4-FFF2-40B4-BE49-F238E27FC236}">
                <a16:creationId xmlns:a16="http://schemas.microsoft.com/office/drawing/2014/main" id="{399CD1D3-3D7B-4175-B9B5-AABE6DAC6948}"/>
              </a:ext>
            </a:extLst>
          </p:cNvPr>
          <p:cNvGrpSpPr/>
          <p:nvPr userDrawn="1"/>
        </p:nvGrpSpPr>
        <p:grpSpPr>
          <a:xfrm>
            <a:off x="6894610" y="0"/>
            <a:ext cx="5298532" cy="1803399"/>
            <a:chOff x="6894610" y="0"/>
            <a:chExt cx="5298532" cy="1803399"/>
          </a:xfrm>
        </p:grpSpPr>
        <p:sp>
          <p:nvSpPr>
            <p:cNvPr id="10" name="Freeform: Shape 9">
              <a:extLst>
                <a:ext uri="{FF2B5EF4-FFF2-40B4-BE49-F238E27FC236}">
                  <a16:creationId xmlns:a16="http://schemas.microsoft.com/office/drawing/2014/main" id="{52AD3346-80C8-4504-B648-AD22AA2F3ACF}"/>
                </a:ext>
              </a:extLst>
            </p:cNvPr>
            <p:cNvSpPr/>
            <p:nvPr/>
          </p:nvSpPr>
          <p:spPr>
            <a:xfrm>
              <a:off x="10870623" y="834697"/>
              <a:ext cx="1322519" cy="968702"/>
            </a:xfrm>
            <a:custGeom>
              <a:avLst/>
              <a:gdLst>
                <a:gd name="connsiteX0" fmla="*/ 7815 w 1322519"/>
                <a:gd name="connsiteY0" fmla="*/ 88465 h 968702"/>
                <a:gd name="connsiteX1" fmla="*/ 88460 w 1322519"/>
                <a:gd name="connsiteY1" fmla="*/ 258899 h 968702"/>
                <a:gd name="connsiteX2" fmla="*/ 1322519 w 1322519"/>
                <a:gd name="connsiteY2" fmla="*/ 968702 h 968702"/>
                <a:gd name="connsiteX3" fmla="*/ 1322520 w 1322519"/>
                <a:gd name="connsiteY3" fmla="*/ 627707 h 968702"/>
                <a:gd name="connsiteX4" fmla="*/ 178376 w 1322519"/>
                <a:gd name="connsiteY4" fmla="*/ 7820 h 968702"/>
                <a:gd name="connsiteX5" fmla="*/ 7815 w 1322519"/>
                <a:gd name="connsiteY5" fmla="*/ 88465 h 9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9" h="968702">
                  <a:moveTo>
                    <a:pt x="7815" y="88465"/>
                  </a:moveTo>
                  <a:cubicBezTo>
                    <a:pt x="-16964" y="157798"/>
                    <a:pt x="19136" y="234094"/>
                    <a:pt x="88460" y="258899"/>
                  </a:cubicBezTo>
                  <a:cubicBezTo>
                    <a:pt x="538461" y="420858"/>
                    <a:pt x="956254" y="661163"/>
                    <a:pt x="1322519" y="968702"/>
                  </a:cubicBezTo>
                  <a:lnTo>
                    <a:pt x="1322520" y="627707"/>
                  </a:lnTo>
                  <a:cubicBezTo>
                    <a:pt x="974877" y="364105"/>
                    <a:pt x="589058" y="155072"/>
                    <a:pt x="178376" y="7820"/>
                  </a:cubicBezTo>
                  <a:cubicBezTo>
                    <a:pt x="109010" y="-16967"/>
                    <a:pt x="32676" y="19125"/>
                    <a:pt x="7815" y="88465"/>
                  </a:cubicBezTo>
                  <a:close/>
                </a:path>
              </a:pathLst>
            </a:custGeom>
            <a:solidFill>
              <a:schemeClr val="tx2"/>
            </a:solidFill>
            <a:ln w="1270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4EB68B2B-7333-44EE-A6A3-9DD6B717F52E}"/>
                </a:ext>
              </a:extLst>
            </p:cNvPr>
            <p:cNvSpPr/>
            <p:nvPr/>
          </p:nvSpPr>
          <p:spPr>
            <a:xfrm>
              <a:off x="6894610" y="0"/>
              <a:ext cx="4228218" cy="1354511"/>
            </a:xfrm>
            <a:custGeom>
              <a:avLst/>
              <a:gdLst>
                <a:gd name="connsiteX0" fmla="*/ 4918 w 4228218"/>
                <a:gd name="connsiteY0" fmla="*/ 1185545 h 1354511"/>
                <a:gd name="connsiteX1" fmla="*/ 97513 w 4228218"/>
                <a:gd name="connsiteY1" fmla="*/ 1349627 h 1354511"/>
                <a:gd name="connsiteX2" fmla="*/ 191989 w 4228218"/>
                <a:gd name="connsiteY2" fmla="*/ 1340866 h 1354511"/>
                <a:gd name="connsiteX3" fmla="*/ 1408141 w 4228218"/>
                <a:gd name="connsiteY3" fmla="*/ 956564 h 1354511"/>
                <a:gd name="connsiteX4" fmla="*/ 4050376 w 4228218"/>
                <a:gd name="connsiteY4" fmla="*/ 1085215 h 1354511"/>
                <a:gd name="connsiteX5" fmla="*/ 4220557 w 4228218"/>
                <a:gd name="connsiteY5" fmla="*/ 1003935 h 1354511"/>
                <a:gd name="connsiteX6" fmla="*/ 4139276 w 4228218"/>
                <a:gd name="connsiteY6" fmla="*/ 833755 h 1354511"/>
                <a:gd name="connsiteX7" fmla="*/ 1346292 w 4228218"/>
                <a:gd name="connsiteY7" fmla="*/ 696849 h 1354511"/>
                <a:gd name="connsiteX8" fmla="*/ 322799 w 4228218"/>
                <a:gd name="connsiteY8" fmla="*/ 995807 h 1354511"/>
                <a:gd name="connsiteX9" fmla="*/ 338547 w 4228218"/>
                <a:gd name="connsiteY9" fmla="*/ 0 h 1354511"/>
                <a:gd name="connsiteX10" fmla="*/ 69307 w 4228218"/>
                <a:gd name="connsiteY10" fmla="*/ 0 h 1354511"/>
                <a:gd name="connsiteX11" fmla="*/ 4918 w 4228218"/>
                <a:gd name="connsiteY11" fmla="*/ 1185545 h 135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28218" h="1354511">
                  <a:moveTo>
                    <a:pt x="4918" y="1185545"/>
                  </a:moveTo>
                  <a:cubicBezTo>
                    <a:pt x="-14822" y="1256425"/>
                    <a:pt x="26634" y="1329886"/>
                    <a:pt x="97513" y="1349627"/>
                  </a:cubicBezTo>
                  <a:cubicBezTo>
                    <a:pt x="129013" y="1358400"/>
                    <a:pt x="162640" y="1355282"/>
                    <a:pt x="191989" y="1340866"/>
                  </a:cubicBezTo>
                  <a:cubicBezTo>
                    <a:pt x="196942" y="1338453"/>
                    <a:pt x="687289" y="1103757"/>
                    <a:pt x="1408141" y="956564"/>
                  </a:cubicBezTo>
                  <a:cubicBezTo>
                    <a:pt x="2067398" y="821690"/>
                    <a:pt x="3061427" y="734441"/>
                    <a:pt x="4050376" y="1085215"/>
                  </a:cubicBezTo>
                  <a:cubicBezTo>
                    <a:pt x="4119815" y="1109764"/>
                    <a:pt x="4196007" y="1073374"/>
                    <a:pt x="4220557" y="1003935"/>
                  </a:cubicBezTo>
                  <a:cubicBezTo>
                    <a:pt x="4245106" y="934496"/>
                    <a:pt x="4208715" y="858304"/>
                    <a:pt x="4139276" y="833755"/>
                  </a:cubicBezTo>
                  <a:cubicBezTo>
                    <a:pt x="3089748" y="461645"/>
                    <a:pt x="2041109" y="554355"/>
                    <a:pt x="1346292" y="696849"/>
                  </a:cubicBezTo>
                  <a:cubicBezTo>
                    <a:pt x="997459" y="768073"/>
                    <a:pt x="655124" y="868067"/>
                    <a:pt x="322799" y="995807"/>
                  </a:cubicBezTo>
                  <a:cubicBezTo>
                    <a:pt x="389601" y="648462"/>
                    <a:pt x="395189" y="315341"/>
                    <a:pt x="338547" y="0"/>
                  </a:cubicBezTo>
                  <a:lnTo>
                    <a:pt x="69307" y="0"/>
                  </a:lnTo>
                  <a:cubicBezTo>
                    <a:pt x="140173" y="363220"/>
                    <a:pt x="120488" y="764159"/>
                    <a:pt x="4918" y="1185545"/>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22158590"/>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am Bio 6">
    <p:spTree>
      <p:nvGrpSpPr>
        <p:cNvPr id="1" name=""/>
        <p:cNvGrpSpPr/>
        <p:nvPr/>
      </p:nvGrpSpPr>
      <p:grpSpPr>
        <a:xfrm>
          <a:off x="0" y="0"/>
          <a:ext cx="0" cy="0"/>
          <a:chOff x="0" y="0"/>
          <a:chExt cx="0" cy="0"/>
        </a:xfrm>
      </p:grpSpPr>
      <p:sp>
        <p:nvSpPr>
          <p:cNvPr id="47" name="Picture Placeholder 4">
            <a:extLst>
              <a:ext uri="{FF2B5EF4-FFF2-40B4-BE49-F238E27FC236}">
                <a16:creationId xmlns:a16="http://schemas.microsoft.com/office/drawing/2014/main" id="{FFFFCC4A-5EB9-407D-97EE-22A1FAEF4BB1}"/>
              </a:ext>
            </a:extLst>
          </p:cNvPr>
          <p:cNvSpPr>
            <a:spLocks noGrp="1" noChangeAspect="1"/>
          </p:cNvSpPr>
          <p:nvPr>
            <p:ph type="pic" sz="quarter" idx="31"/>
          </p:nvPr>
        </p:nvSpPr>
        <p:spPr>
          <a:xfrm>
            <a:off x="719137" y="3997256"/>
            <a:ext cx="1366200" cy="910800"/>
          </a:xfrm>
          <a:solidFill>
            <a:schemeClr val="bg2"/>
          </a:solidFill>
        </p:spPr>
        <p:txBody>
          <a:bodyPr/>
          <a:lstStyle/>
          <a:p>
            <a:r>
              <a:rPr lang="en-US"/>
              <a:t>Click icon to add picture</a:t>
            </a:r>
            <a:endParaRPr lang="en-GB" dirty="0"/>
          </a:p>
        </p:txBody>
      </p:sp>
      <p:sp>
        <p:nvSpPr>
          <p:cNvPr id="52" name="Name Placeholder 4">
            <a:extLst>
              <a:ext uri="{FF2B5EF4-FFF2-40B4-BE49-F238E27FC236}">
                <a16:creationId xmlns:a16="http://schemas.microsoft.com/office/drawing/2014/main" id="{81FE4BB9-8A23-4971-A551-0843CC4135B4}"/>
              </a:ext>
            </a:extLst>
          </p:cNvPr>
          <p:cNvSpPr>
            <a:spLocks noGrp="1"/>
          </p:cNvSpPr>
          <p:nvPr>
            <p:ph type="body" sz="quarter" idx="32" hasCustomPrompt="1"/>
          </p:nvPr>
        </p:nvSpPr>
        <p:spPr>
          <a:xfrm>
            <a:off x="719137" y="5016056"/>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3" name="Job Title 4">
            <a:extLst>
              <a:ext uri="{FF2B5EF4-FFF2-40B4-BE49-F238E27FC236}">
                <a16:creationId xmlns:a16="http://schemas.microsoft.com/office/drawing/2014/main" id="{6FB8DF09-CA51-4CE6-AA75-72F870FB85D4}"/>
              </a:ext>
            </a:extLst>
          </p:cNvPr>
          <p:cNvSpPr>
            <a:spLocks noGrp="1"/>
          </p:cNvSpPr>
          <p:nvPr>
            <p:ph type="body" sz="quarter" idx="33" hasCustomPrompt="1"/>
          </p:nvPr>
        </p:nvSpPr>
        <p:spPr>
          <a:xfrm>
            <a:off x="719137" y="5412056"/>
            <a:ext cx="1575730" cy="297809"/>
          </a:xfrm>
          <a:prstGeom prst="roundRect">
            <a:avLst>
              <a:gd name="adj" fmla="val 50000"/>
            </a:avLst>
          </a:prstGeom>
          <a:solidFill>
            <a:schemeClr val="accent3"/>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4" name="Contact Details 4">
            <a:extLst>
              <a:ext uri="{FF2B5EF4-FFF2-40B4-BE49-F238E27FC236}">
                <a16:creationId xmlns:a16="http://schemas.microsoft.com/office/drawing/2014/main" id="{3EB728E6-1CBC-4703-BCC2-7BA00104160C}"/>
              </a:ext>
            </a:extLst>
          </p:cNvPr>
          <p:cNvSpPr>
            <a:spLocks noGrp="1"/>
          </p:cNvSpPr>
          <p:nvPr>
            <p:ph type="body" sz="quarter" idx="34" hasCustomPrompt="1"/>
          </p:nvPr>
        </p:nvSpPr>
        <p:spPr>
          <a:xfrm>
            <a:off x="719137" y="5817865"/>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55" name="Picture Placeholder 5">
            <a:extLst>
              <a:ext uri="{FF2B5EF4-FFF2-40B4-BE49-F238E27FC236}">
                <a16:creationId xmlns:a16="http://schemas.microsoft.com/office/drawing/2014/main" id="{879E3977-0FEE-46FC-820F-2B21ED7103C9}"/>
              </a:ext>
            </a:extLst>
          </p:cNvPr>
          <p:cNvSpPr>
            <a:spLocks noGrp="1" noChangeAspect="1"/>
          </p:cNvSpPr>
          <p:nvPr>
            <p:ph type="pic" sz="quarter" idx="35"/>
          </p:nvPr>
        </p:nvSpPr>
        <p:spPr>
          <a:xfrm>
            <a:off x="4364038" y="4001155"/>
            <a:ext cx="1366200" cy="910800"/>
          </a:xfrm>
          <a:solidFill>
            <a:schemeClr val="bg2"/>
          </a:solidFill>
        </p:spPr>
        <p:txBody>
          <a:bodyPr/>
          <a:lstStyle/>
          <a:p>
            <a:r>
              <a:rPr lang="en-US"/>
              <a:t>Click icon to add picture</a:t>
            </a:r>
            <a:endParaRPr lang="en-GB" dirty="0"/>
          </a:p>
        </p:txBody>
      </p:sp>
      <p:sp>
        <p:nvSpPr>
          <p:cNvPr id="56" name="Name Placeholder 5">
            <a:extLst>
              <a:ext uri="{FF2B5EF4-FFF2-40B4-BE49-F238E27FC236}">
                <a16:creationId xmlns:a16="http://schemas.microsoft.com/office/drawing/2014/main" id="{4DD93172-4F19-45F9-AB3C-0D32428D33BF}"/>
              </a:ext>
            </a:extLst>
          </p:cNvPr>
          <p:cNvSpPr>
            <a:spLocks noGrp="1"/>
          </p:cNvSpPr>
          <p:nvPr>
            <p:ph type="body" sz="quarter" idx="36" hasCustomPrompt="1"/>
          </p:nvPr>
        </p:nvSpPr>
        <p:spPr>
          <a:xfrm>
            <a:off x="4364038" y="5020381"/>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7" name="Job Title 5">
            <a:extLst>
              <a:ext uri="{FF2B5EF4-FFF2-40B4-BE49-F238E27FC236}">
                <a16:creationId xmlns:a16="http://schemas.microsoft.com/office/drawing/2014/main" id="{A3D19A47-4337-4F39-9834-87D7BAD04FA9}"/>
              </a:ext>
            </a:extLst>
          </p:cNvPr>
          <p:cNvSpPr>
            <a:spLocks noGrp="1"/>
          </p:cNvSpPr>
          <p:nvPr>
            <p:ph type="body" sz="quarter" idx="37" hasCustomPrompt="1"/>
          </p:nvPr>
        </p:nvSpPr>
        <p:spPr>
          <a:xfrm>
            <a:off x="4364038" y="5395823"/>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8" name="Contact Details 5">
            <a:extLst>
              <a:ext uri="{FF2B5EF4-FFF2-40B4-BE49-F238E27FC236}">
                <a16:creationId xmlns:a16="http://schemas.microsoft.com/office/drawing/2014/main" id="{900086A4-8295-427F-99DF-31DAD9889407}"/>
              </a:ext>
            </a:extLst>
          </p:cNvPr>
          <p:cNvSpPr>
            <a:spLocks noGrp="1"/>
          </p:cNvSpPr>
          <p:nvPr>
            <p:ph type="body" sz="quarter" idx="38" hasCustomPrompt="1"/>
          </p:nvPr>
        </p:nvSpPr>
        <p:spPr>
          <a:xfrm>
            <a:off x="4364038" y="578107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59" name="Picture Placeholder 6">
            <a:extLst>
              <a:ext uri="{FF2B5EF4-FFF2-40B4-BE49-F238E27FC236}">
                <a16:creationId xmlns:a16="http://schemas.microsoft.com/office/drawing/2014/main" id="{758D5642-E56B-4C4F-BD98-E87D6EB12962}"/>
              </a:ext>
            </a:extLst>
          </p:cNvPr>
          <p:cNvSpPr>
            <a:spLocks noGrp="1" noChangeAspect="1"/>
          </p:cNvSpPr>
          <p:nvPr>
            <p:ph type="pic" sz="quarter" idx="39"/>
          </p:nvPr>
        </p:nvSpPr>
        <p:spPr>
          <a:xfrm>
            <a:off x="8008939" y="4001155"/>
            <a:ext cx="1366200" cy="910800"/>
          </a:xfrm>
          <a:solidFill>
            <a:schemeClr val="bg2"/>
          </a:solidFill>
        </p:spPr>
        <p:txBody>
          <a:bodyPr/>
          <a:lstStyle/>
          <a:p>
            <a:r>
              <a:rPr lang="en-US"/>
              <a:t>Click icon to add picture</a:t>
            </a:r>
            <a:endParaRPr lang="en-GB" dirty="0"/>
          </a:p>
        </p:txBody>
      </p:sp>
      <p:sp>
        <p:nvSpPr>
          <p:cNvPr id="60" name="Name Placeholder 6">
            <a:extLst>
              <a:ext uri="{FF2B5EF4-FFF2-40B4-BE49-F238E27FC236}">
                <a16:creationId xmlns:a16="http://schemas.microsoft.com/office/drawing/2014/main" id="{62BC04E0-B094-4F2E-A4D4-A68642592CB7}"/>
              </a:ext>
            </a:extLst>
          </p:cNvPr>
          <p:cNvSpPr>
            <a:spLocks noGrp="1"/>
          </p:cNvSpPr>
          <p:nvPr>
            <p:ph type="body" sz="quarter" idx="40" hasCustomPrompt="1"/>
          </p:nvPr>
        </p:nvSpPr>
        <p:spPr>
          <a:xfrm>
            <a:off x="8008939" y="5020381"/>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61" name="Job Title 6">
            <a:extLst>
              <a:ext uri="{FF2B5EF4-FFF2-40B4-BE49-F238E27FC236}">
                <a16:creationId xmlns:a16="http://schemas.microsoft.com/office/drawing/2014/main" id="{4CD61B50-A333-417F-AB60-C160340391A8}"/>
              </a:ext>
            </a:extLst>
          </p:cNvPr>
          <p:cNvSpPr>
            <a:spLocks noGrp="1"/>
          </p:cNvSpPr>
          <p:nvPr>
            <p:ph type="body" sz="quarter" idx="41" hasCustomPrompt="1"/>
          </p:nvPr>
        </p:nvSpPr>
        <p:spPr>
          <a:xfrm>
            <a:off x="8008939" y="5395823"/>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62" name="Contact Details 6">
            <a:extLst>
              <a:ext uri="{FF2B5EF4-FFF2-40B4-BE49-F238E27FC236}">
                <a16:creationId xmlns:a16="http://schemas.microsoft.com/office/drawing/2014/main" id="{1A05B0D5-0358-4010-BDE0-FFE7305E079B}"/>
              </a:ext>
            </a:extLst>
          </p:cNvPr>
          <p:cNvSpPr>
            <a:spLocks noGrp="1"/>
          </p:cNvSpPr>
          <p:nvPr>
            <p:ph type="body" sz="quarter" idx="42" hasCustomPrompt="1"/>
          </p:nvPr>
        </p:nvSpPr>
        <p:spPr>
          <a:xfrm>
            <a:off x="8008939" y="578107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5465762"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719137" y="1565375"/>
            <a:ext cx="1366200" cy="910800"/>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719137" y="2584175"/>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719137" y="2980175"/>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719137" y="338598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3" name="Picture Placeholder 2">
            <a:extLst>
              <a:ext uri="{FF2B5EF4-FFF2-40B4-BE49-F238E27FC236}">
                <a16:creationId xmlns:a16="http://schemas.microsoft.com/office/drawing/2014/main" id="{2C71EBB3-958B-46B2-B16A-D9A971CB5E21}"/>
              </a:ext>
            </a:extLst>
          </p:cNvPr>
          <p:cNvSpPr>
            <a:spLocks noGrp="1" noChangeAspect="1"/>
          </p:cNvSpPr>
          <p:nvPr>
            <p:ph type="pic" sz="quarter" idx="22"/>
          </p:nvPr>
        </p:nvSpPr>
        <p:spPr>
          <a:xfrm>
            <a:off x="4364038" y="1565375"/>
            <a:ext cx="1366200" cy="910800"/>
          </a:xfrm>
          <a:solidFill>
            <a:schemeClr val="bg2"/>
          </a:solidFill>
        </p:spPr>
        <p:txBody>
          <a:bodyPr/>
          <a:lstStyle/>
          <a:p>
            <a:r>
              <a:rPr lang="en-US"/>
              <a:t>Click icon to add picture</a:t>
            </a:r>
            <a:endParaRPr lang="en-GB" dirty="0"/>
          </a:p>
        </p:txBody>
      </p:sp>
      <p:sp>
        <p:nvSpPr>
          <p:cNvPr id="44" name="Name Placeholder 2">
            <a:extLst>
              <a:ext uri="{FF2B5EF4-FFF2-40B4-BE49-F238E27FC236}">
                <a16:creationId xmlns:a16="http://schemas.microsoft.com/office/drawing/2014/main" id="{D127DC27-338F-4B6A-987F-E7D622D13008}"/>
              </a:ext>
            </a:extLst>
          </p:cNvPr>
          <p:cNvSpPr>
            <a:spLocks noGrp="1"/>
          </p:cNvSpPr>
          <p:nvPr>
            <p:ph type="body" sz="quarter" idx="23" hasCustomPrompt="1"/>
          </p:nvPr>
        </p:nvSpPr>
        <p:spPr>
          <a:xfrm>
            <a:off x="4364038" y="2584175"/>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5" name="Job Title 2">
            <a:extLst>
              <a:ext uri="{FF2B5EF4-FFF2-40B4-BE49-F238E27FC236}">
                <a16:creationId xmlns:a16="http://schemas.microsoft.com/office/drawing/2014/main" id="{B788EC0D-1D8D-4859-B60F-E5B18534D185}"/>
              </a:ext>
            </a:extLst>
          </p:cNvPr>
          <p:cNvSpPr>
            <a:spLocks noGrp="1"/>
          </p:cNvSpPr>
          <p:nvPr>
            <p:ph type="body" sz="quarter" idx="24" hasCustomPrompt="1"/>
          </p:nvPr>
        </p:nvSpPr>
        <p:spPr>
          <a:xfrm>
            <a:off x="4364038" y="2980175"/>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46" name="Contact Details 2">
            <a:extLst>
              <a:ext uri="{FF2B5EF4-FFF2-40B4-BE49-F238E27FC236}">
                <a16:creationId xmlns:a16="http://schemas.microsoft.com/office/drawing/2014/main" id="{AEBC6940-689F-426A-81F4-5DFBF83B31F3}"/>
              </a:ext>
            </a:extLst>
          </p:cNvPr>
          <p:cNvSpPr>
            <a:spLocks noGrp="1"/>
          </p:cNvSpPr>
          <p:nvPr>
            <p:ph type="body" sz="quarter" idx="25" hasCustomPrompt="1"/>
          </p:nvPr>
        </p:nvSpPr>
        <p:spPr>
          <a:xfrm>
            <a:off x="4364038" y="338598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8" name="Picture Placeholder 3">
            <a:extLst>
              <a:ext uri="{FF2B5EF4-FFF2-40B4-BE49-F238E27FC236}">
                <a16:creationId xmlns:a16="http://schemas.microsoft.com/office/drawing/2014/main" id="{D376AA3C-4E82-4D08-9202-51469C989558}"/>
              </a:ext>
            </a:extLst>
          </p:cNvPr>
          <p:cNvSpPr>
            <a:spLocks noGrp="1" noChangeAspect="1"/>
          </p:cNvSpPr>
          <p:nvPr>
            <p:ph type="pic" sz="quarter" idx="27"/>
          </p:nvPr>
        </p:nvSpPr>
        <p:spPr>
          <a:xfrm>
            <a:off x="8008939" y="1565376"/>
            <a:ext cx="1366200" cy="910800"/>
          </a:xfrm>
          <a:solidFill>
            <a:schemeClr val="bg2"/>
          </a:solidFill>
        </p:spPr>
        <p:txBody>
          <a:bodyPr/>
          <a:lstStyle/>
          <a:p>
            <a:r>
              <a:rPr lang="en-US"/>
              <a:t>Click icon to add picture</a:t>
            </a:r>
            <a:endParaRPr lang="en-GB" dirty="0"/>
          </a:p>
        </p:txBody>
      </p:sp>
      <p:sp>
        <p:nvSpPr>
          <p:cNvPr id="49" name="Name Placeholder 3">
            <a:extLst>
              <a:ext uri="{FF2B5EF4-FFF2-40B4-BE49-F238E27FC236}">
                <a16:creationId xmlns:a16="http://schemas.microsoft.com/office/drawing/2014/main" id="{0B2DDA88-23CF-4A0E-BC64-8920EF581112}"/>
              </a:ext>
            </a:extLst>
          </p:cNvPr>
          <p:cNvSpPr>
            <a:spLocks noGrp="1"/>
          </p:cNvSpPr>
          <p:nvPr>
            <p:ph type="body" sz="quarter" idx="28" hasCustomPrompt="1"/>
          </p:nvPr>
        </p:nvSpPr>
        <p:spPr>
          <a:xfrm>
            <a:off x="8008939" y="2584602"/>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0" name="Job Title 3">
            <a:extLst>
              <a:ext uri="{FF2B5EF4-FFF2-40B4-BE49-F238E27FC236}">
                <a16:creationId xmlns:a16="http://schemas.microsoft.com/office/drawing/2014/main" id="{FF803BEF-346B-4A1E-9346-FD32D891CE7A}"/>
              </a:ext>
            </a:extLst>
          </p:cNvPr>
          <p:cNvSpPr>
            <a:spLocks noGrp="1"/>
          </p:cNvSpPr>
          <p:nvPr>
            <p:ph type="body" sz="quarter" idx="29" hasCustomPrompt="1"/>
          </p:nvPr>
        </p:nvSpPr>
        <p:spPr>
          <a:xfrm>
            <a:off x="8008939" y="2960044"/>
            <a:ext cx="1575730" cy="297809"/>
          </a:xfrm>
          <a:prstGeom prst="roundRect">
            <a:avLst>
              <a:gd name="adj" fmla="val 50000"/>
            </a:avLst>
          </a:prstGeom>
          <a:solidFill>
            <a:schemeClr val="accent3"/>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1" name="Contact Details 3">
            <a:extLst>
              <a:ext uri="{FF2B5EF4-FFF2-40B4-BE49-F238E27FC236}">
                <a16:creationId xmlns:a16="http://schemas.microsoft.com/office/drawing/2014/main" id="{39386C32-2455-497F-A545-94ED15C248D3}"/>
              </a:ext>
            </a:extLst>
          </p:cNvPr>
          <p:cNvSpPr>
            <a:spLocks noGrp="1"/>
          </p:cNvSpPr>
          <p:nvPr>
            <p:ph type="body" sz="quarter" idx="30" hasCustomPrompt="1"/>
          </p:nvPr>
        </p:nvSpPr>
        <p:spPr>
          <a:xfrm>
            <a:off x="8008939" y="334529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grpSp>
        <p:nvGrpSpPr>
          <p:cNvPr id="40" name="Group 39">
            <a:extLst>
              <a:ext uri="{FF2B5EF4-FFF2-40B4-BE49-F238E27FC236}">
                <a16:creationId xmlns:a16="http://schemas.microsoft.com/office/drawing/2014/main" id="{490D5149-31BE-41B9-A908-B92CCC4EFA13}"/>
              </a:ext>
            </a:extLst>
          </p:cNvPr>
          <p:cNvGrpSpPr/>
          <p:nvPr userDrawn="1"/>
        </p:nvGrpSpPr>
        <p:grpSpPr>
          <a:xfrm>
            <a:off x="6894610" y="0"/>
            <a:ext cx="5298532" cy="1803399"/>
            <a:chOff x="6894610" y="0"/>
            <a:chExt cx="5298532" cy="1803399"/>
          </a:xfrm>
        </p:grpSpPr>
        <p:sp>
          <p:nvSpPr>
            <p:cNvPr id="41" name="Freeform: Shape 40">
              <a:extLst>
                <a:ext uri="{FF2B5EF4-FFF2-40B4-BE49-F238E27FC236}">
                  <a16:creationId xmlns:a16="http://schemas.microsoft.com/office/drawing/2014/main" id="{3FA1111A-1FB1-4DAC-A008-B937A876EAB6}"/>
                </a:ext>
              </a:extLst>
            </p:cNvPr>
            <p:cNvSpPr/>
            <p:nvPr/>
          </p:nvSpPr>
          <p:spPr>
            <a:xfrm>
              <a:off x="10870623" y="834697"/>
              <a:ext cx="1322519" cy="968702"/>
            </a:xfrm>
            <a:custGeom>
              <a:avLst/>
              <a:gdLst>
                <a:gd name="connsiteX0" fmla="*/ 7815 w 1322519"/>
                <a:gd name="connsiteY0" fmla="*/ 88465 h 968702"/>
                <a:gd name="connsiteX1" fmla="*/ 88460 w 1322519"/>
                <a:gd name="connsiteY1" fmla="*/ 258899 h 968702"/>
                <a:gd name="connsiteX2" fmla="*/ 1322519 w 1322519"/>
                <a:gd name="connsiteY2" fmla="*/ 968702 h 968702"/>
                <a:gd name="connsiteX3" fmla="*/ 1322520 w 1322519"/>
                <a:gd name="connsiteY3" fmla="*/ 627707 h 968702"/>
                <a:gd name="connsiteX4" fmla="*/ 178376 w 1322519"/>
                <a:gd name="connsiteY4" fmla="*/ 7820 h 968702"/>
                <a:gd name="connsiteX5" fmla="*/ 7815 w 1322519"/>
                <a:gd name="connsiteY5" fmla="*/ 88465 h 9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9" h="968702">
                  <a:moveTo>
                    <a:pt x="7815" y="88465"/>
                  </a:moveTo>
                  <a:cubicBezTo>
                    <a:pt x="-16964" y="157798"/>
                    <a:pt x="19136" y="234094"/>
                    <a:pt x="88460" y="258899"/>
                  </a:cubicBezTo>
                  <a:cubicBezTo>
                    <a:pt x="538461" y="420858"/>
                    <a:pt x="956254" y="661163"/>
                    <a:pt x="1322519" y="968702"/>
                  </a:cubicBezTo>
                  <a:lnTo>
                    <a:pt x="1322520" y="627707"/>
                  </a:lnTo>
                  <a:cubicBezTo>
                    <a:pt x="974877" y="364105"/>
                    <a:pt x="589058" y="155072"/>
                    <a:pt x="178376" y="7820"/>
                  </a:cubicBezTo>
                  <a:cubicBezTo>
                    <a:pt x="109010" y="-16967"/>
                    <a:pt x="32676" y="19125"/>
                    <a:pt x="7815" y="88465"/>
                  </a:cubicBezTo>
                  <a:close/>
                </a:path>
              </a:pathLst>
            </a:custGeom>
            <a:solidFill>
              <a:schemeClr val="tx2"/>
            </a:solidFill>
            <a:ln w="12700"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E30CC355-5F57-48F1-B6A8-94BED44F0FF4}"/>
                </a:ext>
              </a:extLst>
            </p:cNvPr>
            <p:cNvSpPr/>
            <p:nvPr/>
          </p:nvSpPr>
          <p:spPr>
            <a:xfrm>
              <a:off x="6894610" y="0"/>
              <a:ext cx="4228218" cy="1354511"/>
            </a:xfrm>
            <a:custGeom>
              <a:avLst/>
              <a:gdLst>
                <a:gd name="connsiteX0" fmla="*/ 4918 w 4228218"/>
                <a:gd name="connsiteY0" fmla="*/ 1185545 h 1354511"/>
                <a:gd name="connsiteX1" fmla="*/ 97513 w 4228218"/>
                <a:gd name="connsiteY1" fmla="*/ 1349627 h 1354511"/>
                <a:gd name="connsiteX2" fmla="*/ 191989 w 4228218"/>
                <a:gd name="connsiteY2" fmla="*/ 1340866 h 1354511"/>
                <a:gd name="connsiteX3" fmla="*/ 1408141 w 4228218"/>
                <a:gd name="connsiteY3" fmla="*/ 956564 h 1354511"/>
                <a:gd name="connsiteX4" fmla="*/ 4050376 w 4228218"/>
                <a:gd name="connsiteY4" fmla="*/ 1085215 h 1354511"/>
                <a:gd name="connsiteX5" fmla="*/ 4220557 w 4228218"/>
                <a:gd name="connsiteY5" fmla="*/ 1003935 h 1354511"/>
                <a:gd name="connsiteX6" fmla="*/ 4139276 w 4228218"/>
                <a:gd name="connsiteY6" fmla="*/ 833755 h 1354511"/>
                <a:gd name="connsiteX7" fmla="*/ 1346292 w 4228218"/>
                <a:gd name="connsiteY7" fmla="*/ 696849 h 1354511"/>
                <a:gd name="connsiteX8" fmla="*/ 322799 w 4228218"/>
                <a:gd name="connsiteY8" fmla="*/ 995807 h 1354511"/>
                <a:gd name="connsiteX9" fmla="*/ 338547 w 4228218"/>
                <a:gd name="connsiteY9" fmla="*/ 0 h 1354511"/>
                <a:gd name="connsiteX10" fmla="*/ 69307 w 4228218"/>
                <a:gd name="connsiteY10" fmla="*/ 0 h 1354511"/>
                <a:gd name="connsiteX11" fmla="*/ 4918 w 4228218"/>
                <a:gd name="connsiteY11" fmla="*/ 1185545 h 135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28218" h="1354511">
                  <a:moveTo>
                    <a:pt x="4918" y="1185545"/>
                  </a:moveTo>
                  <a:cubicBezTo>
                    <a:pt x="-14822" y="1256425"/>
                    <a:pt x="26634" y="1329886"/>
                    <a:pt x="97513" y="1349627"/>
                  </a:cubicBezTo>
                  <a:cubicBezTo>
                    <a:pt x="129013" y="1358400"/>
                    <a:pt x="162640" y="1355282"/>
                    <a:pt x="191989" y="1340866"/>
                  </a:cubicBezTo>
                  <a:cubicBezTo>
                    <a:pt x="196942" y="1338453"/>
                    <a:pt x="687289" y="1103757"/>
                    <a:pt x="1408141" y="956564"/>
                  </a:cubicBezTo>
                  <a:cubicBezTo>
                    <a:pt x="2067398" y="821690"/>
                    <a:pt x="3061427" y="734441"/>
                    <a:pt x="4050376" y="1085215"/>
                  </a:cubicBezTo>
                  <a:cubicBezTo>
                    <a:pt x="4119815" y="1109764"/>
                    <a:pt x="4196007" y="1073374"/>
                    <a:pt x="4220557" y="1003935"/>
                  </a:cubicBezTo>
                  <a:cubicBezTo>
                    <a:pt x="4245106" y="934496"/>
                    <a:pt x="4208715" y="858304"/>
                    <a:pt x="4139276" y="833755"/>
                  </a:cubicBezTo>
                  <a:cubicBezTo>
                    <a:pt x="3089748" y="461645"/>
                    <a:pt x="2041109" y="554355"/>
                    <a:pt x="1346292" y="696849"/>
                  </a:cubicBezTo>
                  <a:cubicBezTo>
                    <a:pt x="997459" y="768073"/>
                    <a:pt x="655124" y="868067"/>
                    <a:pt x="322799" y="995807"/>
                  </a:cubicBezTo>
                  <a:cubicBezTo>
                    <a:pt x="389601" y="648462"/>
                    <a:pt x="395189" y="315341"/>
                    <a:pt x="338547" y="0"/>
                  </a:cubicBezTo>
                  <a:lnTo>
                    <a:pt x="69307" y="0"/>
                  </a:lnTo>
                  <a:cubicBezTo>
                    <a:pt x="140173" y="363220"/>
                    <a:pt x="120488" y="764159"/>
                    <a:pt x="4918" y="1185545"/>
                  </a:cubicBezTo>
                  <a:close/>
                </a:path>
              </a:pathLst>
            </a:custGeom>
            <a:solidFill>
              <a:schemeClr val="accent5"/>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288190155"/>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4"/>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57355E78-E0F2-42FF-BDE9-9CC7C36E4A1A}"/>
              </a:ext>
            </a:extLst>
          </p:cNvPr>
          <p:cNvGrpSpPr/>
          <p:nvPr userDrawn="1"/>
        </p:nvGrpSpPr>
        <p:grpSpPr>
          <a:xfrm>
            <a:off x="5267706" y="0"/>
            <a:ext cx="6012052" cy="6857999"/>
            <a:chOff x="5267706" y="0"/>
            <a:chExt cx="6012052" cy="6857999"/>
          </a:xfrm>
        </p:grpSpPr>
        <p:sp>
          <p:nvSpPr>
            <p:cNvPr id="13" name="Freeform: Shape 12">
              <a:extLst>
                <a:ext uri="{FF2B5EF4-FFF2-40B4-BE49-F238E27FC236}">
                  <a16:creationId xmlns:a16="http://schemas.microsoft.com/office/drawing/2014/main" id="{28A40671-E776-46D6-86BE-DB1FE2B7BFED}"/>
                </a:ext>
              </a:extLst>
            </p:cNvPr>
            <p:cNvSpPr/>
            <p:nvPr/>
          </p:nvSpPr>
          <p:spPr>
            <a:xfrm>
              <a:off x="8913557" y="0"/>
              <a:ext cx="2366201" cy="1903292"/>
            </a:xfrm>
            <a:custGeom>
              <a:avLst/>
              <a:gdLst>
                <a:gd name="connsiteX0" fmla="*/ 18734 w 2366201"/>
                <a:gd name="connsiteY0" fmla="*/ 1701800 h 1903292"/>
                <a:gd name="connsiteX1" fmla="*/ 65249 w 2366201"/>
                <a:gd name="connsiteY1" fmla="*/ 1884559 h 1903292"/>
                <a:gd name="connsiteX2" fmla="*/ 248008 w 2366201"/>
                <a:gd name="connsiteY2" fmla="*/ 1838044 h 1903292"/>
                <a:gd name="connsiteX3" fmla="*/ 250381 w 2366201"/>
                <a:gd name="connsiteY3" fmla="*/ 1833880 h 1903292"/>
                <a:gd name="connsiteX4" fmla="*/ 1527621 w 2366201"/>
                <a:gd name="connsiteY4" fmla="*/ 465074 h 1903292"/>
                <a:gd name="connsiteX5" fmla="*/ 2366202 w 2366201"/>
                <a:gd name="connsiteY5" fmla="*/ 0 h 1903292"/>
                <a:gd name="connsiteX6" fmla="*/ 1770190 w 2366201"/>
                <a:gd name="connsiteY6" fmla="*/ 0 h 1903292"/>
                <a:gd name="connsiteX7" fmla="*/ 1377252 w 2366201"/>
                <a:gd name="connsiteY7" fmla="*/ 244348 h 1903292"/>
                <a:gd name="connsiteX8" fmla="*/ 18734 w 2366201"/>
                <a:gd name="connsiteY8" fmla="*/ 1701800 h 190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6201" h="1903292">
                  <a:moveTo>
                    <a:pt x="18734" y="1701800"/>
                  </a:moveTo>
                  <a:cubicBezTo>
                    <a:pt x="-18889" y="1765112"/>
                    <a:pt x="1937" y="1846936"/>
                    <a:pt x="65249" y="1884559"/>
                  </a:cubicBezTo>
                  <a:cubicBezTo>
                    <a:pt x="128562" y="1922181"/>
                    <a:pt x="210385" y="1901356"/>
                    <a:pt x="248008" y="1838044"/>
                  </a:cubicBezTo>
                  <a:cubicBezTo>
                    <a:pt x="248824" y="1836670"/>
                    <a:pt x="249616" y="1835282"/>
                    <a:pt x="250381" y="1833880"/>
                  </a:cubicBezTo>
                  <a:cubicBezTo>
                    <a:pt x="558484" y="1293622"/>
                    <a:pt x="988124" y="832993"/>
                    <a:pt x="1527621" y="465074"/>
                  </a:cubicBezTo>
                  <a:cubicBezTo>
                    <a:pt x="1791749" y="283777"/>
                    <a:pt x="2072543" y="128049"/>
                    <a:pt x="2366202" y="0"/>
                  </a:cubicBezTo>
                  <a:lnTo>
                    <a:pt x="1770190" y="0"/>
                  </a:lnTo>
                  <a:cubicBezTo>
                    <a:pt x="1637263" y="75099"/>
                    <a:pt x="1506285" y="156549"/>
                    <a:pt x="1377252" y="244348"/>
                  </a:cubicBezTo>
                  <a:cubicBezTo>
                    <a:pt x="804101" y="635000"/>
                    <a:pt x="347028" y="1125474"/>
                    <a:pt x="18734" y="1701800"/>
                  </a:cubicBezTo>
                  <a:close/>
                </a:path>
              </a:pathLst>
            </a:custGeom>
            <a:solidFill>
              <a:schemeClr val="tx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B10E5586-8A0A-48DB-92FC-522751AB95CC}"/>
                </a:ext>
              </a:extLst>
            </p:cNvPr>
            <p:cNvSpPr/>
            <p:nvPr/>
          </p:nvSpPr>
          <p:spPr>
            <a:xfrm>
              <a:off x="5267706" y="1648458"/>
              <a:ext cx="3901887" cy="5209541"/>
            </a:xfrm>
            <a:custGeom>
              <a:avLst/>
              <a:gdLst>
                <a:gd name="connsiteX0" fmla="*/ 797179 w 3901887"/>
                <a:gd name="connsiteY0" fmla="*/ 4469132 h 5209541"/>
                <a:gd name="connsiteX1" fmla="*/ 3281807 w 3901887"/>
                <a:gd name="connsiteY1" fmla="*/ 4198876 h 5209541"/>
                <a:gd name="connsiteX2" fmla="*/ 3459460 w 3901887"/>
                <a:gd name="connsiteY2" fmla="*/ 4135066 h 5209541"/>
                <a:gd name="connsiteX3" fmla="*/ 3467226 w 3901887"/>
                <a:gd name="connsiteY3" fmla="*/ 4042031 h 5209541"/>
                <a:gd name="connsiteX4" fmla="*/ 3299841 w 3901887"/>
                <a:gd name="connsiteY4" fmla="*/ 2777619 h 5209541"/>
                <a:gd name="connsiteX5" fmla="*/ 3885437 w 3901887"/>
                <a:gd name="connsiteY5" fmla="*/ 197487 h 5209541"/>
                <a:gd name="connsiteX6" fmla="*/ 3832628 w 3901887"/>
                <a:gd name="connsiteY6" fmla="*/ 16447 h 5209541"/>
                <a:gd name="connsiteX7" fmla="*/ 3653409 w 3901887"/>
                <a:gd name="connsiteY7" fmla="*/ 66042 h 5209541"/>
                <a:gd name="connsiteX8" fmla="*/ 3033395 w 3901887"/>
                <a:gd name="connsiteY8" fmla="*/ 2792859 h 5209541"/>
                <a:gd name="connsiteX9" fmla="*/ 3150235 w 3901887"/>
                <a:gd name="connsiteY9" fmla="*/ 3852801 h 5209541"/>
                <a:gd name="connsiteX10" fmla="*/ 1829435 w 3901887"/>
                <a:gd name="connsiteY10" fmla="*/ 3689479 h 5209541"/>
                <a:gd name="connsiteX11" fmla="*/ 615950 w 3901887"/>
                <a:gd name="connsiteY11" fmla="*/ 4273679 h 5209541"/>
                <a:gd name="connsiteX12" fmla="*/ 0 w 3901887"/>
                <a:gd name="connsiteY12" fmla="*/ 5209542 h 5209541"/>
                <a:gd name="connsiteX13" fmla="*/ 286258 w 3901887"/>
                <a:gd name="connsiteY13" fmla="*/ 5209542 h 5209541"/>
                <a:gd name="connsiteX14" fmla="*/ 797179 w 3901887"/>
                <a:gd name="connsiteY14" fmla="*/ 4469132 h 5209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01887" h="5209541">
                  <a:moveTo>
                    <a:pt x="797179" y="4469132"/>
                  </a:moveTo>
                  <a:cubicBezTo>
                    <a:pt x="1451863" y="3859532"/>
                    <a:pt x="2357500" y="3761107"/>
                    <a:pt x="3281807" y="4198876"/>
                  </a:cubicBezTo>
                  <a:cubicBezTo>
                    <a:pt x="3348485" y="4230313"/>
                    <a:pt x="3428023" y="4201744"/>
                    <a:pt x="3459460" y="4135066"/>
                  </a:cubicBezTo>
                  <a:cubicBezTo>
                    <a:pt x="3473163" y="4106000"/>
                    <a:pt x="3475921" y="4072967"/>
                    <a:pt x="3467226" y="4042031"/>
                  </a:cubicBezTo>
                  <a:cubicBezTo>
                    <a:pt x="3465703" y="4036824"/>
                    <a:pt x="3319780" y="3512695"/>
                    <a:pt x="3299841" y="2777619"/>
                  </a:cubicBezTo>
                  <a:cubicBezTo>
                    <a:pt x="3281553" y="2104519"/>
                    <a:pt x="3368421" y="1110490"/>
                    <a:pt x="3885437" y="197487"/>
                  </a:cubicBezTo>
                  <a:cubicBezTo>
                    <a:pt x="3920848" y="132911"/>
                    <a:pt x="3897204" y="51856"/>
                    <a:pt x="3832628" y="16447"/>
                  </a:cubicBezTo>
                  <a:cubicBezTo>
                    <a:pt x="3769313" y="-18272"/>
                    <a:pt x="3689867" y="3713"/>
                    <a:pt x="3653409" y="66042"/>
                  </a:cubicBezTo>
                  <a:cubicBezTo>
                    <a:pt x="3104642" y="1035052"/>
                    <a:pt x="3013329" y="2083691"/>
                    <a:pt x="3033395" y="2792859"/>
                  </a:cubicBezTo>
                  <a:cubicBezTo>
                    <a:pt x="3043054" y="3148790"/>
                    <a:pt x="3082134" y="3503312"/>
                    <a:pt x="3150235" y="3852801"/>
                  </a:cubicBezTo>
                  <a:cubicBezTo>
                    <a:pt x="2700655" y="3681224"/>
                    <a:pt x="2257298" y="3626360"/>
                    <a:pt x="1829435" y="3689479"/>
                  </a:cubicBezTo>
                  <a:cubicBezTo>
                    <a:pt x="1374903" y="3756149"/>
                    <a:pt x="951548" y="3959962"/>
                    <a:pt x="615950" y="4273679"/>
                  </a:cubicBezTo>
                  <a:cubicBezTo>
                    <a:pt x="338451" y="4531638"/>
                    <a:pt x="127176" y="4852646"/>
                    <a:pt x="0" y="5209542"/>
                  </a:cubicBezTo>
                  <a:lnTo>
                    <a:pt x="286258" y="5209542"/>
                  </a:lnTo>
                  <a:cubicBezTo>
                    <a:pt x="400867" y="4928613"/>
                    <a:pt x="575203" y="4675972"/>
                    <a:pt x="797179" y="4469132"/>
                  </a:cubicBezTo>
                  <a:close/>
                </a:path>
              </a:pathLst>
            </a:custGeom>
            <a:solidFill>
              <a:srgbClr val="FFFFFF"/>
            </a:solidFill>
            <a:ln w="12700" cap="flat">
              <a:noFill/>
              <a:prstDash val="solid"/>
              <a:miter/>
            </a:ln>
          </p:spPr>
          <p:txBody>
            <a:bodyPr rtlCol="0" anchor="ctr"/>
            <a:lstStyle/>
            <a:p>
              <a:endParaRPr lang="en-GB"/>
            </a:p>
          </p:txBody>
        </p:sp>
      </p:grpSp>
      <p:sp>
        <p:nvSpPr>
          <p:cNvPr id="11" name="Section Number 1">
            <a:extLst>
              <a:ext uri="{FF2B5EF4-FFF2-40B4-BE49-F238E27FC236}">
                <a16:creationId xmlns:a16="http://schemas.microsoft.com/office/drawing/2014/main" id="{814A3C02-7035-49AB-B7ED-455C3FD72429}"/>
              </a:ext>
            </a:extLst>
          </p:cNvPr>
          <p:cNvSpPr>
            <a:spLocks noGrp="1" noChangeAspect="1"/>
          </p:cNvSpPr>
          <p:nvPr userDrawn="1">
            <p:ph type="body" sz="quarter" idx="10" hasCustomPrompt="1"/>
          </p:nvPr>
        </p:nvSpPr>
        <p:spPr>
          <a:xfrm>
            <a:off x="719138" y="720000"/>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userDrawn="1">
            <p:ph type="body" idx="1"/>
          </p:nvPr>
        </p:nvSpPr>
        <p:spPr>
          <a:xfrm>
            <a:off x="719139" y="4032000"/>
            <a:ext cx="6197600"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userDrawn="1">
            <p:ph type="title"/>
          </p:nvPr>
        </p:nvSpPr>
        <p:spPr>
          <a:xfrm>
            <a:off x="719138" y="2340000"/>
            <a:ext cx="6197600"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solidFill>
                  <a:schemeClr val="tx1"/>
                </a:solidFill>
              </a:defRPr>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1783355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solidFill>
          <a:schemeClr val="accent1"/>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B89C16A-6873-4ED1-BBBE-86292872B1C9}"/>
              </a:ext>
            </a:extLst>
          </p:cNvPr>
          <p:cNvGrpSpPr/>
          <p:nvPr userDrawn="1"/>
        </p:nvGrpSpPr>
        <p:grpSpPr>
          <a:xfrm>
            <a:off x="4497704" y="0"/>
            <a:ext cx="7695438" cy="6857999"/>
            <a:chOff x="4497704" y="0"/>
            <a:chExt cx="7695438" cy="6857999"/>
          </a:xfrm>
        </p:grpSpPr>
        <p:sp>
          <p:nvSpPr>
            <p:cNvPr id="12" name="Freeform: Shape 11">
              <a:extLst>
                <a:ext uri="{FF2B5EF4-FFF2-40B4-BE49-F238E27FC236}">
                  <a16:creationId xmlns:a16="http://schemas.microsoft.com/office/drawing/2014/main" id="{A47784D4-F394-4298-980B-E1F707F7A347}"/>
                </a:ext>
              </a:extLst>
            </p:cNvPr>
            <p:cNvSpPr/>
            <p:nvPr/>
          </p:nvSpPr>
          <p:spPr>
            <a:xfrm>
              <a:off x="7431342" y="0"/>
              <a:ext cx="4761800" cy="4407534"/>
            </a:xfrm>
            <a:custGeom>
              <a:avLst/>
              <a:gdLst>
                <a:gd name="connsiteX0" fmla="*/ 443801 w 4761800"/>
                <a:gd name="connsiteY0" fmla="*/ 1671701 h 4407534"/>
                <a:gd name="connsiteX1" fmla="*/ 521905 w 4761800"/>
                <a:gd name="connsiteY1" fmla="*/ 2415540 h 4407534"/>
                <a:gd name="connsiteX2" fmla="*/ 16700 w 4761800"/>
                <a:gd name="connsiteY2" fmla="*/ 4209542 h 4407534"/>
                <a:gd name="connsiteX3" fmla="*/ 68833 w 4761800"/>
                <a:gd name="connsiteY3" fmla="*/ 4390835 h 4407534"/>
                <a:gd name="connsiteX4" fmla="*/ 250126 w 4761800"/>
                <a:gd name="connsiteY4" fmla="*/ 4338701 h 4407534"/>
                <a:gd name="connsiteX5" fmla="*/ 788860 w 4761800"/>
                <a:gd name="connsiteY5" fmla="*/ 2408301 h 4407534"/>
                <a:gd name="connsiteX6" fmla="*/ 728408 w 4761800"/>
                <a:gd name="connsiteY6" fmla="*/ 1713103 h 4407534"/>
                <a:gd name="connsiteX7" fmla="*/ 4761801 w 4761800"/>
                <a:gd name="connsiteY7" fmla="*/ 98806 h 4407534"/>
                <a:gd name="connsiteX8" fmla="*/ 4761801 w 4761800"/>
                <a:gd name="connsiteY8" fmla="*/ 0 h 4407534"/>
                <a:gd name="connsiteX9" fmla="*/ 4290758 w 4761800"/>
                <a:gd name="connsiteY9" fmla="*/ 0 h 4407534"/>
                <a:gd name="connsiteX10" fmla="*/ 521651 w 4761800"/>
                <a:gd name="connsiteY10" fmla="*/ 1508252 h 4407534"/>
                <a:gd name="connsiteX11" fmla="*/ 443800 w 4761800"/>
                <a:gd name="connsiteY11" fmla="*/ 1671701 h 440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61800" h="4407534">
                  <a:moveTo>
                    <a:pt x="443801" y="1671701"/>
                  </a:moveTo>
                  <a:cubicBezTo>
                    <a:pt x="444689" y="1674495"/>
                    <a:pt x="531558" y="1961134"/>
                    <a:pt x="521905" y="2415540"/>
                  </a:cubicBezTo>
                  <a:cubicBezTo>
                    <a:pt x="513142" y="2833751"/>
                    <a:pt x="418274" y="3484499"/>
                    <a:pt x="16700" y="4209542"/>
                  </a:cubicBezTo>
                  <a:cubicBezTo>
                    <a:pt x="-18966" y="4274001"/>
                    <a:pt x="4374" y="4355169"/>
                    <a:pt x="68833" y="4390835"/>
                  </a:cubicBezTo>
                  <a:cubicBezTo>
                    <a:pt x="133292" y="4426501"/>
                    <a:pt x="214459" y="4403160"/>
                    <a:pt x="250126" y="4338701"/>
                  </a:cubicBezTo>
                  <a:cubicBezTo>
                    <a:pt x="681164" y="3560445"/>
                    <a:pt x="780986" y="2859151"/>
                    <a:pt x="788860" y="2408301"/>
                  </a:cubicBezTo>
                  <a:cubicBezTo>
                    <a:pt x="794555" y="2175044"/>
                    <a:pt x="774280" y="1941876"/>
                    <a:pt x="728408" y="1713103"/>
                  </a:cubicBezTo>
                  <a:lnTo>
                    <a:pt x="4761801" y="98806"/>
                  </a:lnTo>
                  <a:lnTo>
                    <a:pt x="4761801" y="0"/>
                  </a:lnTo>
                  <a:lnTo>
                    <a:pt x="4290758" y="0"/>
                  </a:lnTo>
                  <a:lnTo>
                    <a:pt x="521651" y="1508252"/>
                  </a:lnTo>
                  <a:cubicBezTo>
                    <a:pt x="457116" y="1534169"/>
                    <a:pt x="423255" y="1605260"/>
                    <a:pt x="443800" y="1671701"/>
                  </a:cubicBezTo>
                  <a:close/>
                </a:path>
              </a:pathLst>
            </a:custGeom>
            <a:solidFill>
              <a:srgbClr val="FFFFFF"/>
            </a:solidFill>
            <a:ln w="1270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3A0E4423-80C1-414C-BACB-F7E2E50EDCA4}"/>
                </a:ext>
              </a:extLst>
            </p:cNvPr>
            <p:cNvSpPr/>
            <p:nvPr/>
          </p:nvSpPr>
          <p:spPr>
            <a:xfrm>
              <a:off x="6216310" y="4138867"/>
              <a:ext cx="1482415" cy="1748472"/>
            </a:xfrm>
            <a:custGeom>
              <a:avLst/>
              <a:gdLst>
                <a:gd name="connsiteX0" fmla="*/ 133689 w 1482415"/>
                <a:gd name="connsiteY0" fmla="*/ 1748471 h 1748472"/>
                <a:gd name="connsiteX1" fmla="*/ 0 w 1482415"/>
                <a:gd name="connsiteY1" fmla="*/ 1615461 h 1748472"/>
                <a:gd name="connsiteX2" fmla="*/ 44789 w 1482415"/>
                <a:gd name="connsiteY2" fmla="*/ 1515426 h 1748472"/>
                <a:gd name="connsiteX3" fmla="*/ 1231350 w 1482415"/>
                <a:gd name="connsiteY3" fmla="*/ 70674 h 1748472"/>
                <a:gd name="connsiteX4" fmla="*/ 1411741 w 1482415"/>
                <a:gd name="connsiteY4" fmla="*/ 15688 h 1748472"/>
                <a:gd name="connsiteX5" fmla="*/ 1466728 w 1482415"/>
                <a:gd name="connsiteY5" fmla="*/ 196079 h 1748472"/>
                <a:gd name="connsiteX6" fmla="*/ 1464649 w 1482415"/>
                <a:gd name="connsiteY6" fmla="*/ 199833 h 1748472"/>
                <a:gd name="connsiteX7" fmla="*/ 222589 w 1482415"/>
                <a:gd name="connsiteY7" fmla="*/ 1714817 h 1748472"/>
                <a:gd name="connsiteX8" fmla="*/ 133689 w 1482415"/>
                <a:gd name="connsiteY8" fmla="*/ 1748471 h 1748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2415" h="1748472">
                  <a:moveTo>
                    <a:pt x="133689" y="1748471"/>
                  </a:moveTo>
                  <a:cubicBezTo>
                    <a:pt x="60042" y="1748659"/>
                    <a:pt x="188" y="1689108"/>
                    <a:pt x="0" y="1615461"/>
                  </a:cubicBezTo>
                  <a:cubicBezTo>
                    <a:pt x="-97" y="1577238"/>
                    <a:pt x="16213" y="1540811"/>
                    <a:pt x="44789" y="1515426"/>
                  </a:cubicBezTo>
                  <a:cubicBezTo>
                    <a:pt x="549614" y="1066736"/>
                    <a:pt x="948902" y="580579"/>
                    <a:pt x="1231350" y="70674"/>
                  </a:cubicBezTo>
                  <a:cubicBezTo>
                    <a:pt x="1265980" y="5677"/>
                    <a:pt x="1346743" y="-18942"/>
                    <a:pt x="1411741" y="15688"/>
                  </a:cubicBezTo>
                  <a:cubicBezTo>
                    <a:pt x="1476739" y="50317"/>
                    <a:pt x="1501358" y="131081"/>
                    <a:pt x="1466728" y="196079"/>
                  </a:cubicBezTo>
                  <a:cubicBezTo>
                    <a:pt x="1466055" y="197341"/>
                    <a:pt x="1465362" y="198593"/>
                    <a:pt x="1464649" y="199833"/>
                  </a:cubicBezTo>
                  <a:cubicBezTo>
                    <a:pt x="1167977" y="736281"/>
                    <a:pt x="749893" y="1245932"/>
                    <a:pt x="222589" y="1714817"/>
                  </a:cubicBezTo>
                  <a:cubicBezTo>
                    <a:pt x="198134" y="1736637"/>
                    <a:pt x="166464" y="1748626"/>
                    <a:pt x="133689" y="1748471"/>
                  </a:cubicBezTo>
                  <a:close/>
                </a:path>
              </a:pathLst>
            </a:custGeom>
            <a:solidFill>
              <a:schemeClr val="accent3"/>
            </a:solidFill>
            <a:ln w="12700"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3A4B46DE-4394-48C9-B305-66DE751E2BD2}"/>
                </a:ext>
              </a:extLst>
            </p:cNvPr>
            <p:cNvSpPr/>
            <p:nvPr/>
          </p:nvSpPr>
          <p:spPr>
            <a:xfrm>
              <a:off x="4497704" y="5625924"/>
              <a:ext cx="1986201" cy="1232075"/>
            </a:xfrm>
            <a:custGeom>
              <a:avLst/>
              <a:gdLst>
                <a:gd name="connsiteX0" fmla="*/ 1952752 w 1986201"/>
                <a:gd name="connsiteY0" fmla="*/ 45006 h 1232075"/>
                <a:gd name="connsiteX1" fmla="*/ 1764538 w 1986201"/>
                <a:gd name="connsiteY1" fmla="*/ 33449 h 1232075"/>
                <a:gd name="connsiteX2" fmla="*/ 0 w 1986201"/>
                <a:gd name="connsiteY2" fmla="*/ 1232075 h 1232075"/>
                <a:gd name="connsiteX3" fmla="*/ 545211 w 1986201"/>
                <a:gd name="connsiteY3" fmla="*/ 1232075 h 1232075"/>
                <a:gd name="connsiteX4" fmla="*/ 1941195 w 1986201"/>
                <a:gd name="connsiteY4" fmla="*/ 233220 h 1232075"/>
                <a:gd name="connsiteX5" fmla="*/ 1952752 w 1986201"/>
                <a:gd name="connsiteY5" fmla="*/ 45006 h 123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6201" h="1232075">
                  <a:moveTo>
                    <a:pt x="1952752" y="45006"/>
                  </a:moveTo>
                  <a:cubicBezTo>
                    <a:pt x="1903966" y="-10152"/>
                    <a:pt x="1819706" y="-15327"/>
                    <a:pt x="1764538" y="33449"/>
                  </a:cubicBezTo>
                  <a:cubicBezTo>
                    <a:pt x="1275715" y="465249"/>
                    <a:pt x="685673" y="865934"/>
                    <a:pt x="0" y="1232075"/>
                  </a:cubicBezTo>
                  <a:lnTo>
                    <a:pt x="545211" y="1232075"/>
                  </a:lnTo>
                  <a:cubicBezTo>
                    <a:pt x="1073700" y="921179"/>
                    <a:pt x="1539029" y="588228"/>
                    <a:pt x="1941195" y="233220"/>
                  </a:cubicBezTo>
                  <a:cubicBezTo>
                    <a:pt x="1996354" y="184434"/>
                    <a:pt x="2001528" y="100174"/>
                    <a:pt x="1952752" y="45006"/>
                  </a:cubicBezTo>
                  <a:close/>
                </a:path>
              </a:pathLst>
            </a:custGeom>
            <a:solidFill>
              <a:schemeClr val="tx2"/>
            </a:solidFill>
            <a:ln w="12700" cap="flat">
              <a:noFill/>
              <a:prstDash val="solid"/>
              <a:miter/>
            </a:ln>
          </p:spPr>
          <p:txBody>
            <a:bodyPr rtlCol="0" anchor="ctr"/>
            <a:lstStyle/>
            <a:p>
              <a:endParaRPr lang="en-GB"/>
            </a:p>
          </p:txBody>
        </p:sp>
      </p:grpSp>
      <p:sp>
        <p:nvSpPr>
          <p:cNvPr id="11" name="Section Number 1">
            <a:extLst>
              <a:ext uri="{FF2B5EF4-FFF2-40B4-BE49-F238E27FC236}">
                <a16:creationId xmlns:a16="http://schemas.microsoft.com/office/drawing/2014/main" id="{814A3C02-7035-49AB-B7ED-455C3FD72429}"/>
              </a:ext>
            </a:extLst>
          </p:cNvPr>
          <p:cNvSpPr>
            <a:spLocks noGrp="1" noChangeAspect="1"/>
          </p:cNvSpPr>
          <p:nvPr userDrawn="1">
            <p:ph type="body" sz="quarter" idx="10" hasCustomPrompt="1"/>
          </p:nvPr>
        </p:nvSpPr>
        <p:spPr>
          <a:xfrm>
            <a:off x="719138" y="720000"/>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userDrawn="1">
            <p:ph type="body" idx="1"/>
          </p:nvPr>
        </p:nvSpPr>
        <p:spPr>
          <a:xfrm>
            <a:off x="719139" y="4032000"/>
            <a:ext cx="6197600"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userDrawn="1">
            <p:ph type="title"/>
          </p:nvPr>
        </p:nvSpPr>
        <p:spPr>
          <a:xfrm>
            <a:off x="719138" y="2340000"/>
            <a:ext cx="6197600"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i="0">
                <a:solidFill>
                  <a:schemeClr val="tx2"/>
                </a:solidFill>
              </a:defRPr>
            </a:lvl7pPr>
            <a:lvl8pPr>
              <a:defRPr sz="3600" i="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41306715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ection Header 3">
    <p:bg>
      <p:bgPr>
        <a:solidFill>
          <a:schemeClr val="accent5"/>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1B9A1C00-161F-4335-AD8A-90DFCB913095}"/>
              </a:ext>
            </a:extLst>
          </p:cNvPr>
          <p:cNvGrpSpPr/>
          <p:nvPr userDrawn="1"/>
        </p:nvGrpSpPr>
        <p:grpSpPr>
          <a:xfrm>
            <a:off x="0" y="3125464"/>
            <a:ext cx="12193143" cy="3180212"/>
            <a:chOff x="0" y="3125464"/>
            <a:chExt cx="12193143" cy="3180212"/>
          </a:xfrm>
        </p:grpSpPr>
        <p:sp>
          <p:nvSpPr>
            <p:cNvPr id="17" name="Freeform: Shape 16">
              <a:extLst>
                <a:ext uri="{FF2B5EF4-FFF2-40B4-BE49-F238E27FC236}">
                  <a16:creationId xmlns:a16="http://schemas.microsoft.com/office/drawing/2014/main" id="{42A97C56-4CF8-437C-A770-3ADADCEF832F}"/>
                </a:ext>
              </a:extLst>
            </p:cNvPr>
            <p:cNvSpPr/>
            <p:nvPr/>
          </p:nvSpPr>
          <p:spPr>
            <a:xfrm>
              <a:off x="5410804" y="3125464"/>
              <a:ext cx="6782339" cy="2336074"/>
            </a:xfrm>
            <a:custGeom>
              <a:avLst/>
              <a:gdLst>
                <a:gd name="connsiteX0" fmla="*/ 1703989 w 6782339"/>
                <a:gd name="connsiteY0" fmla="*/ 104018 h 2336074"/>
                <a:gd name="connsiteX1" fmla="*/ 1399189 w 6782339"/>
                <a:gd name="connsiteY1" fmla="*/ 787278 h 2336074"/>
                <a:gd name="connsiteX2" fmla="*/ 64674 w 6782339"/>
                <a:gd name="connsiteY2" fmla="*/ 2088393 h 2336074"/>
                <a:gd name="connsiteX3" fmla="*/ 19081 w 6782339"/>
                <a:gd name="connsiteY3" fmla="*/ 2271400 h 2336074"/>
                <a:gd name="connsiteX4" fmla="*/ 202088 w 6782339"/>
                <a:gd name="connsiteY4" fmla="*/ 2316993 h 2336074"/>
                <a:gd name="connsiteX5" fmla="*/ 1634139 w 6782339"/>
                <a:gd name="connsiteY5" fmla="*/ 914151 h 2336074"/>
                <a:gd name="connsiteX6" fmla="*/ 1929796 w 6782339"/>
                <a:gd name="connsiteY6" fmla="*/ 282072 h 2336074"/>
                <a:gd name="connsiteX7" fmla="*/ 6782339 w 6782339"/>
                <a:gd name="connsiteY7" fmla="*/ 989335 h 2336074"/>
                <a:gd name="connsiteX8" fmla="*/ 6782339 w 6782339"/>
                <a:gd name="connsiteY8" fmla="*/ 719714 h 2336074"/>
                <a:gd name="connsiteX9" fmla="*/ 1853596 w 6782339"/>
                <a:gd name="connsiteY9" fmla="*/ 1402 h 2336074"/>
                <a:gd name="connsiteX10" fmla="*/ 1703989 w 6782339"/>
                <a:gd name="connsiteY10" fmla="*/ 104018 h 233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82339" h="2336074">
                  <a:moveTo>
                    <a:pt x="1703989" y="104018"/>
                  </a:moveTo>
                  <a:cubicBezTo>
                    <a:pt x="1703355" y="106939"/>
                    <a:pt x="1635283" y="398658"/>
                    <a:pt x="1399189" y="787278"/>
                  </a:cubicBezTo>
                  <a:cubicBezTo>
                    <a:pt x="1182401" y="1145164"/>
                    <a:pt x="774985" y="1661292"/>
                    <a:pt x="64674" y="2088393"/>
                  </a:cubicBezTo>
                  <a:cubicBezTo>
                    <a:pt x="1548" y="2126339"/>
                    <a:pt x="-18865" y="2208274"/>
                    <a:pt x="19081" y="2271400"/>
                  </a:cubicBezTo>
                  <a:cubicBezTo>
                    <a:pt x="57027" y="2334526"/>
                    <a:pt x="138962" y="2354939"/>
                    <a:pt x="202088" y="2316993"/>
                  </a:cubicBezTo>
                  <a:cubicBezTo>
                    <a:pt x="964088" y="1858523"/>
                    <a:pt x="1401602" y="1300993"/>
                    <a:pt x="1634139" y="914151"/>
                  </a:cubicBezTo>
                  <a:cubicBezTo>
                    <a:pt x="1755840" y="715081"/>
                    <a:pt x="1855003" y="503083"/>
                    <a:pt x="1929796" y="282072"/>
                  </a:cubicBezTo>
                  <a:lnTo>
                    <a:pt x="6782339" y="989335"/>
                  </a:lnTo>
                  <a:lnTo>
                    <a:pt x="6782339" y="719714"/>
                  </a:lnTo>
                  <a:lnTo>
                    <a:pt x="1853596" y="1402"/>
                  </a:lnTo>
                  <a:cubicBezTo>
                    <a:pt x="1784603" y="-8618"/>
                    <a:pt x="1719487" y="36046"/>
                    <a:pt x="1703989" y="104018"/>
                  </a:cubicBezTo>
                  <a:close/>
                </a:path>
              </a:pathLst>
            </a:custGeom>
            <a:solidFill>
              <a:schemeClr val="tx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ECB47735-8911-46C6-8029-E5AC6A0462C5}"/>
                </a:ext>
              </a:extLst>
            </p:cNvPr>
            <p:cNvSpPr/>
            <p:nvPr/>
          </p:nvSpPr>
          <p:spPr>
            <a:xfrm>
              <a:off x="0" y="5874198"/>
              <a:ext cx="3882431" cy="431478"/>
            </a:xfrm>
            <a:custGeom>
              <a:avLst/>
              <a:gdLst>
                <a:gd name="connsiteX0" fmla="*/ 3777234 w 3882431"/>
                <a:gd name="connsiteY0" fmla="*/ 263711 h 431478"/>
                <a:gd name="connsiteX1" fmla="*/ 3879392 w 3882431"/>
                <a:gd name="connsiteY1" fmla="*/ 105192 h 431478"/>
                <a:gd name="connsiteX2" fmla="*/ 3724275 w 3882431"/>
                <a:gd name="connsiteY2" fmla="*/ 2345 h 431478"/>
                <a:gd name="connsiteX3" fmla="*/ 0 w 3882431"/>
                <a:gd name="connsiteY3" fmla="*/ 9584 h 431478"/>
                <a:gd name="connsiteX4" fmla="*/ 0 w 3882431"/>
                <a:gd name="connsiteY4" fmla="*/ 279078 h 431478"/>
                <a:gd name="connsiteX5" fmla="*/ 1977390 w 3882431"/>
                <a:gd name="connsiteY5" fmla="*/ 431478 h 431478"/>
                <a:gd name="connsiteX6" fmla="*/ 3777234 w 3882431"/>
                <a:gd name="connsiteY6" fmla="*/ 263711 h 431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2431" h="431478">
                  <a:moveTo>
                    <a:pt x="3777234" y="263711"/>
                  </a:moveTo>
                  <a:cubicBezTo>
                    <a:pt x="3849218" y="248147"/>
                    <a:pt x="3894956" y="177176"/>
                    <a:pt x="3879392" y="105192"/>
                  </a:cubicBezTo>
                  <a:cubicBezTo>
                    <a:pt x="3864114" y="34530"/>
                    <a:pt x="3795311" y="-11089"/>
                    <a:pt x="3724275" y="2345"/>
                  </a:cubicBezTo>
                  <a:cubicBezTo>
                    <a:pt x="2669159" y="216467"/>
                    <a:pt x="1418844" y="218245"/>
                    <a:pt x="0" y="9584"/>
                  </a:cubicBezTo>
                  <a:lnTo>
                    <a:pt x="0" y="279078"/>
                  </a:lnTo>
                  <a:cubicBezTo>
                    <a:pt x="699685" y="380678"/>
                    <a:pt x="1358815" y="431478"/>
                    <a:pt x="1977390" y="431478"/>
                  </a:cubicBezTo>
                  <a:cubicBezTo>
                    <a:pt x="2625344" y="431224"/>
                    <a:pt x="3226562" y="375471"/>
                    <a:pt x="3777234" y="263711"/>
                  </a:cubicBezTo>
                  <a:close/>
                </a:path>
              </a:pathLst>
            </a:custGeom>
            <a:solidFill>
              <a:schemeClr val="accent4"/>
            </a:solidFill>
            <a:ln w="1270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6585E64C-C0BE-48E1-97AE-3D8C96A7F8EF}"/>
                </a:ext>
              </a:extLst>
            </p:cNvPr>
            <p:cNvSpPr/>
            <p:nvPr/>
          </p:nvSpPr>
          <p:spPr>
            <a:xfrm>
              <a:off x="3619238" y="5194777"/>
              <a:ext cx="2058962" cy="941101"/>
            </a:xfrm>
            <a:custGeom>
              <a:avLst/>
              <a:gdLst>
                <a:gd name="connsiteX0" fmla="*/ 133612 w 2058962"/>
                <a:gd name="connsiteY0" fmla="*/ 941101 h 941101"/>
                <a:gd name="connsiteX1" fmla="*/ 0 w 2058962"/>
                <a:gd name="connsiteY1" fmla="*/ 808013 h 941101"/>
                <a:gd name="connsiteX2" fmla="*/ 106815 w 2058962"/>
                <a:gd name="connsiteY2" fmla="*/ 677068 h 941101"/>
                <a:gd name="connsiteX3" fmla="*/ 1856875 w 2058962"/>
                <a:gd name="connsiteY3" fmla="*/ 19081 h 941101"/>
                <a:gd name="connsiteX4" fmla="*/ 2039882 w 2058962"/>
                <a:gd name="connsiteY4" fmla="*/ 64674 h 941101"/>
                <a:gd name="connsiteX5" fmla="*/ 1994289 w 2058962"/>
                <a:gd name="connsiteY5" fmla="*/ 247681 h 941101"/>
                <a:gd name="connsiteX6" fmla="*/ 160663 w 2058962"/>
                <a:gd name="connsiteY6" fmla="*/ 938307 h 941101"/>
                <a:gd name="connsiteX7" fmla="*/ 133612 w 2058962"/>
                <a:gd name="connsiteY7" fmla="*/ 941101 h 941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8962" h="941101">
                  <a:moveTo>
                    <a:pt x="133612" y="941101"/>
                  </a:moveTo>
                  <a:cubicBezTo>
                    <a:pt x="59965" y="941246"/>
                    <a:pt x="145" y="881660"/>
                    <a:pt x="0" y="808013"/>
                  </a:cubicBezTo>
                  <a:cubicBezTo>
                    <a:pt x="-125" y="744496"/>
                    <a:pt x="44568" y="689707"/>
                    <a:pt x="106815" y="677068"/>
                  </a:cubicBezTo>
                  <a:cubicBezTo>
                    <a:pt x="768485" y="540924"/>
                    <a:pt x="1357257" y="319563"/>
                    <a:pt x="1856875" y="19081"/>
                  </a:cubicBezTo>
                  <a:cubicBezTo>
                    <a:pt x="1920001" y="-18865"/>
                    <a:pt x="2001936" y="1548"/>
                    <a:pt x="2039882" y="64674"/>
                  </a:cubicBezTo>
                  <a:cubicBezTo>
                    <a:pt x="2077828" y="127800"/>
                    <a:pt x="2057415" y="209735"/>
                    <a:pt x="1994289" y="247681"/>
                  </a:cubicBezTo>
                  <a:cubicBezTo>
                    <a:pt x="1468763" y="563657"/>
                    <a:pt x="851924" y="796067"/>
                    <a:pt x="160663" y="938307"/>
                  </a:cubicBezTo>
                  <a:cubicBezTo>
                    <a:pt x="151766" y="940166"/>
                    <a:pt x="142701" y="941102"/>
                    <a:pt x="133612" y="941101"/>
                  </a:cubicBezTo>
                  <a:close/>
                </a:path>
              </a:pathLst>
            </a:custGeom>
            <a:solidFill>
              <a:schemeClr val="accent4"/>
            </a:solidFill>
            <a:ln w="12700" cap="flat">
              <a:noFill/>
              <a:prstDash val="solid"/>
              <a:miter/>
            </a:ln>
          </p:spPr>
          <p:txBody>
            <a:bodyPr rtlCol="0" anchor="ctr"/>
            <a:lstStyle/>
            <a:p>
              <a:endParaRPr lang="en-GB"/>
            </a:p>
          </p:txBody>
        </p:sp>
      </p:grpSp>
      <p:sp>
        <p:nvSpPr>
          <p:cNvPr id="5" name="Picture Placeholder 4">
            <a:extLst>
              <a:ext uri="{FF2B5EF4-FFF2-40B4-BE49-F238E27FC236}">
                <a16:creationId xmlns:a16="http://schemas.microsoft.com/office/drawing/2014/main" id="{1D0CB51F-FB93-44E1-8529-723507996C9D}"/>
              </a:ext>
            </a:extLst>
          </p:cNvPr>
          <p:cNvSpPr>
            <a:spLocks noGrp="1"/>
          </p:cNvSpPr>
          <p:nvPr>
            <p:ph type="pic" sz="quarter" idx="11"/>
          </p:nvPr>
        </p:nvSpPr>
        <p:spPr>
          <a:xfrm>
            <a:off x="8007349" y="719137"/>
            <a:ext cx="3463925" cy="5418137"/>
          </a:xfrm>
        </p:spPr>
        <p:txBody>
          <a:bodyPr/>
          <a:lstStyle/>
          <a:p>
            <a:r>
              <a:rPr lang="en-US"/>
              <a:t>Click icon to add picture</a:t>
            </a:r>
            <a:endParaRPr lang="en-GB" dirty="0"/>
          </a:p>
        </p:txBody>
      </p:sp>
      <p:sp>
        <p:nvSpPr>
          <p:cNvPr id="11" name="Section Number 1">
            <a:extLst>
              <a:ext uri="{FF2B5EF4-FFF2-40B4-BE49-F238E27FC236}">
                <a16:creationId xmlns:a16="http://schemas.microsoft.com/office/drawing/2014/main" id="{814A3C02-7035-49AB-B7ED-455C3FD72429}"/>
              </a:ext>
            </a:extLst>
          </p:cNvPr>
          <p:cNvSpPr>
            <a:spLocks noGrp="1" noChangeAspect="1"/>
          </p:cNvSpPr>
          <p:nvPr>
            <p:ph type="body" sz="quarter" idx="10" hasCustomPrompt="1"/>
          </p:nvPr>
        </p:nvSpPr>
        <p:spPr>
          <a:xfrm>
            <a:off x="719138" y="719138"/>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p:ph type="body" idx="1"/>
          </p:nvPr>
        </p:nvSpPr>
        <p:spPr>
          <a:xfrm>
            <a:off x="719139" y="4031138"/>
            <a:ext cx="5286374"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p:ph type="title"/>
          </p:nvPr>
        </p:nvSpPr>
        <p:spPr>
          <a:xfrm>
            <a:off x="719138" y="2339138"/>
            <a:ext cx="5286375"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15142234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ection Header 4">
    <p:bg>
      <p:bgPr>
        <a:solidFill>
          <a:schemeClr val="accent2"/>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6DEAB736-E5C7-4F8A-BC12-AD7CF2D2FA68}"/>
              </a:ext>
            </a:extLst>
          </p:cNvPr>
          <p:cNvGrpSpPr/>
          <p:nvPr userDrawn="1"/>
        </p:nvGrpSpPr>
        <p:grpSpPr>
          <a:xfrm>
            <a:off x="2475589" y="1650880"/>
            <a:ext cx="9717299" cy="5207761"/>
            <a:chOff x="2475589" y="1650880"/>
            <a:chExt cx="9717299" cy="5207761"/>
          </a:xfrm>
        </p:grpSpPr>
        <p:sp>
          <p:nvSpPr>
            <p:cNvPr id="9" name="Freeform: Shape 8">
              <a:extLst>
                <a:ext uri="{FF2B5EF4-FFF2-40B4-BE49-F238E27FC236}">
                  <a16:creationId xmlns:a16="http://schemas.microsoft.com/office/drawing/2014/main" id="{DF2E4789-30CF-4562-AC1B-EA9FDF4414BC}"/>
                </a:ext>
              </a:extLst>
            </p:cNvPr>
            <p:cNvSpPr/>
            <p:nvPr/>
          </p:nvSpPr>
          <p:spPr>
            <a:xfrm>
              <a:off x="8234448" y="1650880"/>
              <a:ext cx="3958440" cy="1200309"/>
            </a:xfrm>
            <a:custGeom>
              <a:avLst/>
              <a:gdLst>
                <a:gd name="connsiteX0" fmla="*/ 1853218 w 3958440"/>
                <a:gd name="connsiteY0" fmla="*/ 122840 h 1200309"/>
                <a:gd name="connsiteX1" fmla="*/ 47617 w 3958440"/>
                <a:gd name="connsiteY1" fmla="*/ 964802 h 1200309"/>
                <a:gd name="connsiteX2" fmla="*/ 31225 w 3958440"/>
                <a:gd name="connsiteY2" fmla="*/ 1152691 h 1200309"/>
                <a:gd name="connsiteX3" fmla="*/ 212732 w 3958440"/>
                <a:gd name="connsiteY3" fmla="*/ 1174117 h 1200309"/>
                <a:gd name="connsiteX4" fmla="*/ 1909866 w 3958440"/>
                <a:gd name="connsiteY4" fmla="*/ 383341 h 1200309"/>
                <a:gd name="connsiteX5" fmla="*/ 3958441 w 3958440"/>
                <a:gd name="connsiteY5" fmla="*/ 373180 h 1200309"/>
                <a:gd name="connsiteX6" fmla="*/ 3958441 w 3958440"/>
                <a:gd name="connsiteY6" fmla="*/ 101883 h 1200309"/>
                <a:gd name="connsiteX7" fmla="*/ 3820760 w 3958440"/>
                <a:gd name="connsiteY7" fmla="*/ 74829 h 1200309"/>
                <a:gd name="connsiteX8" fmla="*/ 1853218 w 3958440"/>
                <a:gd name="connsiteY8" fmla="*/ 122840 h 1200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8440" h="1200309">
                  <a:moveTo>
                    <a:pt x="1853218" y="122840"/>
                  </a:moveTo>
                  <a:cubicBezTo>
                    <a:pt x="1175229" y="270555"/>
                    <a:pt x="567731" y="553918"/>
                    <a:pt x="47617" y="964802"/>
                  </a:cubicBezTo>
                  <a:cubicBezTo>
                    <a:pt x="-8794" y="1012159"/>
                    <a:pt x="-16133" y="1096280"/>
                    <a:pt x="31225" y="1152691"/>
                  </a:cubicBezTo>
                  <a:cubicBezTo>
                    <a:pt x="76553" y="1206685"/>
                    <a:pt x="156077" y="1216073"/>
                    <a:pt x="212732" y="1174117"/>
                  </a:cubicBezTo>
                  <a:cubicBezTo>
                    <a:pt x="700840" y="788509"/>
                    <a:pt x="1271758" y="522419"/>
                    <a:pt x="1909866" y="383341"/>
                  </a:cubicBezTo>
                  <a:cubicBezTo>
                    <a:pt x="2616687" y="229276"/>
                    <a:pt x="3301916" y="226354"/>
                    <a:pt x="3958441" y="373180"/>
                  </a:cubicBezTo>
                  <a:lnTo>
                    <a:pt x="3958441" y="101883"/>
                  </a:lnTo>
                  <a:cubicBezTo>
                    <a:pt x="3912716" y="92230"/>
                    <a:pt x="3866865" y="83085"/>
                    <a:pt x="3820760" y="74829"/>
                  </a:cubicBezTo>
                  <a:cubicBezTo>
                    <a:pt x="3184049" y="-38973"/>
                    <a:pt x="2522317" y="-22970"/>
                    <a:pt x="1853218" y="122840"/>
                  </a:cubicBezTo>
                  <a:close/>
                </a:path>
              </a:pathLst>
            </a:custGeom>
            <a:solidFill>
              <a:schemeClr val="tx2"/>
            </a:solidFill>
            <a:ln w="12700"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CDA31254-47BB-4C08-A50F-3432F5F43124}"/>
                </a:ext>
              </a:extLst>
            </p:cNvPr>
            <p:cNvSpPr/>
            <p:nvPr/>
          </p:nvSpPr>
          <p:spPr>
            <a:xfrm>
              <a:off x="2475589" y="2588626"/>
              <a:ext cx="6015363" cy="4270015"/>
            </a:xfrm>
            <a:custGeom>
              <a:avLst/>
              <a:gdLst>
                <a:gd name="connsiteX0" fmla="*/ 1493152 w 6015363"/>
                <a:gd name="connsiteY0" fmla="*/ 3047907 h 4270015"/>
                <a:gd name="connsiteX1" fmla="*/ 3898250 w 6015363"/>
                <a:gd name="connsiteY1" fmla="*/ 3728183 h 4270015"/>
                <a:gd name="connsiteX2" fmla="*/ 4086697 w 6015363"/>
                <a:gd name="connsiteY2" fmla="*/ 3735832 h 4270015"/>
                <a:gd name="connsiteX3" fmla="*/ 4128903 w 6015363"/>
                <a:gd name="connsiteY3" fmla="*/ 3651976 h 4270015"/>
                <a:gd name="connsiteX4" fmla="*/ 4444782 w 6015363"/>
                <a:gd name="connsiteY4" fmla="*/ 2424152 h 4270015"/>
                <a:gd name="connsiteX5" fmla="*/ 5956858 w 6015363"/>
                <a:gd name="connsiteY5" fmla="*/ 243738 h 4270015"/>
                <a:gd name="connsiteX6" fmla="*/ 5992350 w 6015363"/>
                <a:gd name="connsiteY6" fmla="*/ 58505 h 4270015"/>
                <a:gd name="connsiteX7" fmla="*/ 5807117 w 6015363"/>
                <a:gd name="connsiteY7" fmla="*/ 23013 h 4270015"/>
                <a:gd name="connsiteX8" fmla="*/ 5791743 w 6015363"/>
                <a:gd name="connsiteY8" fmla="*/ 35185 h 4270015"/>
                <a:gd name="connsiteX9" fmla="*/ 4194695 w 6015363"/>
                <a:gd name="connsiteY9" fmla="*/ 2331433 h 4270015"/>
                <a:gd name="connsiteX10" fmla="*/ 3905870 w 6015363"/>
                <a:gd name="connsiteY10" fmla="*/ 3357944 h 4270015"/>
                <a:gd name="connsiteX11" fmla="*/ 2741933 w 6015363"/>
                <a:gd name="connsiteY11" fmla="*/ 2711453 h 4270015"/>
                <a:gd name="connsiteX12" fmla="*/ 1397766 w 6015363"/>
                <a:gd name="connsiteY12" fmla="*/ 2798837 h 4270015"/>
                <a:gd name="connsiteX13" fmla="*/ 334549 w 6015363"/>
                <a:gd name="connsiteY13" fmla="*/ 3611713 h 4270015"/>
                <a:gd name="connsiteX14" fmla="*/ 0 w 6015363"/>
                <a:gd name="connsiteY14" fmla="*/ 4270016 h 4270015"/>
                <a:gd name="connsiteX15" fmla="*/ 283109 w 6015363"/>
                <a:gd name="connsiteY15" fmla="*/ 4270016 h 4270015"/>
                <a:gd name="connsiteX16" fmla="*/ 1493152 w 6015363"/>
                <a:gd name="connsiteY16" fmla="*/ 3047907 h 427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15363" h="4270015">
                  <a:moveTo>
                    <a:pt x="1493152" y="3047907"/>
                  </a:moveTo>
                  <a:cubicBezTo>
                    <a:pt x="2328509" y="2728092"/>
                    <a:pt x="3205145" y="2976019"/>
                    <a:pt x="3898250" y="3728183"/>
                  </a:cubicBezTo>
                  <a:cubicBezTo>
                    <a:pt x="3948176" y="3782334"/>
                    <a:pt x="4032547" y="3785758"/>
                    <a:pt x="4086697" y="3735832"/>
                  </a:cubicBezTo>
                  <a:cubicBezTo>
                    <a:pt x="4110464" y="3713919"/>
                    <a:pt x="4125463" y="3684120"/>
                    <a:pt x="4128903" y="3651976"/>
                  </a:cubicBezTo>
                  <a:cubicBezTo>
                    <a:pt x="4128903" y="3646642"/>
                    <a:pt x="4189234" y="3112175"/>
                    <a:pt x="4444782" y="2424152"/>
                  </a:cubicBezTo>
                  <a:cubicBezTo>
                    <a:pt x="4680007" y="1790998"/>
                    <a:pt x="5133313" y="898612"/>
                    <a:pt x="5956858" y="243738"/>
                  </a:cubicBezTo>
                  <a:cubicBezTo>
                    <a:pt x="6017810" y="202388"/>
                    <a:pt x="6033701" y="119457"/>
                    <a:pt x="5992350" y="58505"/>
                  </a:cubicBezTo>
                  <a:cubicBezTo>
                    <a:pt x="5951000" y="-2447"/>
                    <a:pt x="5868069" y="-18337"/>
                    <a:pt x="5807117" y="23013"/>
                  </a:cubicBezTo>
                  <a:cubicBezTo>
                    <a:pt x="5801701" y="26687"/>
                    <a:pt x="5796562" y="30756"/>
                    <a:pt x="5791743" y="35185"/>
                  </a:cubicBezTo>
                  <a:cubicBezTo>
                    <a:pt x="4919298" y="728035"/>
                    <a:pt x="4441734" y="1666272"/>
                    <a:pt x="4194695" y="2331433"/>
                  </a:cubicBezTo>
                  <a:cubicBezTo>
                    <a:pt x="4070316" y="2665066"/>
                    <a:pt x="3973713" y="3008403"/>
                    <a:pt x="3905870" y="3357944"/>
                  </a:cubicBezTo>
                  <a:cubicBezTo>
                    <a:pt x="3553285" y="3030507"/>
                    <a:pt x="3162724" y="2813444"/>
                    <a:pt x="2741933" y="2711453"/>
                  </a:cubicBezTo>
                  <a:cubicBezTo>
                    <a:pt x="2295429" y="2603066"/>
                    <a:pt x="1826479" y="2633553"/>
                    <a:pt x="1397766" y="2798837"/>
                  </a:cubicBezTo>
                  <a:cubicBezTo>
                    <a:pt x="972378" y="2961580"/>
                    <a:pt x="603137" y="3243881"/>
                    <a:pt x="334549" y="3611713"/>
                  </a:cubicBezTo>
                  <a:cubicBezTo>
                    <a:pt x="187824" y="3811401"/>
                    <a:pt x="74810" y="4033781"/>
                    <a:pt x="0" y="4270016"/>
                  </a:cubicBezTo>
                  <a:lnTo>
                    <a:pt x="283109" y="4270016"/>
                  </a:lnTo>
                  <a:cubicBezTo>
                    <a:pt x="482645" y="3723865"/>
                    <a:pt x="921471" y="3266622"/>
                    <a:pt x="1493152" y="3047907"/>
                  </a:cubicBezTo>
                  <a:close/>
                </a:path>
              </a:pathLst>
            </a:custGeom>
            <a:solidFill>
              <a:schemeClr val="accent1"/>
            </a:solidFill>
            <a:ln w="12700" cap="flat">
              <a:noFill/>
              <a:prstDash val="solid"/>
              <a:miter/>
            </a:ln>
          </p:spPr>
          <p:txBody>
            <a:bodyPr rtlCol="0" anchor="ctr"/>
            <a:lstStyle/>
            <a:p>
              <a:endParaRPr lang="en-GB"/>
            </a:p>
          </p:txBody>
        </p:sp>
      </p:grpSp>
      <p:sp>
        <p:nvSpPr>
          <p:cNvPr id="5" name="Picture Placeholder 4">
            <a:extLst>
              <a:ext uri="{FF2B5EF4-FFF2-40B4-BE49-F238E27FC236}">
                <a16:creationId xmlns:a16="http://schemas.microsoft.com/office/drawing/2014/main" id="{1D0CB51F-FB93-44E1-8529-723507996C9D}"/>
              </a:ext>
            </a:extLst>
          </p:cNvPr>
          <p:cNvSpPr>
            <a:spLocks noGrp="1"/>
          </p:cNvSpPr>
          <p:nvPr>
            <p:ph type="pic" sz="quarter" idx="11"/>
          </p:nvPr>
        </p:nvSpPr>
        <p:spPr>
          <a:xfrm>
            <a:off x="8007349" y="719137"/>
            <a:ext cx="3463925" cy="5418137"/>
          </a:xfrm>
        </p:spPr>
        <p:txBody>
          <a:bodyPr/>
          <a:lstStyle/>
          <a:p>
            <a:r>
              <a:rPr lang="en-US"/>
              <a:t>Click icon to add picture</a:t>
            </a:r>
            <a:endParaRPr lang="en-GB" dirty="0"/>
          </a:p>
        </p:txBody>
      </p:sp>
      <p:sp>
        <p:nvSpPr>
          <p:cNvPr id="11" name="Section Number 1">
            <a:extLst>
              <a:ext uri="{FF2B5EF4-FFF2-40B4-BE49-F238E27FC236}">
                <a16:creationId xmlns:a16="http://schemas.microsoft.com/office/drawing/2014/main" id="{814A3C02-7035-49AB-B7ED-455C3FD72429}"/>
              </a:ext>
            </a:extLst>
          </p:cNvPr>
          <p:cNvSpPr>
            <a:spLocks noGrp="1" noChangeAspect="1"/>
          </p:cNvSpPr>
          <p:nvPr>
            <p:ph type="body" sz="quarter" idx="10" hasCustomPrompt="1"/>
          </p:nvPr>
        </p:nvSpPr>
        <p:spPr>
          <a:xfrm>
            <a:off x="719138" y="719138"/>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p:ph type="body" idx="1"/>
          </p:nvPr>
        </p:nvSpPr>
        <p:spPr>
          <a:xfrm>
            <a:off x="719139" y="4031138"/>
            <a:ext cx="5286374"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p:ph type="title"/>
          </p:nvPr>
        </p:nvSpPr>
        <p:spPr>
          <a:xfrm>
            <a:off x="719138" y="2339138"/>
            <a:ext cx="5286375"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39185939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Quote Left">
    <p:bg>
      <p:bgPr>
        <a:solidFill>
          <a:schemeClr val="accent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26" name="Text Placeholder 1">
            <a:extLst>
              <a:ext uri="{FF2B5EF4-FFF2-40B4-BE49-F238E27FC236}">
                <a16:creationId xmlns:a16="http://schemas.microsoft.com/office/drawing/2014/main" id="{EF86E853-2DAA-4563-A8E4-4FD02470765E}"/>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Quote Icon / Statistic">
            <a:extLst>
              <a:ext uri="{FF2B5EF4-FFF2-40B4-BE49-F238E27FC236}">
                <a16:creationId xmlns:a16="http://schemas.microsoft.com/office/drawing/2014/main" id="{0A708DFA-732A-4146-B4DA-F773CB057914}"/>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302641089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Statistic Left">
    <p:bg>
      <p:bgPr>
        <a:solidFill>
          <a:schemeClr val="accent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26" name="Text Placeholder 1">
            <a:extLst>
              <a:ext uri="{FF2B5EF4-FFF2-40B4-BE49-F238E27FC236}">
                <a16:creationId xmlns:a16="http://schemas.microsoft.com/office/drawing/2014/main" id="{EF86E853-2DAA-4563-A8E4-4FD02470765E}"/>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Quote Icon / Statistic">
            <a:extLst>
              <a:ext uri="{FF2B5EF4-FFF2-40B4-BE49-F238E27FC236}">
                <a16:creationId xmlns:a16="http://schemas.microsoft.com/office/drawing/2014/main" id="{0A708DFA-732A-4146-B4DA-F773CB057914}"/>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3"/>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spTree>
    <p:extLst>
      <p:ext uri="{BB962C8B-B14F-4D97-AF65-F5344CB8AC3E}">
        <p14:creationId xmlns:p14="http://schemas.microsoft.com/office/powerpoint/2010/main" val="334865280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Quote Right">
    <p:bg>
      <p:bgPr>
        <a:solidFill>
          <a:schemeClr val="accent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6184900"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Quote Icon">
            <a:extLst>
              <a:ext uri="{FF2B5EF4-FFF2-40B4-BE49-F238E27FC236}">
                <a16:creationId xmlns:a16="http://schemas.microsoft.com/office/drawing/2014/main" id="{AE908A02-8ECE-4103-A82B-C66FB3871F13}"/>
              </a:ext>
            </a:extLst>
          </p:cNvPr>
          <p:cNvSpPr>
            <a:spLocks noGrp="1" noChangeAspect="1"/>
          </p:cNvSpPr>
          <p:nvPr>
            <p:ph type="body" sz="quarter" idx="23" hasCustomPrompt="1"/>
          </p:nvPr>
        </p:nvSpPr>
        <p:spPr>
          <a:xfrm>
            <a:off x="6184900"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10235590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ntent  (No subhead)">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8007349" y="1627189"/>
            <a:ext cx="3463925" cy="4508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4362450" y="1627188"/>
            <a:ext cx="3463925" cy="4508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1627188"/>
            <a:ext cx="3463925" cy="4508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75174396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Statistic Right">
    <p:bg>
      <p:bgPr>
        <a:solidFill>
          <a:schemeClr val="accent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6184900"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Quote Icon / Statistic">
            <a:extLst>
              <a:ext uri="{FF2B5EF4-FFF2-40B4-BE49-F238E27FC236}">
                <a16:creationId xmlns:a16="http://schemas.microsoft.com/office/drawing/2014/main" id="{32ED2ED7-DFF0-490A-B1BF-4CFE506929CE}"/>
              </a:ext>
            </a:extLst>
          </p:cNvPr>
          <p:cNvSpPr>
            <a:spLocks noGrp="1" noChangeAspect="1"/>
          </p:cNvSpPr>
          <p:nvPr>
            <p:ph type="body" sz="quarter" idx="24" hasCustomPrompt="1"/>
          </p:nvPr>
        </p:nvSpPr>
        <p:spPr>
          <a:xfrm>
            <a:off x="6184900"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spTree>
    <p:extLst>
      <p:ext uri="{BB962C8B-B14F-4D97-AF65-F5344CB8AC3E}">
        <p14:creationId xmlns:p14="http://schemas.microsoft.com/office/powerpoint/2010/main" val="121690883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 Left 1">
    <p:bg>
      <p:bgPr>
        <a:solidFill>
          <a:schemeClr val="accent3"/>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lvl1pPr algn="ctr">
              <a:defRPr/>
            </a:lvl1pPr>
          </a:lstStyle>
          <a:p>
            <a:r>
              <a:rPr lang="en-US"/>
              <a:t>dd Month 2021</a:t>
            </a:r>
            <a:endParaRPr lang="en-GB"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24" name="Quote Icon">
            <a:extLst>
              <a:ext uri="{FF2B5EF4-FFF2-40B4-BE49-F238E27FC236}">
                <a16:creationId xmlns:a16="http://schemas.microsoft.com/office/drawing/2014/main" id="{66346173-DA66-4D9F-9D8B-CA03323AD95F}"/>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6" name="Group 15">
            <a:extLst>
              <a:ext uri="{FF2B5EF4-FFF2-40B4-BE49-F238E27FC236}">
                <a16:creationId xmlns:a16="http://schemas.microsoft.com/office/drawing/2014/main" id="{74580E24-C8C1-44DD-9DAF-8C9F2AB5AEE9}"/>
              </a:ext>
            </a:extLst>
          </p:cNvPr>
          <p:cNvGrpSpPr/>
          <p:nvPr userDrawn="1"/>
        </p:nvGrpSpPr>
        <p:grpSpPr>
          <a:xfrm>
            <a:off x="7547448" y="0"/>
            <a:ext cx="4612546" cy="6857999"/>
            <a:chOff x="7547448" y="0"/>
            <a:chExt cx="4612546" cy="6857999"/>
          </a:xfrm>
        </p:grpSpPr>
        <p:sp>
          <p:nvSpPr>
            <p:cNvPr id="15" name="Freeform: Shape 14">
              <a:extLst>
                <a:ext uri="{FF2B5EF4-FFF2-40B4-BE49-F238E27FC236}">
                  <a16:creationId xmlns:a16="http://schemas.microsoft.com/office/drawing/2014/main" id="{DC30B9A7-E7FE-4E69-BB7A-2A29A20473C1}"/>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chemeClr val="tx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6330B80F-5F39-4055-89EE-8B57F2F12126}"/>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6047205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e Statistic Left 1">
    <p:bg>
      <p:bgPr>
        <a:solidFill>
          <a:schemeClr val="accent3"/>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lvl1pPr algn="ctr">
              <a:defRPr/>
            </a:lvl1pPr>
          </a:lstStyle>
          <a:p>
            <a:r>
              <a:rPr lang="en-US"/>
              <a:t>dd Month 2021</a:t>
            </a:r>
            <a:endParaRPr lang="en-GB"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1" name="Quote Icon / Statistic">
            <a:extLst>
              <a:ext uri="{FF2B5EF4-FFF2-40B4-BE49-F238E27FC236}">
                <a16:creationId xmlns:a16="http://schemas.microsoft.com/office/drawing/2014/main" id="{17551C48-C61C-47BF-A013-FC9EF9B355CD}"/>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2" name="Group 11">
            <a:extLst>
              <a:ext uri="{FF2B5EF4-FFF2-40B4-BE49-F238E27FC236}">
                <a16:creationId xmlns:a16="http://schemas.microsoft.com/office/drawing/2014/main" id="{A165A3F0-D5F1-4661-94DA-81733AD3F528}"/>
              </a:ext>
            </a:extLst>
          </p:cNvPr>
          <p:cNvGrpSpPr/>
          <p:nvPr userDrawn="1"/>
        </p:nvGrpSpPr>
        <p:grpSpPr>
          <a:xfrm>
            <a:off x="7547448" y="0"/>
            <a:ext cx="4612546" cy="6857999"/>
            <a:chOff x="7547448" y="0"/>
            <a:chExt cx="4612546" cy="6857999"/>
          </a:xfrm>
        </p:grpSpPr>
        <p:sp>
          <p:nvSpPr>
            <p:cNvPr id="13" name="Freeform: Shape 12">
              <a:extLst>
                <a:ext uri="{FF2B5EF4-FFF2-40B4-BE49-F238E27FC236}">
                  <a16:creationId xmlns:a16="http://schemas.microsoft.com/office/drawing/2014/main" id="{C8083FC4-7BEB-4F09-BB31-D538ADC67860}"/>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chemeClr val="tx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43CDC7C8-1F1E-4C25-8520-49CC1BBB6E55}"/>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79650561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Left 2">
    <p:bg>
      <p:bgPr>
        <a:solidFill>
          <a:schemeClr val="accent5"/>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lvl1pPr algn="ctr">
              <a:defRPr/>
            </a:lvl1pPr>
          </a:lstStyle>
          <a:p>
            <a:r>
              <a:rPr lang="en-US"/>
              <a:t>dd Month 2021</a:t>
            </a:r>
            <a:endParaRPr lang="en-GB"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7" name="Quote Icon">
            <a:extLst>
              <a:ext uri="{FF2B5EF4-FFF2-40B4-BE49-F238E27FC236}">
                <a16:creationId xmlns:a16="http://schemas.microsoft.com/office/drawing/2014/main" id="{4AC0413B-EA74-4917-8C17-0F00279AD384}"/>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6" name="Group 15">
            <a:extLst>
              <a:ext uri="{FF2B5EF4-FFF2-40B4-BE49-F238E27FC236}">
                <a16:creationId xmlns:a16="http://schemas.microsoft.com/office/drawing/2014/main" id="{F1F66A29-ED93-4687-9E8C-29DF508B4ECC}"/>
              </a:ext>
            </a:extLst>
          </p:cNvPr>
          <p:cNvGrpSpPr/>
          <p:nvPr userDrawn="1"/>
        </p:nvGrpSpPr>
        <p:grpSpPr>
          <a:xfrm>
            <a:off x="7042973" y="0"/>
            <a:ext cx="2774698" cy="6857999"/>
            <a:chOff x="7042973" y="0"/>
            <a:chExt cx="2774698" cy="6857999"/>
          </a:xfrm>
        </p:grpSpPr>
        <p:sp>
          <p:nvSpPr>
            <p:cNvPr id="15" name="Freeform: Shape 14">
              <a:extLst>
                <a:ext uri="{FF2B5EF4-FFF2-40B4-BE49-F238E27FC236}">
                  <a16:creationId xmlns:a16="http://schemas.microsoft.com/office/drawing/2014/main" id="{CA8CC906-BC20-46AD-BB60-C5A23A3250EF}"/>
                </a:ext>
              </a:extLst>
            </p:cNvPr>
            <p:cNvSpPr/>
            <p:nvPr/>
          </p:nvSpPr>
          <p:spPr>
            <a:xfrm>
              <a:off x="8232873" y="0"/>
              <a:ext cx="1584798" cy="3989070"/>
            </a:xfrm>
            <a:custGeom>
              <a:avLst/>
              <a:gdLst>
                <a:gd name="connsiteX0" fmla="*/ 326927 w 1584798"/>
                <a:gd name="connsiteY0" fmla="*/ 2041525 h 3989070"/>
                <a:gd name="connsiteX1" fmla="*/ 1184177 w 1584798"/>
                <a:gd name="connsiteY1" fmla="*/ 3653536 h 3989070"/>
                <a:gd name="connsiteX2" fmla="*/ 688877 w 1584798"/>
                <a:gd name="connsiteY2" fmla="*/ 3725799 h 3989070"/>
                <a:gd name="connsiteX3" fmla="*/ 589001 w 1584798"/>
                <a:gd name="connsiteY3" fmla="*/ 3885766 h 3989070"/>
                <a:gd name="connsiteX4" fmla="*/ 718976 w 1584798"/>
                <a:gd name="connsiteY4" fmla="*/ 3989070 h 3989070"/>
                <a:gd name="connsiteX5" fmla="*/ 749329 w 1584798"/>
                <a:gd name="connsiteY5" fmla="*/ 3985641 h 3989070"/>
                <a:gd name="connsiteX6" fmla="*/ 1449607 w 1584798"/>
                <a:gd name="connsiteY6" fmla="*/ 3912997 h 3989070"/>
                <a:gd name="connsiteX7" fmla="*/ 1451131 w 1584798"/>
                <a:gd name="connsiteY7" fmla="*/ 3912997 h 3989070"/>
                <a:gd name="connsiteX8" fmla="*/ 1584798 w 1584798"/>
                <a:gd name="connsiteY8" fmla="*/ 3779965 h 3989070"/>
                <a:gd name="connsiteX9" fmla="*/ 1552731 w 1584798"/>
                <a:gd name="connsiteY9" fmla="*/ 3692906 h 3989070"/>
                <a:gd name="connsiteX10" fmla="*/ 574831 w 1584798"/>
                <a:gd name="connsiteY10" fmla="*/ 1942465 h 3989070"/>
                <a:gd name="connsiteX11" fmla="*/ 272063 w 1584798"/>
                <a:gd name="connsiteY11" fmla="*/ 0 h 3989070"/>
                <a:gd name="connsiteX12" fmla="*/ 7903 w 1584798"/>
                <a:gd name="connsiteY12" fmla="*/ 0 h 3989070"/>
                <a:gd name="connsiteX13" fmla="*/ 1553 w 1584798"/>
                <a:gd name="connsiteY13" fmla="*/ 148463 h 3989070"/>
                <a:gd name="connsiteX14" fmla="*/ 326927 w 1584798"/>
                <a:gd name="connsiteY14" fmla="*/ 2041525 h 398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4798" h="3989070">
                  <a:moveTo>
                    <a:pt x="326927" y="2041525"/>
                  </a:moveTo>
                  <a:cubicBezTo>
                    <a:pt x="537001" y="2615810"/>
                    <a:pt x="825483" y="3158285"/>
                    <a:pt x="1184177" y="3653536"/>
                  </a:cubicBezTo>
                  <a:cubicBezTo>
                    <a:pt x="1017388" y="3664129"/>
                    <a:pt x="851740" y="3688296"/>
                    <a:pt x="688877" y="3725799"/>
                  </a:cubicBezTo>
                  <a:cubicBezTo>
                    <a:pt x="617123" y="3742393"/>
                    <a:pt x="572408" y="3814013"/>
                    <a:pt x="589001" y="3885766"/>
                  </a:cubicBezTo>
                  <a:cubicBezTo>
                    <a:pt x="602992" y="3946261"/>
                    <a:pt x="656884" y="3989095"/>
                    <a:pt x="718976" y="3989070"/>
                  </a:cubicBezTo>
                  <a:cubicBezTo>
                    <a:pt x="729189" y="3989052"/>
                    <a:pt x="739369" y="3987902"/>
                    <a:pt x="749329" y="3985641"/>
                  </a:cubicBezTo>
                  <a:cubicBezTo>
                    <a:pt x="979011" y="3933517"/>
                    <a:pt x="1214116" y="3909128"/>
                    <a:pt x="1449607" y="3912997"/>
                  </a:cubicBezTo>
                  <a:lnTo>
                    <a:pt x="1451131" y="3912997"/>
                  </a:lnTo>
                  <a:cubicBezTo>
                    <a:pt x="1524778" y="3913172"/>
                    <a:pt x="1584623" y="3853612"/>
                    <a:pt x="1584798" y="3779965"/>
                  </a:cubicBezTo>
                  <a:cubicBezTo>
                    <a:pt x="1584874" y="3748042"/>
                    <a:pt x="1573496" y="3717152"/>
                    <a:pt x="1552731" y="3692906"/>
                  </a:cubicBezTo>
                  <a:cubicBezTo>
                    <a:pt x="1546762" y="3685921"/>
                    <a:pt x="951640" y="2984246"/>
                    <a:pt x="574831" y="1942465"/>
                  </a:cubicBezTo>
                  <a:cubicBezTo>
                    <a:pt x="333404" y="1273556"/>
                    <a:pt x="232566" y="624713"/>
                    <a:pt x="272063" y="0"/>
                  </a:cubicBezTo>
                  <a:lnTo>
                    <a:pt x="7903" y="0"/>
                  </a:lnTo>
                  <a:cubicBezTo>
                    <a:pt x="4939" y="49445"/>
                    <a:pt x="2822" y="98933"/>
                    <a:pt x="1553" y="148463"/>
                  </a:cubicBezTo>
                  <a:cubicBezTo>
                    <a:pt x="-14576" y="764794"/>
                    <a:pt x="95025" y="1401699"/>
                    <a:pt x="326927" y="2041525"/>
                  </a:cubicBezTo>
                  <a:close/>
                </a:path>
              </a:pathLst>
            </a:custGeom>
            <a:solidFill>
              <a:srgbClr val="FFFFFF"/>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63E154F5-6119-49F9-8212-0598FE4464EE}"/>
                </a:ext>
              </a:extLst>
            </p:cNvPr>
            <p:cNvSpPr/>
            <p:nvPr/>
          </p:nvSpPr>
          <p:spPr>
            <a:xfrm>
              <a:off x="7042973" y="3722299"/>
              <a:ext cx="2042296" cy="3135700"/>
            </a:xfrm>
            <a:custGeom>
              <a:avLst/>
              <a:gdLst>
                <a:gd name="connsiteX0" fmla="*/ 345633 w 2042296"/>
                <a:gd name="connsiteY0" fmla="*/ 1755972 h 3135700"/>
                <a:gd name="connsiteX1" fmla="*/ 1939102 w 2042296"/>
                <a:gd name="connsiteY1" fmla="*/ 263341 h 3135700"/>
                <a:gd name="connsiteX2" fmla="*/ 2038797 w 2042296"/>
                <a:gd name="connsiteY2" fmla="*/ 103194 h 3135700"/>
                <a:gd name="connsiteX3" fmla="*/ 1878650 w 2042296"/>
                <a:gd name="connsiteY3" fmla="*/ 3499 h 3135700"/>
                <a:gd name="connsiteX4" fmla="*/ 699836 w 2042296"/>
                <a:gd name="connsiteY4" fmla="*/ 638499 h 3135700"/>
                <a:gd name="connsiteX5" fmla="*/ 88585 w 2042296"/>
                <a:gd name="connsiteY5" fmla="*/ 1685615 h 3135700"/>
                <a:gd name="connsiteX6" fmla="*/ 137606 w 2042296"/>
                <a:gd name="connsiteY6" fmla="*/ 3135701 h 3135700"/>
                <a:gd name="connsiteX7" fmla="*/ 422849 w 2042296"/>
                <a:gd name="connsiteY7" fmla="*/ 3135701 h 3135700"/>
                <a:gd name="connsiteX8" fmla="*/ 345632 w 2042296"/>
                <a:gd name="connsiteY8" fmla="*/ 1755972 h 31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2296" h="3135700">
                  <a:moveTo>
                    <a:pt x="345633" y="1755972"/>
                  </a:moveTo>
                  <a:cubicBezTo>
                    <a:pt x="555691" y="993972"/>
                    <a:pt x="1136589" y="450285"/>
                    <a:pt x="1939102" y="263341"/>
                  </a:cubicBezTo>
                  <a:cubicBezTo>
                    <a:pt x="2010856" y="246648"/>
                    <a:pt x="2055490" y="174948"/>
                    <a:pt x="2038797" y="103194"/>
                  </a:cubicBezTo>
                  <a:cubicBezTo>
                    <a:pt x="2022103" y="31441"/>
                    <a:pt x="1950403" y="-13194"/>
                    <a:pt x="1878650" y="3499"/>
                  </a:cubicBezTo>
                  <a:cubicBezTo>
                    <a:pt x="1413830" y="111830"/>
                    <a:pt x="1017209" y="325317"/>
                    <a:pt x="699836" y="638499"/>
                  </a:cubicBezTo>
                  <a:cubicBezTo>
                    <a:pt x="407812" y="927915"/>
                    <a:pt x="197014" y="1289025"/>
                    <a:pt x="88585" y="1685615"/>
                  </a:cubicBezTo>
                  <a:cubicBezTo>
                    <a:pt x="-44422" y="2162536"/>
                    <a:pt x="-27305" y="2668851"/>
                    <a:pt x="137606" y="3135701"/>
                  </a:cubicBezTo>
                  <a:lnTo>
                    <a:pt x="422849" y="3135701"/>
                  </a:lnTo>
                  <a:cubicBezTo>
                    <a:pt x="245142" y="2697007"/>
                    <a:pt x="217986" y="2211755"/>
                    <a:pt x="345632" y="1755972"/>
                  </a:cubicBezTo>
                  <a:close/>
                </a:path>
              </a:pathLst>
            </a:custGeom>
            <a:solidFill>
              <a:schemeClr val="tx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94752161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ote Statistic Left 2">
    <p:bg>
      <p:bgPr>
        <a:solidFill>
          <a:schemeClr val="accent5"/>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lvl1pPr algn="ctr">
              <a:defRPr/>
            </a:lvl1pPr>
          </a:lstStyle>
          <a:p>
            <a:r>
              <a:rPr lang="en-US"/>
              <a:t>dd Month 2021</a:t>
            </a:r>
            <a:endParaRPr lang="en-GB"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4" name="Quote Icon / Statistic">
            <a:extLst>
              <a:ext uri="{FF2B5EF4-FFF2-40B4-BE49-F238E27FC236}">
                <a16:creationId xmlns:a16="http://schemas.microsoft.com/office/drawing/2014/main" id="{F933B12E-A112-4D42-93D5-2D38F7861927}"/>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tx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5" name="Group 14">
            <a:extLst>
              <a:ext uri="{FF2B5EF4-FFF2-40B4-BE49-F238E27FC236}">
                <a16:creationId xmlns:a16="http://schemas.microsoft.com/office/drawing/2014/main" id="{2F50FD1A-8E23-4EE9-9FA6-0FDE4E1D85ED}"/>
              </a:ext>
            </a:extLst>
          </p:cNvPr>
          <p:cNvGrpSpPr/>
          <p:nvPr userDrawn="1"/>
        </p:nvGrpSpPr>
        <p:grpSpPr>
          <a:xfrm>
            <a:off x="7042973" y="0"/>
            <a:ext cx="2774698" cy="6857999"/>
            <a:chOff x="7042973" y="0"/>
            <a:chExt cx="2774698" cy="6857999"/>
          </a:xfrm>
        </p:grpSpPr>
        <p:sp>
          <p:nvSpPr>
            <p:cNvPr id="16" name="Freeform: Shape 15">
              <a:extLst>
                <a:ext uri="{FF2B5EF4-FFF2-40B4-BE49-F238E27FC236}">
                  <a16:creationId xmlns:a16="http://schemas.microsoft.com/office/drawing/2014/main" id="{4E6D31F4-C91C-43CC-85F5-A530E3101F3A}"/>
                </a:ext>
              </a:extLst>
            </p:cNvPr>
            <p:cNvSpPr/>
            <p:nvPr/>
          </p:nvSpPr>
          <p:spPr>
            <a:xfrm>
              <a:off x="8232873" y="0"/>
              <a:ext cx="1584798" cy="3989070"/>
            </a:xfrm>
            <a:custGeom>
              <a:avLst/>
              <a:gdLst>
                <a:gd name="connsiteX0" fmla="*/ 326927 w 1584798"/>
                <a:gd name="connsiteY0" fmla="*/ 2041525 h 3989070"/>
                <a:gd name="connsiteX1" fmla="*/ 1184177 w 1584798"/>
                <a:gd name="connsiteY1" fmla="*/ 3653536 h 3989070"/>
                <a:gd name="connsiteX2" fmla="*/ 688877 w 1584798"/>
                <a:gd name="connsiteY2" fmla="*/ 3725799 h 3989070"/>
                <a:gd name="connsiteX3" fmla="*/ 589001 w 1584798"/>
                <a:gd name="connsiteY3" fmla="*/ 3885766 h 3989070"/>
                <a:gd name="connsiteX4" fmla="*/ 718976 w 1584798"/>
                <a:gd name="connsiteY4" fmla="*/ 3989070 h 3989070"/>
                <a:gd name="connsiteX5" fmla="*/ 749329 w 1584798"/>
                <a:gd name="connsiteY5" fmla="*/ 3985641 h 3989070"/>
                <a:gd name="connsiteX6" fmla="*/ 1449607 w 1584798"/>
                <a:gd name="connsiteY6" fmla="*/ 3912997 h 3989070"/>
                <a:gd name="connsiteX7" fmla="*/ 1451131 w 1584798"/>
                <a:gd name="connsiteY7" fmla="*/ 3912997 h 3989070"/>
                <a:gd name="connsiteX8" fmla="*/ 1584798 w 1584798"/>
                <a:gd name="connsiteY8" fmla="*/ 3779965 h 3989070"/>
                <a:gd name="connsiteX9" fmla="*/ 1552731 w 1584798"/>
                <a:gd name="connsiteY9" fmla="*/ 3692906 h 3989070"/>
                <a:gd name="connsiteX10" fmla="*/ 574831 w 1584798"/>
                <a:gd name="connsiteY10" fmla="*/ 1942465 h 3989070"/>
                <a:gd name="connsiteX11" fmla="*/ 272063 w 1584798"/>
                <a:gd name="connsiteY11" fmla="*/ 0 h 3989070"/>
                <a:gd name="connsiteX12" fmla="*/ 7903 w 1584798"/>
                <a:gd name="connsiteY12" fmla="*/ 0 h 3989070"/>
                <a:gd name="connsiteX13" fmla="*/ 1553 w 1584798"/>
                <a:gd name="connsiteY13" fmla="*/ 148463 h 3989070"/>
                <a:gd name="connsiteX14" fmla="*/ 326927 w 1584798"/>
                <a:gd name="connsiteY14" fmla="*/ 2041525 h 398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4798" h="3989070">
                  <a:moveTo>
                    <a:pt x="326927" y="2041525"/>
                  </a:moveTo>
                  <a:cubicBezTo>
                    <a:pt x="537001" y="2615810"/>
                    <a:pt x="825483" y="3158285"/>
                    <a:pt x="1184177" y="3653536"/>
                  </a:cubicBezTo>
                  <a:cubicBezTo>
                    <a:pt x="1017388" y="3664129"/>
                    <a:pt x="851740" y="3688296"/>
                    <a:pt x="688877" y="3725799"/>
                  </a:cubicBezTo>
                  <a:cubicBezTo>
                    <a:pt x="617123" y="3742393"/>
                    <a:pt x="572408" y="3814013"/>
                    <a:pt x="589001" y="3885766"/>
                  </a:cubicBezTo>
                  <a:cubicBezTo>
                    <a:pt x="602992" y="3946261"/>
                    <a:pt x="656884" y="3989095"/>
                    <a:pt x="718976" y="3989070"/>
                  </a:cubicBezTo>
                  <a:cubicBezTo>
                    <a:pt x="729189" y="3989052"/>
                    <a:pt x="739369" y="3987902"/>
                    <a:pt x="749329" y="3985641"/>
                  </a:cubicBezTo>
                  <a:cubicBezTo>
                    <a:pt x="979011" y="3933517"/>
                    <a:pt x="1214116" y="3909128"/>
                    <a:pt x="1449607" y="3912997"/>
                  </a:cubicBezTo>
                  <a:lnTo>
                    <a:pt x="1451131" y="3912997"/>
                  </a:lnTo>
                  <a:cubicBezTo>
                    <a:pt x="1524778" y="3913172"/>
                    <a:pt x="1584623" y="3853612"/>
                    <a:pt x="1584798" y="3779965"/>
                  </a:cubicBezTo>
                  <a:cubicBezTo>
                    <a:pt x="1584874" y="3748042"/>
                    <a:pt x="1573496" y="3717152"/>
                    <a:pt x="1552731" y="3692906"/>
                  </a:cubicBezTo>
                  <a:cubicBezTo>
                    <a:pt x="1546762" y="3685921"/>
                    <a:pt x="951640" y="2984246"/>
                    <a:pt x="574831" y="1942465"/>
                  </a:cubicBezTo>
                  <a:cubicBezTo>
                    <a:pt x="333404" y="1273556"/>
                    <a:pt x="232566" y="624713"/>
                    <a:pt x="272063" y="0"/>
                  </a:cubicBezTo>
                  <a:lnTo>
                    <a:pt x="7903" y="0"/>
                  </a:lnTo>
                  <a:cubicBezTo>
                    <a:pt x="4939" y="49445"/>
                    <a:pt x="2822" y="98933"/>
                    <a:pt x="1553" y="148463"/>
                  </a:cubicBezTo>
                  <a:cubicBezTo>
                    <a:pt x="-14576" y="764794"/>
                    <a:pt x="95025" y="1401699"/>
                    <a:pt x="326927" y="2041525"/>
                  </a:cubicBezTo>
                  <a:close/>
                </a:path>
              </a:pathLst>
            </a:custGeom>
            <a:solidFill>
              <a:srgbClr val="FFFFFF"/>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C4F38E0F-7CD5-4BBA-95D9-8369C9118A80}"/>
                </a:ext>
              </a:extLst>
            </p:cNvPr>
            <p:cNvSpPr/>
            <p:nvPr/>
          </p:nvSpPr>
          <p:spPr>
            <a:xfrm>
              <a:off x="7042973" y="3722299"/>
              <a:ext cx="2042296" cy="3135700"/>
            </a:xfrm>
            <a:custGeom>
              <a:avLst/>
              <a:gdLst>
                <a:gd name="connsiteX0" fmla="*/ 345633 w 2042296"/>
                <a:gd name="connsiteY0" fmla="*/ 1755972 h 3135700"/>
                <a:gd name="connsiteX1" fmla="*/ 1939102 w 2042296"/>
                <a:gd name="connsiteY1" fmla="*/ 263341 h 3135700"/>
                <a:gd name="connsiteX2" fmla="*/ 2038797 w 2042296"/>
                <a:gd name="connsiteY2" fmla="*/ 103194 h 3135700"/>
                <a:gd name="connsiteX3" fmla="*/ 1878650 w 2042296"/>
                <a:gd name="connsiteY3" fmla="*/ 3499 h 3135700"/>
                <a:gd name="connsiteX4" fmla="*/ 699836 w 2042296"/>
                <a:gd name="connsiteY4" fmla="*/ 638499 h 3135700"/>
                <a:gd name="connsiteX5" fmla="*/ 88585 w 2042296"/>
                <a:gd name="connsiteY5" fmla="*/ 1685615 h 3135700"/>
                <a:gd name="connsiteX6" fmla="*/ 137606 w 2042296"/>
                <a:gd name="connsiteY6" fmla="*/ 3135701 h 3135700"/>
                <a:gd name="connsiteX7" fmla="*/ 422849 w 2042296"/>
                <a:gd name="connsiteY7" fmla="*/ 3135701 h 3135700"/>
                <a:gd name="connsiteX8" fmla="*/ 345632 w 2042296"/>
                <a:gd name="connsiteY8" fmla="*/ 1755972 h 31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2296" h="3135700">
                  <a:moveTo>
                    <a:pt x="345633" y="1755972"/>
                  </a:moveTo>
                  <a:cubicBezTo>
                    <a:pt x="555691" y="993972"/>
                    <a:pt x="1136589" y="450285"/>
                    <a:pt x="1939102" y="263341"/>
                  </a:cubicBezTo>
                  <a:cubicBezTo>
                    <a:pt x="2010856" y="246648"/>
                    <a:pt x="2055490" y="174948"/>
                    <a:pt x="2038797" y="103194"/>
                  </a:cubicBezTo>
                  <a:cubicBezTo>
                    <a:pt x="2022103" y="31441"/>
                    <a:pt x="1950403" y="-13194"/>
                    <a:pt x="1878650" y="3499"/>
                  </a:cubicBezTo>
                  <a:cubicBezTo>
                    <a:pt x="1413830" y="111830"/>
                    <a:pt x="1017209" y="325317"/>
                    <a:pt x="699836" y="638499"/>
                  </a:cubicBezTo>
                  <a:cubicBezTo>
                    <a:pt x="407812" y="927915"/>
                    <a:pt x="197014" y="1289025"/>
                    <a:pt x="88585" y="1685615"/>
                  </a:cubicBezTo>
                  <a:cubicBezTo>
                    <a:pt x="-44422" y="2162536"/>
                    <a:pt x="-27305" y="2668851"/>
                    <a:pt x="137606" y="3135701"/>
                  </a:cubicBezTo>
                  <a:lnTo>
                    <a:pt x="422849" y="3135701"/>
                  </a:lnTo>
                  <a:cubicBezTo>
                    <a:pt x="245142" y="2697007"/>
                    <a:pt x="217986" y="2211755"/>
                    <a:pt x="345632" y="1755972"/>
                  </a:cubicBezTo>
                  <a:close/>
                </a:path>
              </a:pathLst>
            </a:custGeom>
            <a:solidFill>
              <a:schemeClr val="tx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62332358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 Left 3">
    <p:bg>
      <p:bgPr>
        <a:solidFill>
          <a:schemeClr val="accent6"/>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lvl1pPr algn="ctr">
              <a:defRPr/>
            </a:lvl1pPr>
          </a:lstStyle>
          <a:p>
            <a:r>
              <a:rPr lang="en-US"/>
              <a:t>dd Month 2021</a:t>
            </a:r>
            <a:endParaRPr lang="en-GB"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8" name="Quote Icon">
            <a:extLst>
              <a:ext uri="{FF2B5EF4-FFF2-40B4-BE49-F238E27FC236}">
                <a16:creationId xmlns:a16="http://schemas.microsoft.com/office/drawing/2014/main" id="{ED1ABE6B-EC7D-43C9-97DF-9A881CF6739C}"/>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7" name="Group 16">
            <a:extLst>
              <a:ext uri="{FF2B5EF4-FFF2-40B4-BE49-F238E27FC236}">
                <a16:creationId xmlns:a16="http://schemas.microsoft.com/office/drawing/2014/main" id="{29BB6CF9-9291-4113-A7AC-4C75F2D6CF55}"/>
              </a:ext>
            </a:extLst>
          </p:cNvPr>
          <p:cNvGrpSpPr/>
          <p:nvPr userDrawn="1"/>
        </p:nvGrpSpPr>
        <p:grpSpPr>
          <a:xfrm>
            <a:off x="7547448" y="0"/>
            <a:ext cx="4612546" cy="6857999"/>
            <a:chOff x="7547448" y="0"/>
            <a:chExt cx="4612546" cy="6857999"/>
          </a:xfrm>
        </p:grpSpPr>
        <p:sp>
          <p:nvSpPr>
            <p:cNvPr id="19" name="Freeform: Shape 18">
              <a:extLst>
                <a:ext uri="{FF2B5EF4-FFF2-40B4-BE49-F238E27FC236}">
                  <a16:creationId xmlns:a16="http://schemas.microsoft.com/office/drawing/2014/main" id="{4DB04BF7-DF39-4EBE-9D44-70C135CBB8DA}"/>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chemeClr val="tx2"/>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5BFFD33-2B54-4619-9C49-49884BA7763F}"/>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63124703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 Statistic Left 3">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lvl1pPr algn="ctr">
              <a:defRPr/>
            </a:lvl1pPr>
          </a:lstStyle>
          <a:p>
            <a:r>
              <a:rPr lang="en-US"/>
              <a:t>dd Month 2021</a:t>
            </a:r>
            <a:endParaRPr lang="en-GB"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1" name="Quote Icon / Statistic">
            <a:extLst>
              <a:ext uri="{FF2B5EF4-FFF2-40B4-BE49-F238E27FC236}">
                <a16:creationId xmlns:a16="http://schemas.microsoft.com/office/drawing/2014/main" id="{BA592EBC-D3FD-4F62-A485-627134BEB78E}"/>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2" name="Group 11">
            <a:extLst>
              <a:ext uri="{FF2B5EF4-FFF2-40B4-BE49-F238E27FC236}">
                <a16:creationId xmlns:a16="http://schemas.microsoft.com/office/drawing/2014/main" id="{B48C54C2-4F86-454E-82F5-80FF402FD3C9}"/>
              </a:ext>
            </a:extLst>
          </p:cNvPr>
          <p:cNvGrpSpPr/>
          <p:nvPr userDrawn="1"/>
        </p:nvGrpSpPr>
        <p:grpSpPr>
          <a:xfrm>
            <a:off x="7547448" y="0"/>
            <a:ext cx="4612546" cy="6857999"/>
            <a:chOff x="7547448" y="0"/>
            <a:chExt cx="4612546" cy="6857999"/>
          </a:xfrm>
        </p:grpSpPr>
        <p:sp>
          <p:nvSpPr>
            <p:cNvPr id="13" name="Freeform: Shape 12">
              <a:extLst>
                <a:ext uri="{FF2B5EF4-FFF2-40B4-BE49-F238E27FC236}">
                  <a16:creationId xmlns:a16="http://schemas.microsoft.com/office/drawing/2014/main" id="{DE469C0B-9D89-40AC-92A1-CE734F755744}"/>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chemeClr val="tx2"/>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2C34488E-32D2-4934-A141-CD80F55CEE6E}"/>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98966806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ccolades">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BE949CFC-1E62-4DFE-9903-0273E5EB21CA}"/>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5"/>
          </a:solidFill>
          <a:ln w="12700" cap="flat">
            <a:noFill/>
            <a:prstDash val="solid"/>
            <a:miter/>
          </a:ln>
        </p:spPr>
        <p:txBody>
          <a:bodyPr rtlCol="0" anchor="ctr"/>
          <a:lstStyle/>
          <a:p>
            <a:endParaRPr lang="en-GB"/>
          </a:p>
        </p:txBody>
      </p:sp>
      <p:sp>
        <p:nvSpPr>
          <p:cNvPr id="30" name="Text Placeholder 2">
            <a:extLst>
              <a:ext uri="{FF2B5EF4-FFF2-40B4-BE49-F238E27FC236}">
                <a16:creationId xmlns:a16="http://schemas.microsoft.com/office/drawing/2014/main" id="{E2A2A036-A8C1-4410-8C99-D7E221447D29}"/>
              </a:ext>
            </a:extLst>
          </p:cNvPr>
          <p:cNvSpPr>
            <a:spLocks noGrp="1"/>
          </p:cNvSpPr>
          <p:nvPr>
            <p:ph type="body" sz="quarter" idx="14"/>
          </p:nvPr>
        </p:nvSpPr>
        <p:spPr>
          <a:xfrm>
            <a:off x="8008939" y="3138500"/>
            <a:ext cx="3463924" cy="1394780"/>
          </a:xfrm>
          <a:solidFill>
            <a:schemeClr val="accent1"/>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840912" cy="720000"/>
          </a:xfrm>
        </p:spPr>
        <p:txBody>
          <a:bodyPr/>
          <a:lstStyle/>
          <a:p>
            <a:pPr lvl="0"/>
            <a:r>
              <a:rPr lang="en-US"/>
              <a:t>Click to edit Master title style</a:t>
            </a:r>
            <a:endParaRPr lang="en-GB" dirty="0"/>
          </a:p>
        </p:txBody>
      </p:sp>
      <p:sp>
        <p:nvSpPr>
          <p:cNvPr id="3" name="Text Placeholder 2">
            <a:extLst>
              <a:ext uri="{FF2B5EF4-FFF2-40B4-BE49-F238E27FC236}">
                <a16:creationId xmlns:a16="http://schemas.microsoft.com/office/drawing/2014/main" id="{3E4CD5E2-EBB2-4FA3-A395-9363F30B1E9D}"/>
              </a:ext>
            </a:extLst>
          </p:cNvPr>
          <p:cNvSpPr>
            <a:spLocks noGrp="1"/>
          </p:cNvSpPr>
          <p:nvPr userDrawn="1">
            <p:ph type="body" sz="quarter" idx="12"/>
          </p:nvPr>
        </p:nvSpPr>
        <p:spPr>
          <a:xfrm>
            <a:off x="719113" y="3138499"/>
            <a:ext cx="2552724" cy="2998776"/>
          </a:xfrm>
          <a:solidFill>
            <a:schemeClr val="tx2"/>
          </a:solidFill>
        </p:spPr>
        <p:txBody>
          <a:bodyPr lIns="108000" tIns="72000" rIns="108000" bIns="720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spcBef>
                <a:spcPts val="600"/>
              </a:spcBef>
              <a:spcAft>
                <a:spcPts val="6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9" name="Text Placeholder 2">
            <a:extLst>
              <a:ext uri="{FF2B5EF4-FFF2-40B4-BE49-F238E27FC236}">
                <a16:creationId xmlns:a16="http://schemas.microsoft.com/office/drawing/2014/main" id="{6D941C59-34BD-41A3-AF7D-C23C0260892E}"/>
              </a:ext>
            </a:extLst>
          </p:cNvPr>
          <p:cNvSpPr>
            <a:spLocks noGrp="1"/>
          </p:cNvSpPr>
          <p:nvPr>
            <p:ph type="body" sz="quarter" idx="13"/>
          </p:nvPr>
        </p:nvSpPr>
        <p:spPr>
          <a:xfrm>
            <a:off x="3452813" y="3138499"/>
            <a:ext cx="4375150" cy="2998776"/>
          </a:xfrm>
          <a:solidFill>
            <a:schemeClr val="accent2"/>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Picture Placeholder 8">
            <a:extLst>
              <a:ext uri="{FF2B5EF4-FFF2-40B4-BE49-F238E27FC236}">
                <a16:creationId xmlns:a16="http://schemas.microsoft.com/office/drawing/2014/main" id="{55C70207-70D8-41B5-841A-D7F3BD5D4EDD}"/>
              </a:ext>
            </a:extLst>
          </p:cNvPr>
          <p:cNvSpPr>
            <a:spLocks noGrp="1"/>
          </p:cNvSpPr>
          <p:nvPr>
            <p:ph type="pic" sz="quarter" idx="16"/>
          </p:nvPr>
        </p:nvSpPr>
        <p:spPr>
          <a:xfrm>
            <a:off x="719138" y="1565275"/>
            <a:ext cx="1641475" cy="1393224"/>
          </a:xfrm>
        </p:spPr>
        <p:txBody>
          <a:bodyPr/>
          <a:lstStyle/>
          <a:p>
            <a:r>
              <a:rPr lang="en-US"/>
              <a:t>Click icon to add picture</a:t>
            </a:r>
            <a:endParaRPr lang="en-GB" dirty="0"/>
          </a:p>
        </p:txBody>
      </p:sp>
      <p:sp>
        <p:nvSpPr>
          <p:cNvPr id="33" name="Picture Placeholder 8">
            <a:extLst>
              <a:ext uri="{FF2B5EF4-FFF2-40B4-BE49-F238E27FC236}">
                <a16:creationId xmlns:a16="http://schemas.microsoft.com/office/drawing/2014/main" id="{52707F8D-3492-47D7-AF94-97ADA4F892BB}"/>
              </a:ext>
            </a:extLst>
          </p:cNvPr>
          <p:cNvSpPr>
            <a:spLocks noGrp="1"/>
          </p:cNvSpPr>
          <p:nvPr>
            <p:ph type="pic" sz="quarter" idx="17"/>
          </p:nvPr>
        </p:nvSpPr>
        <p:spPr>
          <a:xfrm>
            <a:off x="3452813" y="1565275"/>
            <a:ext cx="1641475" cy="1393224"/>
          </a:xfrm>
        </p:spPr>
        <p:txBody>
          <a:bodyPr/>
          <a:lstStyle/>
          <a:p>
            <a:r>
              <a:rPr lang="en-US"/>
              <a:t>Click icon to add picture</a:t>
            </a:r>
            <a:endParaRPr lang="en-GB" dirty="0"/>
          </a:p>
        </p:txBody>
      </p:sp>
      <p:sp>
        <p:nvSpPr>
          <p:cNvPr id="34" name="Picture Placeholder 8">
            <a:extLst>
              <a:ext uri="{FF2B5EF4-FFF2-40B4-BE49-F238E27FC236}">
                <a16:creationId xmlns:a16="http://schemas.microsoft.com/office/drawing/2014/main" id="{BD8F2EF5-333B-4333-A8B8-E1FC40862BB1}"/>
              </a:ext>
            </a:extLst>
          </p:cNvPr>
          <p:cNvSpPr>
            <a:spLocks noGrp="1"/>
          </p:cNvSpPr>
          <p:nvPr>
            <p:ph type="pic" sz="quarter" idx="18"/>
          </p:nvPr>
        </p:nvSpPr>
        <p:spPr>
          <a:xfrm>
            <a:off x="8008939" y="1565275"/>
            <a:ext cx="1641475" cy="1393224"/>
          </a:xfrm>
        </p:spPr>
        <p:txBody>
          <a:bodyPr/>
          <a:lstStyle/>
          <a:p>
            <a:r>
              <a:rPr lang="en-US"/>
              <a:t>Click icon to add picture</a:t>
            </a:r>
            <a:endParaRPr lang="en-GB" dirty="0"/>
          </a:p>
        </p:txBody>
      </p:sp>
      <p:sp>
        <p:nvSpPr>
          <p:cNvPr id="35" name="Text Placeholder 2">
            <a:extLst>
              <a:ext uri="{FF2B5EF4-FFF2-40B4-BE49-F238E27FC236}">
                <a16:creationId xmlns:a16="http://schemas.microsoft.com/office/drawing/2014/main" id="{4621DBA4-C41D-4040-B6F9-D89D8DCF338F}"/>
              </a:ext>
            </a:extLst>
          </p:cNvPr>
          <p:cNvSpPr>
            <a:spLocks noGrp="1"/>
          </p:cNvSpPr>
          <p:nvPr>
            <p:ph type="body" sz="quarter" idx="19"/>
          </p:nvPr>
        </p:nvSpPr>
        <p:spPr>
          <a:xfrm>
            <a:off x="8008939" y="4742495"/>
            <a:ext cx="3463924" cy="1394780"/>
          </a:xfrm>
          <a:solidFill>
            <a:schemeClr val="accent1"/>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26961927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5"/>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65489D85-D0F9-4009-B631-1A6B5A0B087B}"/>
              </a:ext>
            </a:extLst>
          </p:cNvPr>
          <p:cNvGrpSpPr/>
          <p:nvPr userDrawn="1"/>
        </p:nvGrpSpPr>
        <p:grpSpPr>
          <a:xfrm>
            <a:off x="4244705" y="1244483"/>
            <a:ext cx="7948563" cy="5612872"/>
            <a:chOff x="4244705" y="1244483"/>
            <a:chExt cx="7948563" cy="5612872"/>
          </a:xfrm>
        </p:grpSpPr>
        <p:sp>
          <p:nvSpPr>
            <p:cNvPr id="10" name="Freeform: Shape 9">
              <a:extLst>
                <a:ext uri="{FF2B5EF4-FFF2-40B4-BE49-F238E27FC236}">
                  <a16:creationId xmlns:a16="http://schemas.microsoft.com/office/drawing/2014/main" id="{62BD671C-1B9C-4960-A042-4A14DEB69BFA}"/>
                </a:ext>
              </a:extLst>
            </p:cNvPr>
            <p:cNvSpPr/>
            <p:nvPr/>
          </p:nvSpPr>
          <p:spPr>
            <a:xfrm>
              <a:off x="10117025" y="1244483"/>
              <a:ext cx="2076243" cy="1114055"/>
            </a:xfrm>
            <a:custGeom>
              <a:avLst/>
              <a:gdLst>
                <a:gd name="connsiteX0" fmla="*/ 51038 w 2076243"/>
                <a:gd name="connsiteY0" fmla="*/ 875456 h 1114055"/>
                <a:gd name="connsiteX1" fmla="*/ 28561 w 2076243"/>
                <a:gd name="connsiteY1" fmla="*/ 1063017 h 1114055"/>
                <a:gd name="connsiteX2" fmla="*/ 216123 w 2076243"/>
                <a:gd name="connsiteY2" fmla="*/ 1085494 h 1114055"/>
                <a:gd name="connsiteX3" fmla="*/ 1916366 w 2076243"/>
                <a:gd name="connsiteY3" fmla="*/ 302359 h 1114055"/>
                <a:gd name="connsiteX4" fmla="*/ 2076244 w 2076243"/>
                <a:gd name="connsiteY4" fmla="*/ 270993 h 1114055"/>
                <a:gd name="connsiteX5" fmla="*/ 2076244 w 2076243"/>
                <a:gd name="connsiteY5" fmla="*/ 0 h 1114055"/>
                <a:gd name="connsiteX6" fmla="*/ 1860364 w 2076243"/>
                <a:gd name="connsiteY6" fmla="*/ 41525 h 1114055"/>
                <a:gd name="connsiteX7" fmla="*/ 51038 w 2076243"/>
                <a:gd name="connsiteY7" fmla="*/ 875456 h 1114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243" h="1114055">
                  <a:moveTo>
                    <a:pt x="51038" y="875456"/>
                  </a:moveTo>
                  <a:cubicBezTo>
                    <a:pt x="-6962" y="921043"/>
                    <a:pt x="-17026" y="1005017"/>
                    <a:pt x="28561" y="1063017"/>
                  </a:cubicBezTo>
                  <a:cubicBezTo>
                    <a:pt x="74148" y="1121018"/>
                    <a:pt x="158122" y="1131081"/>
                    <a:pt x="216123" y="1085494"/>
                  </a:cubicBezTo>
                  <a:cubicBezTo>
                    <a:pt x="705789" y="701990"/>
                    <a:pt x="1277870" y="438490"/>
                    <a:pt x="1916366" y="302359"/>
                  </a:cubicBezTo>
                  <a:cubicBezTo>
                    <a:pt x="1969828" y="290930"/>
                    <a:pt x="2023036" y="280644"/>
                    <a:pt x="2076244" y="270993"/>
                  </a:cubicBezTo>
                  <a:lnTo>
                    <a:pt x="2076244" y="0"/>
                  </a:lnTo>
                  <a:cubicBezTo>
                    <a:pt x="2004538" y="12445"/>
                    <a:pt x="1932579" y="26287"/>
                    <a:pt x="1860364" y="41525"/>
                  </a:cubicBezTo>
                  <a:cubicBezTo>
                    <a:pt x="1181614" y="186291"/>
                    <a:pt x="572959" y="466935"/>
                    <a:pt x="51038" y="875456"/>
                  </a:cubicBezTo>
                  <a:close/>
                </a:path>
              </a:pathLst>
            </a:custGeom>
            <a:solidFill>
              <a:srgbClr val="FFFFFF"/>
            </a:solidFill>
            <a:ln w="1269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71775B54-885A-4778-A047-973BA88B55AB}"/>
                </a:ext>
              </a:extLst>
            </p:cNvPr>
            <p:cNvSpPr/>
            <p:nvPr/>
          </p:nvSpPr>
          <p:spPr>
            <a:xfrm>
              <a:off x="4244705" y="2099323"/>
              <a:ext cx="6124043" cy="4758032"/>
            </a:xfrm>
            <a:custGeom>
              <a:avLst/>
              <a:gdLst>
                <a:gd name="connsiteX0" fmla="*/ 1597891 w 6124043"/>
                <a:gd name="connsiteY0" fmla="*/ 3022105 h 4758032"/>
                <a:gd name="connsiteX1" fmla="*/ 3999490 w 6124043"/>
                <a:gd name="connsiteY1" fmla="*/ 3712667 h 4758032"/>
                <a:gd name="connsiteX2" fmla="*/ 4187860 w 6124043"/>
                <a:gd name="connsiteY2" fmla="*/ 3721286 h 4758032"/>
                <a:gd name="connsiteX3" fmla="*/ 4230481 w 6124043"/>
                <a:gd name="connsiteY3" fmla="*/ 3637744 h 4758032"/>
                <a:gd name="connsiteX4" fmla="*/ 4554301 w 6124043"/>
                <a:gd name="connsiteY4" fmla="*/ 2404308 h 4758032"/>
                <a:gd name="connsiteX5" fmla="*/ 6073205 w 6124043"/>
                <a:gd name="connsiteY5" fmla="*/ 238146 h 4758032"/>
                <a:gd name="connsiteX6" fmla="*/ 6095428 w 6124043"/>
                <a:gd name="connsiteY6" fmla="*/ 50839 h 4758032"/>
                <a:gd name="connsiteX7" fmla="*/ 5908120 w 6124043"/>
                <a:gd name="connsiteY7" fmla="*/ 28616 h 4758032"/>
                <a:gd name="connsiteX8" fmla="*/ 4301975 w 6124043"/>
                <a:gd name="connsiteY8" fmla="*/ 2317449 h 4758032"/>
                <a:gd name="connsiteX9" fmla="*/ 4008633 w 6124043"/>
                <a:gd name="connsiteY9" fmla="*/ 3342624 h 4758032"/>
                <a:gd name="connsiteX10" fmla="*/ 2847708 w 6124043"/>
                <a:gd name="connsiteY10" fmla="*/ 2691174 h 4758032"/>
                <a:gd name="connsiteX11" fmla="*/ 1503412 w 6124043"/>
                <a:gd name="connsiteY11" fmla="*/ 2772574 h 4758032"/>
                <a:gd name="connsiteX12" fmla="*/ 436712 w 6124043"/>
                <a:gd name="connsiteY12" fmla="*/ 3580726 h 4758032"/>
                <a:gd name="connsiteX13" fmla="*/ 0 w 6124043"/>
                <a:gd name="connsiteY13" fmla="*/ 4758033 h 4758032"/>
                <a:gd name="connsiteX14" fmla="*/ 267437 w 6124043"/>
                <a:gd name="connsiteY14" fmla="*/ 4758033 h 4758032"/>
                <a:gd name="connsiteX15" fmla="*/ 1597891 w 6124043"/>
                <a:gd name="connsiteY15" fmla="*/ 3022105 h 475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24043" h="4758032">
                  <a:moveTo>
                    <a:pt x="1597891" y="3022105"/>
                  </a:moveTo>
                  <a:cubicBezTo>
                    <a:pt x="2434489" y="2705905"/>
                    <a:pt x="3309945" y="2957596"/>
                    <a:pt x="3999490" y="3712667"/>
                  </a:cubicBezTo>
                  <a:cubicBezTo>
                    <a:pt x="4049127" y="3767064"/>
                    <a:pt x="4133463" y="3770923"/>
                    <a:pt x="4187860" y="3721286"/>
                  </a:cubicBezTo>
                  <a:cubicBezTo>
                    <a:pt x="4211716" y="3699519"/>
                    <a:pt x="4226860" y="3669833"/>
                    <a:pt x="4230481" y="3637744"/>
                  </a:cubicBezTo>
                  <a:cubicBezTo>
                    <a:pt x="4231116" y="3632410"/>
                    <a:pt x="4293975" y="3091695"/>
                    <a:pt x="4554301" y="2404308"/>
                  </a:cubicBezTo>
                  <a:cubicBezTo>
                    <a:pt x="4792276" y="1774447"/>
                    <a:pt x="5249053" y="887309"/>
                    <a:pt x="6073205" y="238146"/>
                  </a:cubicBezTo>
                  <a:cubicBezTo>
                    <a:pt x="6131065" y="192559"/>
                    <a:pt x="6141014" y="108699"/>
                    <a:pt x="6095428" y="50839"/>
                  </a:cubicBezTo>
                  <a:cubicBezTo>
                    <a:pt x="6049841" y="-7022"/>
                    <a:pt x="5965980" y="-16971"/>
                    <a:pt x="5908120" y="28616"/>
                  </a:cubicBezTo>
                  <a:cubicBezTo>
                    <a:pt x="5033300" y="717653"/>
                    <a:pt x="4551888" y="1654063"/>
                    <a:pt x="4301975" y="2317449"/>
                  </a:cubicBezTo>
                  <a:cubicBezTo>
                    <a:pt x="4176116" y="2650508"/>
                    <a:pt x="4078001" y="2993400"/>
                    <a:pt x="4008633" y="3342624"/>
                  </a:cubicBezTo>
                  <a:cubicBezTo>
                    <a:pt x="3657638" y="3013725"/>
                    <a:pt x="3268039" y="2794924"/>
                    <a:pt x="2847708" y="2691174"/>
                  </a:cubicBezTo>
                  <a:cubicBezTo>
                    <a:pt x="2401767" y="2580866"/>
                    <a:pt x="1932784" y="2609264"/>
                    <a:pt x="1503412" y="2772574"/>
                  </a:cubicBezTo>
                  <a:cubicBezTo>
                    <a:pt x="1077314" y="2933386"/>
                    <a:pt x="706849" y="3214057"/>
                    <a:pt x="436712" y="3580726"/>
                  </a:cubicBezTo>
                  <a:cubicBezTo>
                    <a:pt x="181480" y="3923286"/>
                    <a:pt x="29911" y="4331892"/>
                    <a:pt x="0" y="4758033"/>
                  </a:cubicBezTo>
                  <a:lnTo>
                    <a:pt x="267437" y="4758033"/>
                  </a:lnTo>
                  <a:cubicBezTo>
                    <a:pt x="328010" y="3992421"/>
                    <a:pt x="850821" y="3304400"/>
                    <a:pt x="1597891" y="3022105"/>
                  </a:cubicBezTo>
                  <a:close/>
                </a:path>
              </a:pathLst>
            </a:custGeom>
            <a:solidFill>
              <a:schemeClr val="tx2"/>
            </a:solidFill>
            <a:ln w="12690" cap="flat">
              <a:noFill/>
              <a:prstDash val="solid"/>
              <a:miter/>
            </a:ln>
          </p:spPr>
          <p:txBody>
            <a:bodyPr rtlCol="0" anchor="ctr"/>
            <a:lstStyle/>
            <a:p>
              <a:endParaRPr lang="en-GB"/>
            </a:p>
          </p:txBody>
        </p:sp>
      </p:grpSp>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9138" y="719138"/>
            <a:ext cx="1822450" cy="321910"/>
          </a:xfrm>
          <a:prstGeom prst="rect">
            <a:avLst/>
          </a:prstGeom>
        </p:spPr>
      </p:pic>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7817089" y="719138"/>
            <a:ext cx="4376737" cy="5418137"/>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tx2"/>
          </a:solidFill>
        </p:spPr>
        <p:txBody>
          <a:bodyPr wrap="none" tIns="36000" rIns="72000" bIns="36000" anchor="ctr" anchorCtr="0">
            <a:spAutoFit/>
          </a:bodyPr>
          <a:lstStyle>
            <a:lvl1pPr marL="0" algn="ctr">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29603413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58921" y="5825325"/>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2541588" y="3028139"/>
            <a:ext cx="1660897" cy="448468"/>
          </a:xfrm>
          <a:prstGeom prst="roundRect">
            <a:avLst>
              <a:gd name="adj" fmla="val 50000"/>
            </a:avLst>
          </a:prstGeom>
          <a:solidFill>
            <a:schemeClr val="tx2"/>
          </a:solidFill>
        </p:spPr>
        <p:txBody>
          <a:bodyPr wrap="none" tIns="36000" rIns="72000" bIns="36000" anchor="ctr" anchorCtr="0">
            <a:spAutoFit/>
          </a:bodyPr>
          <a:lstStyle>
            <a:lvl1pPr marL="0" algn="ctr">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2541588" y="2344139"/>
            <a:ext cx="6197600" cy="50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2541588" y="719138"/>
            <a:ext cx="8018462" cy="1444979"/>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grpSp>
        <p:nvGrpSpPr>
          <p:cNvPr id="40" name="Group 39">
            <a:extLst>
              <a:ext uri="{FF2B5EF4-FFF2-40B4-BE49-F238E27FC236}">
                <a16:creationId xmlns:a16="http://schemas.microsoft.com/office/drawing/2014/main" id="{EDF663FA-9A4B-4327-BA90-F0E24E7DEF24}"/>
              </a:ext>
            </a:extLst>
          </p:cNvPr>
          <p:cNvGrpSpPr/>
          <p:nvPr userDrawn="1"/>
        </p:nvGrpSpPr>
        <p:grpSpPr>
          <a:xfrm>
            <a:off x="454409" y="2997467"/>
            <a:ext cx="11748559" cy="3159175"/>
            <a:chOff x="454409" y="2997467"/>
            <a:chExt cx="11748559" cy="3159175"/>
          </a:xfrm>
        </p:grpSpPr>
        <p:sp>
          <p:nvSpPr>
            <p:cNvPr id="41" name="Freeform: Shape 40">
              <a:extLst>
                <a:ext uri="{FF2B5EF4-FFF2-40B4-BE49-F238E27FC236}">
                  <a16:creationId xmlns:a16="http://schemas.microsoft.com/office/drawing/2014/main" id="{CFBF558B-3C16-43E7-870C-049168C25D2B}"/>
                </a:ext>
              </a:extLst>
            </p:cNvPr>
            <p:cNvSpPr/>
            <p:nvPr userDrawn="1"/>
          </p:nvSpPr>
          <p:spPr>
            <a:xfrm>
              <a:off x="2917671" y="3567419"/>
              <a:ext cx="9285297" cy="1230491"/>
            </a:xfrm>
            <a:custGeom>
              <a:avLst/>
              <a:gdLst>
                <a:gd name="connsiteX0" fmla="*/ 9285297 w 9285297"/>
                <a:gd name="connsiteY0" fmla="*/ 0 h 1230491"/>
                <a:gd name="connsiteX1" fmla="*/ 9285297 w 9285297"/>
                <a:gd name="connsiteY1" fmla="*/ 248666 h 1230491"/>
                <a:gd name="connsiteX2" fmla="*/ 9179918 w 9285297"/>
                <a:gd name="connsiteY2" fmla="*/ 272756 h 1230491"/>
                <a:gd name="connsiteX3" fmla="*/ 3039595 w 9285297"/>
                <a:gd name="connsiteY3" fmla="*/ 1146580 h 1230491"/>
                <a:gd name="connsiteX4" fmla="*/ 662859 w 9285297"/>
                <a:gd name="connsiteY4" fmla="*/ 1230491 h 1230491"/>
                <a:gd name="connsiteX5" fmla="*/ 0 w 9285297"/>
                <a:gd name="connsiteY5" fmla="*/ 1220449 h 1230491"/>
                <a:gd name="connsiteX6" fmla="*/ 10388 w 9285297"/>
                <a:gd name="connsiteY6" fmla="*/ 978067 h 1230491"/>
                <a:gd name="connsiteX7" fmla="*/ 3029669 w 9285297"/>
                <a:gd name="connsiteY7" fmla="*/ 904082 h 1230491"/>
                <a:gd name="connsiteX8" fmla="*/ 9133527 w 9285297"/>
                <a:gd name="connsiteY8" fmla="*/ 34712 h 1230491"/>
                <a:gd name="connsiteX9" fmla="*/ 9285297 w 9285297"/>
                <a:gd name="connsiteY9" fmla="*/ 0 h 123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85297" h="1230491">
                  <a:moveTo>
                    <a:pt x="9285297" y="0"/>
                  </a:moveTo>
                  <a:lnTo>
                    <a:pt x="9285297" y="248666"/>
                  </a:lnTo>
                  <a:lnTo>
                    <a:pt x="9179918" y="272756"/>
                  </a:lnTo>
                  <a:cubicBezTo>
                    <a:pt x="6729077" y="814541"/>
                    <a:pt x="4528431" y="1047102"/>
                    <a:pt x="3039595" y="1146580"/>
                  </a:cubicBezTo>
                  <a:cubicBezTo>
                    <a:pt x="2013277" y="1215140"/>
                    <a:pt x="1191831" y="1230491"/>
                    <a:pt x="662859" y="1230491"/>
                  </a:cubicBezTo>
                  <a:cubicBezTo>
                    <a:pt x="240882" y="1230491"/>
                    <a:pt x="4963" y="1220680"/>
                    <a:pt x="0" y="1220449"/>
                  </a:cubicBezTo>
                  <a:lnTo>
                    <a:pt x="10388" y="978067"/>
                  </a:lnTo>
                  <a:cubicBezTo>
                    <a:pt x="21930" y="978644"/>
                    <a:pt x="1195755" y="1026889"/>
                    <a:pt x="3029669" y="904082"/>
                  </a:cubicBezTo>
                  <a:cubicBezTo>
                    <a:pt x="4510022" y="804907"/>
                    <a:pt x="6697766" y="573444"/>
                    <a:pt x="9133527" y="34712"/>
                  </a:cubicBezTo>
                  <a:lnTo>
                    <a:pt x="928529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oAutofit/>
            </a:bodyPr>
            <a:lstStyle/>
            <a:p>
              <a:pPr algn="ctr"/>
              <a:endParaRPr lang="en-GB" sz="1400" dirty="0">
                <a:solidFill>
                  <a:schemeClr val="tx1"/>
                </a:solidFill>
              </a:endParaRPr>
            </a:p>
          </p:txBody>
        </p:sp>
        <p:sp>
          <p:nvSpPr>
            <p:cNvPr id="42" name="Freeform: Shape 41">
              <a:extLst>
                <a:ext uri="{FF2B5EF4-FFF2-40B4-BE49-F238E27FC236}">
                  <a16:creationId xmlns:a16="http://schemas.microsoft.com/office/drawing/2014/main" id="{CB6E0637-89BF-4A6E-AA34-59E5F0C809D4}"/>
                </a:ext>
              </a:extLst>
            </p:cNvPr>
            <p:cNvSpPr/>
            <p:nvPr/>
          </p:nvSpPr>
          <p:spPr>
            <a:xfrm>
              <a:off x="2801559" y="4334337"/>
              <a:ext cx="4861221" cy="463340"/>
            </a:xfrm>
            <a:custGeom>
              <a:avLst/>
              <a:gdLst>
                <a:gd name="connsiteX0" fmla="*/ 848866 w 5348927"/>
                <a:gd name="connsiteY0" fmla="*/ 509825 h 509825"/>
                <a:gd name="connsiteX1" fmla="*/ 127760 w 5348927"/>
                <a:gd name="connsiteY1" fmla="*/ 499030 h 509825"/>
                <a:gd name="connsiteX2" fmla="*/ 125 w 5348927"/>
                <a:gd name="connsiteY2" fmla="*/ 359965 h 509825"/>
                <a:gd name="connsiteX3" fmla="*/ 139190 w 5348927"/>
                <a:gd name="connsiteY3" fmla="*/ 232330 h 509825"/>
                <a:gd name="connsiteX4" fmla="*/ 5198870 w 5348927"/>
                <a:gd name="connsiteY4" fmla="*/ 1063 h 509825"/>
                <a:gd name="connsiteX5" fmla="*/ 5347866 w 5348927"/>
                <a:gd name="connsiteY5" fmla="*/ 116671 h 509825"/>
                <a:gd name="connsiteX6" fmla="*/ 5232246 w 5348927"/>
                <a:gd name="connsiteY6" fmla="*/ 265668 h 509825"/>
                <a:gd name="connsiteX7" fmla="*/ 5226810 w 5348927"/>
                <a:gd name="connsiteY7" fmla="*/ 266239 h 509825"/>
                <a:gd name="connsiteX8" fmla="*/ 848866 w 5348927"/>
                <a:gd name="connsiteY8" fmla="*/ 509825 h 50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8927" h="509825">
                  <a:moveTo>
                    <a:pt x="848866" y="509825"/>
                  </a:moveTo>
                  <a:cubicBezTo>
                    <a:pt x="390650" y="509825"/>
                    <a:pt x="134872" y="499411"/>
                    <a:pt x="127760" y="499030"/>
                  </a:cubicBezTo>
                  <a:cubicBezTo>
                    <a:pt x="54113" y="495868"/>
                    <a:pt x="-3037" y="433613"/>
                    <a:pt x="125" y="359965"/>
                  </a:cubicBezTo>
                  <a:cubicBezTo>
                    <a:pt x="3287" y="286318"/>
                    <a:pt x="65543" y="229168"/>
                    <a:pt x="139190" y="232330"/>
                  </a:cubicBezTo>
                  <a:cubicBezTo>
                    <a:pt x="159510" y="233219"/>
                    <a:pt x="2207512" y="316404"/>
                    <a:pt x="5198870" y="1063"/>
                  </a:cubicBezTo>
                  <a:cubicBezTo>
                    <a:pt x="5271934" y="-8157"/>
                    <a:pt x="5338647" y="43608"/>
                    <a:pt x="5347866" y="116671"/>
                  </a:cubicBezTo>
                  <a:cubicBezTo>
                    <a:pt x="5357074" y="189747"/>
                    <a:pt x="5305322" y="256448"/>
                    <a:pt x="5232246" y="265668"/>
                  </a:cubicBezTo>
                  <a:cubicBezTo>
                    <a:pt x="5230443" y="265896"/>
                    <a:pt x="5228626" y="266087"/>
                    <a:pt x="5226810" y="266239"/>
                  </a:cubicBezTo>
                  <a:cubicBezTo>
                    <a:pt x="3264914" y="473376"/>
                    <a:pt x="1704338" y="509825"/>
                    <a:pt x="848866" y="509825"/>
                  </a:cubicBezTo>
                  <a:close/>
                </a:path>
              </a:pathLst>
            </a:custGeom>
            <a:solidFill>
              <a:schemeClr val="tx1"/>
            </a:solidFill>
            <a:ln w="12700"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C40811AF-25EF-4CC1-9D75-C9F00AA24E84}"/>
                </a:ext>
              </a:extLst>
            </p:cNvPr>
            <p:cNvSpPr/>
            <p:nvPr/>
          </p:nvSpPr>
          <p:spPr>
            <a:xfrm>
              <a:off x="454409" y="2997467"/>
              <a:ext cx="2589647" cy="3159175"/>
            </a:xfrm>
            <a:custGeom>
              <a:avLst/>
              <a:gdLst>
                <a:gd name="connsiteX0" fmla="*/ 1040975 w 2849455"/>
                <a:gd name="connsiteY0" fmla="*/ 3476117 h 3476122"/>
                <a:gd name="connsiteX1" fmla="*/ 992588 w 2849455"/>
                <a:gd name="connsiteY1" fmla="*/ 3475228 h 3476122"/>
                <a:gd name="connsiteX2" fmla="*/ 264370 w 2849455"/>
                <a:gd name="connsiteY2" fmla="*/ 3111754 h 3476122"/>
                <a:gd name="connsiteX3" fmla="*/ 3766 w 2849455"/>
                <a:gd name="connsiteY3" fmla="*/ 2333625 h 3476122"/>
                <a:gd name="connsiteX4" fmla="*/ 324568 w 2849455"/>
                <a:gd name="connsiteY4" fmla="*/ 1650238 h 3476122"/>
                <a:gd name="connsiteX5" fmla="*/ 830282 w 2849455"/>
                <a:gd name="connsiteY5" fmla="*/ 1345438 h 3476122"/>
                <a:gd name="connsiteX6" fmla="*/ 806406 w 2849455"/>
                <a:gd name="connsiteY6" fmla="*/ 1315212 h 3476122"/>
                <a:gd name="connsiteX7" fmla="*/ 804882 w 2849455"/>
                <a:gd name="connsiteY7" fmla="*/ 1313307 h 3476122"/>
                <a:gd name="connsiteX8" fmla="*/ 529927 w 2849455"/>
                <a:gd name="connsiteY8" fmla="*/ 772033 h 3476122"/>
                <a:gd name="connsiteX9" fmla="*/ 738842 w 2849455"/>
                <a:gd name="connsiteY9" fmla="*/ 211201 h 3476122"/>
                <a:gd name="connsiteX10" fmla="*/ 1265257 w 2849455"/>
                <a:gd name="connsiteY10" fmla="*/ 0 h 3476122"/>
                <a:gd name="connsiteX11" fmla="*/ 1332440 w 2849455"/>
                <a:gd name="connsiteY11" fmla="*/ 2667 h 3476122"/>
                <a:gd name="connsiteX12" fmla="*/ 1956899 w 2849455"/>
                <a:gd name="connsiteY12" fmla="*/ 646557 h 3476122"/>
                <a:gd name="connsiteX13" fmla="*/ 1664799 w 2849455"/>
                <a:gd name="connsiteY13" fmla="*/ 1206246 h 3476122"/>
                <a:gd name="connsiteX14" fmla="*/ 1254843 w 2849455"/>
                <a:gd name="connsiteY14" fmla="*/ 1460246 h 3476122"/>
                <a:gd name="connsiteX15" fmla="*/ 2175466 w 2849455"/>
                <a:gd name="connsiteY15" fmla="*/ 2641981 h 3476122"/>
                <a:gd name="connsiteX16" fmla="*/ 2295608 w 2849455"/>
                <a:gd name="connsiteY16" fmla="*/ 2789555 h 3476122"/>
                <a:gd name="connsiteX17" fmla="*/ 2594058 w 2849455"/>
                <a:gd name="connsiteY17" fmla="*/ 3109214 h 3476122"/>
                <a:gd name="connsiteX18" fmla="*/ 2621998 w 2849455"/>
                <a:gd name="connsiteY18" fmla="*/ 3131947 h 3476122"/>
                <a:gd name="connsiteX19" fmla="*/ 2627840 w 2849455"/>
                <a:gd name="connsiteY19" fmla="*/ 3136900 h 3476122"/>
                <a:gd name="connsiteX20" fmla="*/ 2715343 w 2849455"/>
                <a:gd name="connsiteY20" fmla="*/ 3142361 h 3476122"/>
                <a:gd name="connsiteX21" fmla="*/ 2848693 w 2849455"/>
                <a:gd name="connsiteY21" fmla="*/ 3142361 h 3476122"/>
                <a:gd name="connsiteX22" fmla="*/ 2849455 w 2849455"/>
                <a:gd name="connsiteY22" fmla="*/ 3409061 h 3476122"/>
                <a:gd name="connsiteX23" fmla="*/ 2716105 w 2849455"/>
                <a:gd name="connsiteY23" fmla="*/ 3409061 h 3476122"/>
                <a:gd name="connsiteX24" fmla="*/ 2448008 w 2849455"/>
                <a:gd name="connsiteY24" fmla="*/ 3334131 h 3476122"/>
                <a:gd name="connsiteX25" fmla="*/ 2435308 w 2849455"/>
                <a:gd name="connsiteY25" fmla="*/ 3323336 h 3476122"/>
                <a:gd name="connsiteX26" fmla="*/ 2103203 w 2849455"/>
                <a:gd name="connsiteY26" fmla="*/ 2974340 h 3476122"/>
                <a:gd name="connsiteX27" fmla="*/ 1642066 w 2849455"/>
                <a:gd name="connsiteY27" fmla="*/ 3332734 h 3476122"/>
                <a:gd name="connsiteX28" fmla="*/ 1040975 w 2849455"/>
                <a:gd name="connsiteY28" fmla="*/ 3476117 h 3476122"/>
                <a:gd name="connsiteX29" fmla="*/ 931755 w 2849455"/>
                <a:gd name="connsiteY29" fmla="*/ 1591945 h 3476122"/>
                <a:gd name="connsiteX30" fmla="*/ 506686 w 2849455"/>
                <a:gd name="connsiteY30" fmla="*/ 1844929 h 3476122"/>
                <a:gd name="connsiteX31" fmla="*/ 269704 w 2849455"/>
                <a:gd name="connsiteY31" fmla="*/ 2354326 h 3476122"/>
                <a:gd name="connsiteX32" fmla="*/ 463506 w 2849455"/>
                <a:gd name="connsiteY32" fmla="*/ 2934335 h 3476122"/>
                <a:gd name="connsiteX33" fmla="*/ 1001478 w 2849455"/>
                <a:gd name="connsiteY33" fmla="*/ 3208655 h 3476122"/>
                <a:gd name="connsiteX34" fmla="*/ 1521543 w 2849455"/>
                <a:gd name="connsiteY34" fmla="*/ 3094990 h 3476122"/>
                <a:gd name="connsiteX35" fmla="*/ 1932515 w 2849455"/>
                <a:gd name="connsiteY35" fmla="*/ 2765552 h 3476122"/>
                <a:gd name="connsiteX36" fmla="*/ 1884382 w 2849455"/>
                <a:gd name="connsiteY36" fmla="*/ 2706370 h 3476122"/>
                <a:gd name="connsiteX37" fmla="*/ 1886541 w 2849455"/>
                <a:gd name="connsiteY37" fmla="*/ 2704592 h 3476122"/>
                <a:gd name="connsiteX38" fmla="*/ 1000462 w 2849455"/>
                <a:gd name="connsiteY38" fmla="*/ 1567307 h 3476122"/>
                <a:gd name="connsiteX39" fmla="*/ 2593042 w 2849455"/>
                <a:gd name="connsiteY39" fmla="*/ 3108198 h 3476122"/>
                <a:gd name="connsiteX40" fmla="*/ 2593677 w 2849455"/>
                <a:gd name="connsiteY40" fmla="*/ 3108198 h 3476122"/>
                <a:gd name="connsiteX41" fmla="*/ 1265892 w 2849455"/>
                <a:gd name="connsiteY41" fmla="*/ 266700 h 3476122"/>
                <a:gd name="connsiteX42" fmla="*/ 929088 w 2849455"/>
                <a:gd name="connsiteY42" fmla="*/ 398780 h 3476122"/>
                <a:gd name="connsiteX43" fmla="*/ 796246 w 2849455"/>
                <a:gd name="connsiteY43" fmla="*/ 748284 h 3476122"/>
                <a:gd name="connsiteX44" fmla="*/ 1013543 w 2849455"/>
                <a:gd name="connsiteY44" fmla="*/ 1146429 h 3476122"/>
                <a:gd name="connsiteX45" fmla="*/ 1014813 w 2849455"/>
                <a:gd name="connsiteY45" fmla="*/ 1147953 h 3476122"/>
                <a:gd name="connsiteX46" fmla="*/ 1015575 w 2849455"/>
                <a:gd name="connsiteY46" fmla="*/ 1148969 h 3476122"/>
                <a:gd name="connsiteX47" fmla="*/ 1088981 w 2849455"/>
                <a:gd name="connsiteY47" fmla="*/ 1243076 h 3476122"/>
                <a:gd name="connsiteX48" fmla="*/ 1088981 w 2849455"/>
                <a:gd name="connsiteY48" fmla="*/ 1243076 h 3476122"/>
                <a:gd name="connsiteX49" fmla="*/ 1088981 w 2849455"/>
                <a:gd name="connsiteY49" fmla="*/ 1243076 h 3476122"/>
                <a:gd name="connsiteX50" fmla="*/ 1088981 w 2849455"/>
                <a:gd name="connsiteY50" fmla="*/ 1243076 h 3476122"/>
                <a:gd name="connsiteX51" fmla="*/ 1492333 w 2849455"/>
                <a:gd name="connsiteY51" fmla="*/ 1002665 h 3476122"/>
                <a:gd name="connsiteX52" fmla="*/ 1689945 w 2849455"/>
                <a:gd name="connsiteY52" fmla="*/ 647065 h 3476122"/>
                <a:gd name="connsiteX53" fmla="*/ 1311612 w 2849455"/>
                <a:gd name="connsiteY53" fmla="*/ 267589 h 3476122"/>
                <a:gd name="connsiteX54" fmla="*/ 1265892 w 2849455"/>
                <a:gd name="connsiteY54" fmla="*/ 266700 h 34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49455" h="3476122">
                  <a:moveTo>
                    <a:pt x="1040975" y="3476117"/>
                  </a:moveTo>
                  <a:cubicBezTo>
                    <a:pt x="1024973" y="3476117"/>
                    <a:pt x="1008717" y="3476117"/>
                    <a:pt x="992588" y="3475228"/>
                  </a:cubicBezTo>
                  <a:cubicBezTo>
                    <a:pt x="727666" y="3466465"/>
                    <a:pt x="462236" y="3333877"/>
                    <a:pt x="264370" y="3111754"/>
                  </a:cubicBezTo>
                  <a:cubicBezTo>
                    <a:pt x="73761" y="2899499"/>
                    <a:pt x="-20564" y="2617864"/>
                    <a:pt x="3766" y="2333625"/>
                  </a:cubicBezTo>
                  <a:cubicBezTo>
                    <a:pt x="24594" y="2056511"/>
                    <a:pt x="129496" y="1832610"/>
                    <a:pt x="324568" y="1650238"/>
                  </a:cubicBezTo>
                  <a:cubicBezTo>
                    <a:pt x="493986" y="1491615"/>
                    <a:pt x="692868" y="1400429"/>
                    <a:pt x="830282" y="1345438"/>
                  </a:cubicBezTo>
                  <a:lnTo>
                    <a:pt x="806406" y="1315212"/>
                  </a:lnTo>
                  <a:lnTo>
                    <a:pt x="804882" y="1313307"/>
                  </a:lnTo>
                  <a:cubicBezTo>
                    <a:pt x="678898" y="1154938"/>
                    <a:pt x="549485" y="991997"/>
                    <a:pt x="529927" y="772033"/>
                  </a:cubicBezTo>
                  <a:cubicBezTo>
                    <a:pt x="512401" y="574548"/>
                    <a:pt x="592792" y="359664"/>
                    <a:pt x="738842" y="211201"/>
                  </a:cubicBezTo>
                  <a:cubicBezTo>
                    <a:pt x="876002" y="72898"/>
                    <a:pt x="1057993" y="0"/>
                    <a:pt x="1265257" y="0"/>
                  </a:cubicBezTo>
                  <a:cubicBezTo>
                    <a:pt x="1288879" y="0"/>
                    <a:pt x="1310850" y="889"/>
                    <a:pt x="1332440" y="2667"/>
                  </a:cubicBezTo>
                  <a:cubicBezTo>
                    <a:pt x="1697565" y="29337"/>
                    <a:pt x="1954740" y="294132"/>
                    <a:pt x="1956899" y="646557"/>
                  </a:cubicBezTo>
                  <a:cubicBezTo>
                    <a:pt x="1957915" y="852678"/>
                    <a:pt x="1859871" y="1040257"/>
                    <a:pt x="1664799" y="1206246"/>
                  </a:cubicBezTo>
                  <a:cubicBezTo>
                    <a:pt x="1559262" y="1295781"/>
                    <a:pt x="1424642" y="1379220"/>
                    <a:pt x="1254843" y="1460246"/>
                  </a:cubicBezTo>
                  <a:lnTo>
                    <a:pt x="2175466" y="2641981"/>
                  </a:lnTo>
                  <a:lnTo>
                    <a:pt x="2295608" y="2789555"/>
                  </a:lnTo>
                  <a:cubicBezTo>
                    <a:pt x="2437594" y="2952369"/>
                    <a:pt x="2568404" y="3088005"/>
                    <a:pt x="2594058" y="3109214"/>
                  </a:cubicBezTo>
                  <a:cubicBezTo>
                    <a:pt x="2605869" y="3117977"/>
                    <a:pt x="2615140" y="3125978"/>
                    <a:pt x="2621998" y="3131947"/>
                  </a:cubicBezTo>
                  <a:lnTo>
                    <a:pt x="2627840" y="3136900"/>
                  </a:lnTo>
                  <a:cubicBezTo>
                    <a:pt x="2656733" y="3141764"/>
                    <a:pt x="2686070" y="3143593"/>
                    <a:pt x="2715343" y="3142361"/>
                  </a:cubicBezTo>
                  <a:lnTo>
                    <a:pt x="2848693" y="3142361"/>
                  </a:lnTo>
                  <a:lnTo>
                    <a:pt x="2849455" y="3409061"/>
                  </a:lnTo>
                  <a:lnTo>
                    <a:pt x="2716105" y="3409061"/>
                  </a:lnTo>
                  <a:cubicBezTo>
                    <a:pt x="2561419" y="3409061"/>
                    <a:pt x="2508714" y="3386201"/>
                    <a:pt x="2448008" y="3334131"/>
                  </a:cubicBezTo>
                  <a:cubicBezTo>
                    <a:pt x="2443055" y="3329813"/>
                    <a:pt x="2438991" y="3326384"/>
                    <a:pt x="2435308" y="3323336"/>
                  </a:cubicBezTo>
                  <a:cubicBezTo>
                    <a:pt x="2384508" y="3286252"/>
                    <a:pt x="2211153" y="3097657"/>
                    <a:pt x="2103203" y="2974340"/>
                  </a:cubicBezTo>
                  <a:cubicBezTo>
                    <a:pt x="1960455" y="3129534"/>
                    <a:pt x="1805515" y="3249930"/>
                    <a:pt x="1642066" y="3332734"/>
                  </a:cubicBezTo>
                  <a:cubicBezTo>
                    <a:pt x="1455935" y="3427603"/>
                    <a:pt x="1249890" y="3476752"/>
                    <a:pt x="1040975" y="3476117"/>
                  </a:cubicBezTo>
                  <a:close/>
                  <a:moveTo>
                    <a:pt x="931755" y="1591945"/>
                  </a:moveTo>
                  <a:cubicBezTo>
                    <a:pt x="814788" y="1638935"/>
                    <a:pt x="644481" y="1716151"/>
                    <a:pt x="506686" y="1844929"/>
                  </a:cubicBezTo>
                  <a:cubicBezTo>
                    <a:pt x="360763" y="1981454"/>
                    <a:pt x="285452" y="2143379"/>
                    <a:pt x="269704" y="2354326"/>
                  </a:cubicBezTo>
                  <a:cubicBezTo>
                    <a:pt x="251301" y="2566149"/>
                    <a:pt x="321463" y="2776131"/>
                    <a:pt x="463506" y="2934335"/>
                  </a:cubicBezTo>
                  <a:cubicBezTo>
                    <a:pt x="613112" y="3102356"/>
                    <a:pt x="809200" y="3202305"/>
                    <a:pt x="1001478" y="3208655"/>
                  </a:cubicBezTo>
                  <a:cubicBezTo>
                    <a:pt x="1181691" y="3215780"/>
                    <a:pt x="1360736" y="3176651"/>
                    <a:pt x="1521543" y="3094990"/>
                  </a:cubicBezTo>
                  <a:cubicBezTo>
                    <a:pt x="1666069" y="3021711"/>
                    <a:pt x="1804245" y="2910967"/>
                    <a:pt x="1932515" y="2765552"/>
                  </a:cubicBezTo>
                  <a:lnTo>
                    <a:pt x="1884382" y="2706370"/>
                  </a:lnTo>
                  <a:lnTo>
                    <a:pt x="1886541" y="2704592"/>
                  </a:lnTo>
                  <a:lnTo>
                    <a:pt x="1000462" y="1567307"/>
                  </a:lnTo>
                  <a:close/>
                  <a:moveTo>
                    <a:pt x="2593042" y="3108198"/>
                  </a:moveTo>
                  <a:lnTo>
                    <a:pt x="2593677" y="3108198"/>
                  </a:lnTo>
                  <a:close/>
                  <a:moveTo>
                    <a:pt x="1265892" y="266700"/>
                  </a:moveTo>
                  <a:cubicBezTo>
                    <a:pt x="1131272" y="266700"/>
                    <a:pt x="1014813" y="312420"/>
                    <a:pt x="929088" y="398780"/>
                  </a:cubicBezTo>
                  <a:cubicBezTo>
                    <a:pt x="837775" y="491363"/>
                    <a:pt x="785578" y="628650"/>
                    <a:pt x="796246" y="748284"/>
                  </a:cubicBezTo>
                  <a:cubicBezTo>
                    <a:pt x="808946" y="888746"/>
                    <a:pt x="903688" y="1008126"/>
                    <a:pt x="1013543" y="1146429"/>
                  </a:cubicBezTo>
                  <a:lnTo>
                    <a:pt x="1014813" y="1147953"/>
                  </a:lnTo>
                  <a:lnTo>
                    <a:pt x="1015575" y="1148969"/>
                  </a:lnTo>
                  <a:cubicBezTo>
                    <a:pt x="1037038" y="1176020"/>
                    <a:pt x="1063708" y="1209548"/>
                    <a:pt x="1088981" y="1243076"/>
                  </a:cubicBezTo>
                  <a:lnTo>
                    <a:pt x="1088981" y="1243076"/>
                  </a:lnTo>
                  <a:lnTo>
                    <a:pt x="1088981" y="1243076"/>
                  </a:lnTo>
                  <a:lnTo>
                    <a:pt x="1088981" y="1243076"/>
                  </a:lnTo>
                  <a:cubicBezTo>
                    <a:pt x="1262590" y="1164336"/>
                    <a:pt x="1394543" y="1085596"/>
                    <a:pt x="1492333" y="1002665"/>
                  </a:cubicBezTo>
                  <a:cubicBezTo>
                    <a:pt x="1624032" y="890778"/>
                    <a:pt x="1690580" y="771398"/>
                    <a:pt x="1689945" y="647065"/>
                  </a:cubicBezTo>
                  <a:cubicBezTo>
                    <a:pt x="1688675" y="433324"/>
                    <a:pt x="1540212" y="284353"/>
                    <a:pt x="1311612" y="267589"/>
                  </a:cubicBezTo>
                  <a:cubicBezTo>
                    <a:pt x="1296372" y="267208"/>
                    <a:pt x="1281513" y="266700"/>
                    <a:pt x="1265892" y="266700"/>
                  </a:cubicBezTo>
                  <a:close/>
                </a:path>
              </a:pathLst>
            </a:custGeom>
            <a:solidFill>
              <a:schemeClr val="tx1"/>
            </a:solidFill>
            <a:ln w="12700"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E926507F-ED8C-4F51-867C-559B7855D4C8}"/>
                </a:ext>
              </a:extLst>
            </p:cNvPr>
            <p:cNvSpPr/>
            <p:nvPr/>
          </p:nvSpPr>
          <p:spPr>
            <a:xfrm>
              <a:off x="2196074" y="4545830"/>
              <a:ext cx="2005954" cy="1148317"/>
            </a:xfrm>
            <a:custGeom>
              <a:avLst/>
              <a:gdLst>
                <a:gd name="connsiteX0" fmla="*/ 133592 w 2207203"/>
                <a:gd name="connsiteY0" fmla="*/ 1263523 h 1263523"/>
                <a:gd name="connsiteX1" fmla="*/ 0 w 2207203"/>
                <a:gd name="connsiteY1" fmla="*/ 1130161 h 1263523"/>
                <a:gd name="connsiteX2" fmla="*/ 35293 w 2207203"/>
                <a:gd name="connsiteY2" fmla="*/ 1039622 h 1263523"/>
                <a:gd name="connsiteX3" fmla="*/ 54851 w 2207203"/>
                <a:gd name="connsiteY3" fmla="*/ 1017397 h 1263523"/>
                <a:gd name="connsiteX4" fmla="*/ 125971 w 2207203"/>
                <a:gd name="connsiteY4" fmla="*/ 928497 h 1263523"/>
                <a:gd name="connsiteX5" fmla="*/ 154546 w 2207203"/>
                <a:gd name="connsiteY5" fmla="*/ 890397 h 1263523"/>
                <a:gd name="connsiteX6" fmla="*/ 178803 w 2207203"/>
                <a:gd name="connsiteY6" fmla="*/ 849503 h 1263523"/>
                <a:gd name="connsiteX7" fmla="*/ 216903 w 2207203"/>
                <a:gd name="connsiteY7" fmla="*/ 772160 h 1263523"/>
                <a:gd name="connsiteX8" fmla="*/ 243827 w 2207203"/>
                <a:gd name="connsiteY8" fmla="*/ 708660 h 1263523"/>
                <a:gd name="connsiteX9" fmla="*/ 262623 w 2207203"/>
                <a:gd name="connsiteY9" fmla="*/ 648970 h 1263523"/>
                <a:gd name="connsiteX10" fmla="*/ 277228 w 2207203"/>
                <a:gd name="connsiteY10" fmla="*/ 581406 h 1263523"/>
                <a:gd name="connsiteX11" fmla="*/ 288658 w 2207203"/>
                <a:gd name="connsiteY11" fmla="*/ 496824 h 1263523"/>
                <a:gd name="connsiteX12" fmla="*/ 298437 w 2207203"/>
                <a:gd name="connsiteY12" fmla="*/ 387477 h 1263523"/>
                <a:gd name="connsiteX13" fmla="*/ 299072 w 2207203"/>
                <a:gd name="connsiteY13" fmla="*/ 378714 h 1263523"/>
                <a:gd name="connsiteX14" fmla="*/ 307836 w 2207203"/>
                <a:gd name="connsiteY14" fmla="*/ 249047 h 1263523"/>
                <a:gd name="connsiteX15" fmla="*/ 313677 w 2207203"/>
                <a:gd name="connsiteY15" fmla="*/ 127000 h 1263523"/>
                <a:gd name="connsiteX16" fmla="*/ 446900 w 2207203"/>
                <a:gd name="connsiteY16" fmla="*/ 0 h 1263523"/>
                <a:gd name="connsiteX17" fmla="*/ 805040 w 2207203"/>
                <a:gd name="connsiteY17" fmla="*/ 0 h 1263523"/>
                <a:gd name="connsiteX18" fmla="*/ 2071611 w 2207203"/>
                <a:gd name="connsiteY18" fmla="*/ 6350 h 1263523"/>
                <a:gd name="connsiteX19" fmla="*/ 2207184 w 2207203"/>
                <a:gd name="connsiteY19" fmla="*/ 137478 h 1263523"/>
                <a:gd name="connsiteX20" fmla="*/ 2076057 w 2207203"/>
                <a:gd name="connsiteY20" fmla="*/ 273050 h 1263523"/>
                <a:gd name="connsiteX21" fmla="*/ 796531 w 2207203"/>
                <a:gd name="connsiteY21" fmla="*/ 266573 h 1263523"/>
                <a:gd name="connsiteX22" fmla="*/ 574281 w 2207203"/>
                <a:gd name="connsiteY22" fmla="*/ 266573 h 1263523"/>
                <a:gd name="connsiteX23" fmla="*/ 565518 w 2207203"/>
                <a:gd name="connsiteY23" fmla="*/ 398780 h 1263523"/>
                <a:gd name="connsiteX24" fmla="*/ 564756 w 2207203"/>
                <a:gd name="connsiteY24" fmla="*/ 407416 h 1263523"/>
                <a:gd name="connsiteX25" fmla="*/ 554215 w 2207203"/>
                <a:gd name="connsiteY25" fmla="*/ 525653 h 1263523"/>
                <a:gd name="connsiteX26" fmla="*/ 540499 w 2207203"/>
                <a:gd name="connsiteY26" fmla="*/ 626237 h 1263523"/>
                <a:gd name="connsiteX27" fmla="*/ 520942 w 2207203"/>
                <a:gd name="connsiteY27" fmla="*/ 716915 h 1263523"/>
                <a:gd name="connsiteX28" fmla="*/ 494271 w 2207203"/>
                <a:gd name="connsiteY28" fmla="*/ 801243 h 1263523"/>
                <a:gd name="connsiteX29" fmla="*/ 459473 w 2207203"/>
                <a:gd name="connsiteY29" fmla="*/ 884428 h 1263523"/>
                <a:gd name="connsiteX30" fmla="*/ 416167 w 2207203"/>
                <a:gd name="connsiteY30" fmla="*/ 972185 h 1263523"/>
                <a:gd name="connsiteX31" fmla="*/ 368542 w 2207203"/>
                <a:gd name="connsiteY31" fmla="*/ 1050417 h 1263523"/>
                <a:gd name="connsiteX32" fmla="*/ 338061 w 2207203"/>
                <a:gd name="connsiteY32" fmla="*/ 1090549 h 1263523"/>
                <a:gd name="connsiteX33" fmla="*/ 258433 w 2207203"/>
                <a:gd name="connsiteY33" fmla="*/ 1190371 h 1263523"/>
                <a:gd name="connsiteX34" fmla="*/ 231636 w 2207203"/>
                <a:gd name="connsiteY34" fmla="*/ 1220851 h 1263523"/>
                <a:gd name="connsiteX35" fmla="*/ 133592 w 2207203"/>
                <a:gd name="connsiteY35" fmla="*/ 1263523 h 1263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07203" h="1263523">
                  <a:moveTo>
                    <a:pt x="133592" y="1263523"/>
                  </a:moveTo>
                  <a:cubicBezTo>
                    <a:pt x="59881" y="1263587"/>
                    <a:pt x="64" y="1203884"/>
                    <a:pt x="0" y="1130161"/>
                  </a:cubicBezTo>
                  <a:cubicBezTo>
                    <a:pt x="-25" y="1096620"/>
                    <a:pt x="12573" y="1064298"/>
                    <a:pt x="35293" y="1039622"/>
                  </a:cubicBezTo>
                  <a:cubicBezTo>
                    <a:pt x="42024" y="1032383"/>
                    <a:pt x="47993" y="1025017"/>
                    <a:pt x="54851" y="1017397"/>
                  </a:cubicBezTo>
                  <a:cubicBezTo>
                    <a:pt x="80251" y="987298"/>
                    <a:pt x="105651" y="955421"/>
                    <a:pt x="125971" y="928497"/>
                  </a:cubicBezTo>
                  <a:cubicBezTo>
                    <a:pt x="135750" y="915797"/>
                    <a:pt x="145275" y="903097"/>
                    <a:pt x="154546" y="890397"/>
                  </a:cubicBezTo>
                  <a:cubicBezTo>
                    <a:pt x="163729" y="877443"/>
                    <a:pt x="171844" y="863765"/>
                    <a:pt x="178803" y="849503"/>
                  </a:cubicBezTo>
                  <a:cubicBezTo>
                    <a:pt x="194297" y="819404"/>
                    <a:pt x="206362" y="794893"/>
                    <a:pt x="216903" y="772160"/>
                  </a:cubicBezTo>
                  <a:cubicBezTo>
                    <a:pt x="227444" y="749427"/>
                    <a:pt x="236334" y="728091"/>
                    <a:pt x="243827" y="708660"/>
                  </a:cubicBezTo>
                  <a:cubicBezTo>
                    <a:pt x="251320" y="689229"/>
                    <a:pt x="257670" y="668274"/>
                    <a:pt x="262623" y="648970"/>
                  </a:cubicBezTo>
                  <a:cubicBezTo>
                    <a:pt x="267576" y="629666"/>
                    <a:pt x="272911" y="606298"/>
                    <a:pt x="277228" y="581406"/>
                  </a:cubicBezTo>
                  <a:cubicBezTo>
                    <a:pt x="281546" y="556514"/>
                    <a:pt x="285102" y="529463"/>
                    <a:pt x="288658" y="496824"/>
                  </a:cubicBezTo>
                  <a:cubicBezTo>
                    <a:pt x="292214" y="464185"/>
                    <a:pt x="295389" y="428879"/>
                    <a:pt x="298437" y="387477"/>
                  </a:cubicBezTo>
                  <a:lnTo>
                    <a:pt x="299072" y="378714"/>
                  </a:lnTo>
                  <a:cubicBezTo>
                    <a:pt x="302501" y="334010"/>
                    <a:pt x="305676" y="291719"/>
                    <a:pt x="307836" y="249047"/>
                  </a:cubicBezTo>
                  <a:lnTo>
                    <a:pt x="313677" y="127000"/>
                  </a:lnTo>
                  <a:cubicBezTo>
                    <a:pt x="317132" y="55918"/>
                    <a:pt x="375742" y="51"/>
                    <a:pt x="446900" y="0"/>
                  </a:cubicBezTo>
                  <a:lnTo>
                    <a:pt x="805040" y="0"/>
                  </a:lnTo>
                  <a:cubicBezTo>
                    <a:pt x="809612" y="0"/>
                    <a:pt x="1273671" y="19685"/>
                    <a:pt x="2071611" y="6350"/>
                  </a:cubicBezTo>
                  <a:cubicBezTo>
                    <a:pt x="2145259" y="5118"/>
                    <a:pt x="2205952" y="63830"/>
                    <a:pt x="2207184" y="137478"/>
                  </a:cubicBezTo>
                  <a:cubicBezTo>
                    <a:pt x="2208416" y="211125"/>
                    <a:pt x="2149704" y="271818"/>
                    <a:pt x="2076057" y="273050"/>
                  </a:cubicBezTo>
                  <a:cubicBezTo>
                    <a:pt x="1303134" y="285750"/>
                    <a:pt x="838187" y="268351"/>
                    <a:pt x="796531" y="266573"/>
                  </a:cubicBezTo>
                  <a:lnTo>
                    <a:pt x="574281" y="266573"/>
                  </a:lnTo>
                  <a:cubicBezTo>
                    <a:pt x="572123" y="311277"/>
                    <a:pt x="568693" y="355473"/>
                    <a:pt x="565518" y="398780"/>
                  </a:cubicBezTo>
                  <a:lnTo>
                    <a:pt x="564756" y="407416"/>
                  </a:lnTo>
                  <a:cubicBezTo>
                    <a:pt x="561454" y="451612"/>
                    <a:pt x="558026" y="490347"/>
                    <a:pt x="554215" y="525653"/>
                  </a:cubicBezTo>
                  <a:cubicBezTo>
                    <a:pt x="550024" y="563753"/>
                    <a:pt x="545579" y="596138"/>
                    <a:pt x="540499" y="626237"/>
                  </a:cubicBezTo>
                  <a:cubicBezTo>
                    <a:pt x="534784" y="659384"/>
                    <a:pt x="528434" y="688848"/>
                    <a:pt x="520942" y="716915"/>
                  </a:cubicBezTo>
                  <a:cubicBezTo>
                    <a:pt x="513448" y="744982"/>
                    <a:pt x="504812" y="772541"/>
                    <a:pt x="494271" y="801243"/>
                  </a:cubicBezTo>
                  <a:cubicBezTo>
                    <a:pt x="484365" y="827913"/>
                    <a:pt x="472936" y="854964"/>
                    <a:pt x="459473" y="884428"/>
                  </a:cubicBezTo>
                  <a:cubicBezTo>
                    <a:pt x="446773" y="911098"/>
                    <a:pt x="433311" y="938784"/>
                    <a:pt x="416167" y="972185"/>
                  </a:cubicBezTo>
                  <a:cubicBezTo>
                    <a:pt x="402514" y="999554"/>
                    <a:pt x="386575" y="1025716"/>
                    <a:pt x="368542" y="1050417"/>
                  </a:cubicBezTo>
                  <a:cubicBezTo>
                    <a:pt x="358762" y="1063117"/>
                    <a:pt x="348475" y="1077087"/>
                    <a:pt x="338061" y="1090549"/>
                  </a:cubicBezTo>
                  <a:cubicBezTo>
                    <a:pt x="315455" y="1120140"/>
                    <a:pt x="288023" y="1155446"/>
                    <a:pt x="258433" y="1190371"/>
                  </a:cubicBezTo>
                  <a:cubicBezTo>
                    <a:pt x="249669" y="1200785"/>
                    <a:pt x="240779" y="1210945"/>
                    <a:pt x="231636" y="1220851"/>
                  </a:cubicBezTo>
                  <a:cubicBezTo>
                    <a:pt x="206324" y="1248118"/>
                    <a:pt x="170790" y="1263587"/>
                    <a:pt x="133592" y="1263523"/>
                  </a:cubicBezTo>
                  <a:close/>
                </a:path>
              </a:pathLst>
            </a:custGeom>
            <a:solidFill>
              <a:srgbClr val="333D47"/>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13650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758928262"/>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chemeClr val="accent2"/>
        </a:solidFill>
        <a:effectLst/>
      </p:bgPr>
    </p:bg>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67195B01-251E-4F55-9C90-D997DDCDBF20}"/>
              </a:ext>
            </a:extLst>
          </p:cNvPr>
          <p:cNvSpPr/>
          <p:nvPr userDrawn="1"/>
        </p:nvSpPr>
        <p:spPr>
          <a:xfrm>
            <a:off x="7441294" y="4545904"/>
            <a:ext cx="4750706" cy="242355"/>
          </a:xfrm>
          <a:custGeom>
            <a:avLst/>
            <a:gdLst>
              <a:gd name="connsiteX0" fmla="*/ 121178 w 4750706"/>
              <a:gd name="connsiteY0" fmla="*/ 0 h 242355"/>
              <a:gd name="connsiteX1" fmla="*/ 4750706 w 4750706"/>
              <a:gd name="connsiteY1" fmla="*/ 0 h 242355"/>
              <a:gd name="connsiteX2" fmla="*/ 4750706 w 4750706"/>
              <a:gd name="connsiteY2" fmla="*/ 242355 h 242355"/>
              <a:gd name="connsiteX3" fmla="*/ 121178 w 4750706"/>
              <a:gd name="connsiteY3" fmla="*/ 242355 h 242355"/>
              <a:gd name="connsiteX4" fmla="*/ 0 w 4750706"/>
              <a:gd name="connsiteY4" fmla="*/ 121178 h 242355"/>
              <a:gd name="connsiteX5" fmla="*/ 121178 w 4750706"/>
              <a:gd name="connsiteY5" fmla="*/ 0 h 24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0706" h="242355">
                <a:moveTo>
                  <a:pt x="121178" y="0"/>
                </a:moveTo>
                <a:lnTo>
                  <a:pt x="4750706" y="0"/>
                </a:lnTo>
                <a:lnTo>
                  <a:pt x="4750706" y="242355"/>
                </a:lnTo>
                <a:lnTo>
                  <a:pt x="121178" y="242355"/>
                </a:lnTo>
                <a:cubicBezTo>
                  <a:pt x="54253" y="242355"/>
                  <a:pt x="0" y="188102"/>
                  <a:pt x="0" y="121178"/>
                </a:cubicBezTo>
                <a:cubicBezTo>
                  <a:pt x="0" y="54253"/>
                  <a:pt x="54253" y="0"/>
                  <a:pt x="12117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oAutofit/>
          </a:bodyPr>
          <a:lstStyle/>
          <a:p>
            <a:pPr algn="ctr"/>
            <a:endParaRPr lang="en-GB" sz="1400" dirty="0">
              <a:solidFill>
                <a:schemeClr val="tx1"/>
              </a:solidFill>
            </a:endParaRPr>
          </a:p>
        </p:txBody>
      </p:sp>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58921" y="5825325"/>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2541588" y="3028139"/>
            <a:ext cx="1660897" cy="448468"/>
          </a:xfrm>
          <a:prstGeom prst="roundRect">
            <a:avLst>
              <a:gd name="adj" fmla="val 50000"/>
            </a:avLst>
          </a:prstGeom>
          <a:solidFill>
            <a:schemeClr val="tx2"/>
          </a:solidFill>
        </p:spPr>
        <p:txBody>
          <a:bodyPr wrap="none" tIns="36000" rIns="72000" bIns="36000" anchor="ctr" anchorCtr="0">
            <a:spAutoFit/>
          </a:bodyPr>
          <a:lstStyle>
            <a:lvl1pPr marL="0" algn="ctr">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2541588" y="2344139"/>
            <a:ext cx="6197600" cy="50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2541588" y="719138"/>
            <a:ext cx="8018462" cy="1444979"/>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18" name="Freeform: Shape 17">
            <a:extLst>
              <a:ext uri="{FF2B5EF4-FFF2-40B4-BE49-F238E27FC236}">
                <a16:creationId xmlns:a16="http://schemas.microsoft.com/office/drawing/2014/main" id="{A267C1ED-C691-4356-925A-A73041BB43C3}"/>
              </a:ext>
            </a:extLst>
          </p:cNvPr>
          <p:cNvSpPr/>
          <p:nvPr userDrawn="1"/>
        </p:nvSpPr>
        <p:spPr>
          <a:xfrm>
            <a:off x="0" y="3"/>
            <a:ext cx="12193141" cy="6858001"/>
          </a:xfrm>
          <a:custGeom>
            <a:avLst/>
            <a:gdLst>
              <a:gd name="connsiteX0" fmla="*/ 0 w 1100903"/>
              <a:gd name="connsiteY0" fmla="*/ 0 h 619200"/>
              <a:gd name="connsiteX1" fmla="*/ 1100903 w 1100903"/>
              <a:gd name="connsiteY1" fmla="*/ 0 h 619200"/>
              <a:gd name="connsiteX2" fmla="*/ 1100903 w 1100903"/>
              <a:gd name="connsiteY2" fmla="*/ 619200 h 619200"/>
              <a:gd name="connsiteX3" fmla="*/ 0 w 1100903"/>
              <a:gd name="connsiteY3" fmla="*/ 619200 h 619200"/>
            </a:gdLst>
            <a:ahLst/>
            <a:cxnLst>
              <a:cxn ang="0">
                <a:pos x="connsiteX0" y="connsiteY0"/>
              </a:cxn>
              <a:cxn ang="0">
                <a:pos x="connsiteX1" y="connsiteY1"/>
              </a:cxn>
              <a:cxn ang="0">
                <a:pos x="connsiteX2" y="connsiteY2"/>
              </a:cxn>
              <a:cxn ang="0">
                <a:pos x="connsiteX3" y="connsiteY3"/>
              </a:cxn>
            </a:cxnLst>
            <a:rect l="l" t="t" r="r" b="b"/>
            <a:pathLst>
              <a:path w="1100903" h="619200">
                <a:moveTo>
                  <a:pt x="0" y="0"/>
                </a:moveTo>
                <a:lnTo>
                  <a:pt x="1100903" y="0"/>
                </a:lnTo>
                <a:lnTo>
                  <a:pt x="1100903" y="619200"/>
                </a:lnTo>
                <a:lnTo>
                  <a:pt x="0" y="619200"/>
                </a:lnTo>
                <a:close/>
              </a:path>
            </a:pathLst>
          </a:custGeom>
          <a:noFill/>
          <a:ln w="114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3786E751-57D9-4C2B-A06E-60CD5FE60C97}"/>
              </a:ext>
            </a:extLst>
          </p:cNvPr>
          <p:cNvSpPr/>
          <p:nvPr/>
        </p:nvSpPr>
        <p:spPr>
          <a:xfrm>
            <a:off x="-1" y="-49108"/>
            <a:ext cx="12192125" cy="6857999"/>
          </a:xfrm>
          <a:custGeom>
            <a:avLst/>
            <a:gdLst>
              <a:gd name="connsiteX0" fmla="*/ 0 w 12192125"/>
              <a:gd name="connsiteY0" fmla="*/ 0 h 6857999"/>
              <a:gd name="connsiteX1" fmla="*/ 12192126 w 12192125"/>
              <a:gd name="connsiteY1" fmla="*/ 0 h 6857999"/>
              <a:gd name="connsiteX2" fmla="*/ 12192126 w 12192125"/>
              <a:gd name="connsiteY2" fmla="*/ 6857999 h 6857999"/>
              <a:gd name="connsiteX3" fmla="*/ 0 w 1219212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125" h="6857999">
                <a:moveTo>
                  <a:pt x="0" y="0"/>
                </a:moveTo>
                <a:lnTo>
                  <a:pt x="12192126" y="0"/>
                </a:lnTo>
                <a:lnTo>
                  <a:pt x="12192126" y="6857999"/>
                </a:lnTo>
                <a:lnTo>
                  <a:pt x="0" y="6857999"/>
                </a:lnTo>
                <a:close/>
              </a:path>
            </a:pathLst>
          </a:custGeom>
          <a:noFill/>
          <a:ln w="12690"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7F2B3881-4330-4017-A73B-0482E4BA5A07}"/>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7826C91B-FE38-4E67-81B3-F37DF7FA9765}"/>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CA8B3DCA-50C5-4313-B797-318FE3CECA01}"/>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49E25AF8-DB78-48DE-9F1A-C4EE739E577D}"/>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BCA0938-8A11-4B15-956F-3550D2AF9C90}"/>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9691F4C-685D-4CDA-A320-97078A5E5885}"/>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D66DC782-5573-42F8-9128-BAE8D5B23626}"/>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7EB7EFBA-995D-493D-B032-7FAD4708FEDE}"/>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35991226-06AD-4618-AF4B-05632532D595}"/>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4793C5B4-9752-4964-9D24-8870AE4659C6}"/>
              </a:ext>
            </a:extLst>
          </p:cNvPr>
          <p:cNvSpPr/>
          <p:nvPr/>
        </p:nvSpPr>
        <p:spPr>
          <a:xfrm>
            <a:off x="454409" y="2997716"/>
            <a:ext cx="2588256" cy="3158926"/>
          </a:xfrm>
          <a:custGeom>
            <a:avLst/>
            <a:gdLst>
              <a:gd name="connsiteX0" fmla="*/ 1040913 w 2848250"/>
              <a:gd name="connsiteY0" fmla="*/ 3476244 h 3476245"/>
              <a:gd name="connsiteX1" fmla="*/ 992526 w 2848250"/>
              <a:gd name="connsiteY1" fmla="*/ 3475355 h 3476245"/>
              <a:gd name="connsiteX2" fmla="*/ 264308 w 2848250"/>
              <a:gd name="connsiteY2" fmla="*/ 3112008 h 3476245"/>
              <a:gd name="connsiteX3" fmla="*/ 3831 w 2848250"/>
              <a:gd name="connsiteY3" fmla="*/ 2333244 h 3476245"/>
              <a:gd name="connsiteX4" fmla="*/ 324506 w 2848250"/>
              <a:gd name="connsiteY4" fmla="*/ 1649984 h 3476245"/>
              <a:gd name="connsiteX5" fmla="*/ 830093 w 2848250"/>
              <a:gd name="connsiteY5" fmla="*/ 1345184 h 3476245"/>
              <a:gd name="connsiteX6" fmla="*/ 805963 w 2848250"/>
              <a:gd name="connsiteY6" fmla="*/ 1314704 h 3476245"/>
              <a:gd name="connsiteX7" fmla="*/ 804312 w 2848250"/>
              <a:gd name="connsiteY7" fmla="*/ 1312672 h 3476245"/>
              <a:gd name="connsiteX8" fmla="*/ 529865 w 2848250"/>
              <a:gd name="connsiteY8" fmla="*/ 771906 h 3476245"/>
              <a:gd name="connsiteX9" fmla="*/ 738653 w 2848250"/>
              <a:gd name="connsiteY9" fmla="*/ 211201 h 3476245"/>
              <a:gd name="connsiteX10" fmla="*/ 1265068 w 2848250"/>
              <a:gd name="connsiteY10" fmla="*/ 0 h 3476245"/>
              <a:gd name="connsiteX11" fmla="*/ 1332251 w 2848250"/>
              <a:gd name="connsiteY11" fmla="*/ 2667 h 3476245"/>
              <a:gd name="connsiteX12" fmla="*/ 1956583 w 2848250"/>
              <a:gd name="connsiteY12" fmla="*/ 646430 h 3476245"/>
              <a:gd name="connsiteX13" fmla="*/ 1664483 w 2848250"/>
              <a:gd name="connsiteY13" fmla="*/ 1206119 h 3476245"/>
              <a:gd name="connsiteX14" fmla="*/ 1254527 w 2848250"/>
              <a:gd name="connsiteY14" fmla="*/ 1460119 h 3476245"/>
              <a:gd name="connsiteX15" fmla="*/ 2175404 w 2848250"/>
              <a:gd name="connsiteY15" fmla="*/ 2642108 h 3476245"/>
              <a:gd name="connsiteX16" fmla="*/ 2295165 w 2848250"/>
              <a:gd name="connsiteY16" fmla="*/ 2789174 h 3476245"/>
              <a:gd name="connsiteX17" fmla="*/ 2593488 w 2848250"/>
              <a:gd name="connsiteY17" fmla="*/ 3108833 h 3476245"/>
              <a:gd name="connsiteX18" fmla="*/ 2621429 w 2848250"/>
              <a:gd name="connsiteY18" fmla="*/ 3131439 h 3476245"/>
              <a:gd name="connsiteX19" fmla="*/ 2627270 w 2848250"/>
              <a:gd name="connsiteY19" fmla="*/ 3136392 h 3476245"/>
              <a:gd name="connsiteX20" fmla="*/ 2714900 w 2848250"/>
              <a:gd name="connsiteY20" fmla="*/ 3141853 h 3476245"/>
              <a:gd name="connsiteX21" fmla="*/ 2848250 w 2848250"/>
              <a:gd name="connsiteY21" fmla="*/ 3141853 h 3476245"/>
              <a:gd name="connsiteX22" fmla="*/ 2848250 w 2848250"/>
              <a:gd name="connsiteY22" fmla="*/ 3408553 h 3476245"/>
              <a:gd name="connsiteX23" fmla="*/ 2714900 w 2848250"/>
              <a:gd name="connsiteY23" fmla="*/ 3408553 h 3476245"/>
              <a:gd name="connsiteX24" fmla="*/ 2446930 w 2848250"/>
              <a:gd name="connsiteY24" fmla="*/ 3333623 h 3476245"/>
              <a:gd name="connsiteX25" fmla="*/ 2434230 w 2848250"/>
              <a:gd name="connsiteY25" fmla="*/ 3322955 h 3476245"/>
              <a:gd name="connsiteX26" fmla="*/ 2102125 w 2848250"/>
              <a:gd name="connsiteY26" fmla="*/ 2973959 h 3476245"/>
              <a:gd name="connsiteX27" fmla="*/ 1641115 w 2848250"/>
              <a:gd name="connsiteY27" fmla="*/ 3332353 h 3476245"/>
              <a:gd name="connsiteX28" fmla="*/ 1040913 w 2848250"/>
              <a:gd name="connsiteY28" fmla="*/ 3476244 h 3476245"/>
              <a:gd name="connsiteX29" fmla="*/ 931693 w 2848250"/>
              <a:gd name="connsiteY29" fmla="*/ 1592326 h 3476245"/>
              <a:gd name="connsiteX30" fmla="*/ 506624 w 2848250"/>
              <a:gd name="connsiteY30" fmla="*/ 1845437 h 3476245"/>
              <a:gd name="connsiteX31" fmla="*/ 269642 w 2848250"/>
              <a:gd name="connsiteY31" fmla="*/ 2354707 h 3476245"/>
              <a:gd name="connsiteX32" fmla="*/ 463444 w 2848250"/>
              <a:gd name="connsiteY32" fmla="*/ 2934335 h 3476245"/>
              <a:gd name="connsiteX33" fmla="*/ 1001416 w 2848250"/>
              <a:gd name="connsiteY33" fmla="*/ 3208655 h 3476245"/>
              <a:gd name="connsiteX34" fmla="*/ 1521354 w 2848250"/>
              <a:gd name="connsiteY34" fmla="*/ 3094355 h 3476245"/>
              <a:gd name="connsiteX35" fmla="*/ 1932199 w 2848250"/>
              <a:gd name="connsiteY35" fmla="*/ 2765044 h 3476245"/>
              <a:gd name="connsiteX36" fmla="*/ 1884066 w 2848250"/>
              <a:gd name="connsiteY36" fmla="*/ 2705862 h 3476245"/>
              <a:gd name="connsiteX37" fmla="*/ 1886225 w 2848250"/>
              <a:gd name="connsiteY37" fmla="*/ 2704084 h 3476245"/>
              <a:gd name="connsiteX38" fmla="*/ 1000400 w 2848250"/>
              <a:gd name="connsiteY38" fmla="*/ 1567434 h 3476245"/>
              <a:gd name="connsiteX39" fmla="*/ 2592726 w 2848250"/>
              <a:gd name="connsiteY39" fmla="*/ 3107944 h 3476245"/>
              <a:gd name="connsiteX40" fmla="*/ 2592726 w 2848250"/>
              <a:gd name="connsiteY40" fmla="*/ 3107944 h 3476245"/>
              <a:gd name="connsiteX41" fmla="*/ 1264814 w 2848250"/>
              <a:gd name="connsiteY41" fmla="*/ 267081 h 3476245"/>
              <a:gd name="connsiteX42" fmla="*/ 928010 w 2848250"/>
              <a:gd name="connsiteY42" fmla="*/ 399161 h 3476245"/>
              <a:gd name="connsiteX43" fmla="*/ 795295 w 2848250"/>
              <a:gd name="connsiteY43" fmla="*/ 748665 h 3476245"/>
              <a:gd name="connsiteX44" fmla="*/ 1012592 w 2848250"/>
              <a:gd name="connsiteY44" fmla="*/ 1146683 h 3476245"/>
              <a:gd name="connsiteX45" fmla="*/ 1014116 w 2848250"/>
              <a:gd name="connsiteY45" fmla="*/ 1148715 h 3476245"/>
              <a:gd name="connsiteX46" fmla="*/ 1088030 w 2848250"/>
              <a:gd name="connsiteY46" fmla="*/ 1243330 h 3476245"/>
              <a:gd name="connsiteX47" fmla="*/ 1088030 w 2848250"/>
              <a:gd name="connsiteY47" fmla="*/ 1243330 h 3476245"/>
              <a:gd name="connsiteX48" fmla="*/ 1088030 w 2848250"/>
              <a:gd name="connsiteY48" fmla="*/ 1243330 h 3476245"/>
              <a:gd name="connsiteX49" fmla="*/ 1088030 w 2848250"/>
              <a:gd name="connsiteY49" fmla="*/ 1243330 h 3476245"/>
              <a:gd name="connsiteX50" fmla="*/ 1491382 w 2848250"/>
              <a:gd name="connsiteY50" fmla="*/ 1002792 h 3476245"/>
              <a:gd name="connsiteX51" fmla="*/ 1688867 w 2848250"/>
              <a:gd name="connsiteY51" fmla="*/ 648081 h 3476245"/>
              <a:gd name="connsiteX52" fmla="*/ 1310661 w 2848250"/>
              <a:gd name="connsiteY52" fmla="*/ 268732 h 3476245"/>
              <a:gd name="connsiteX53" fmla="*/ 1264814 w 2848250"/>
              <a:gd name="connsiteY53" fmla="*/ 267081 h 3476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848250" h="3476245">
                <a:moveTo>
                  <a:pt x="1040913" y="3476244"/>
                </a:moveTo>
                <a:cubicBezTo>
                  <a:pt x="1024911" y="3476244"/>
                  <a:pt x="1008528" y="3476244"/>
                  <a:pt x="992526" y="3475355"/>
                </a:cubicBezTo>
                <a:cubicBezTo>
                  <a:pt x="727604" y="3466592"/>
                  <a:pt x="462174" y="3334131"/>
                  <a:pt x="264308" y="3112008"/>
                </a:cubicBezTo>
                <a:cubicBezTo>
                  <a:pt x="73564" y="2899588"/>
                  <a:pt x="-20728" y="2617678"/>
                  <a:pt x="3831" y="2333244"/>
                </a:cubicBezTo>
                <a:cubicBezTo>
                  <a:pt x="24532" y="2056130"/>
                  <a:pt x="129434" y="1832356"/>
                  <a:pt x="324506" y="1649984"/>
                </a:cubicBezTo>
                <a:cubicBezTo>
                  <a:pt x="493797" y="1491615"/>
                  <a:pt x="692806" y="1400302"/>
                  <a:pt x="830093" y="1345184"/>
                </a:cubicBezTo>
                <a:lnTo>
                  <a:pt x="805963" y="1314704"/>
                </a:lnTo>
                <a:lnTo>
                  <a:pt x="804312" y="1312672"/>
                </a:lnTo>
                <a:cubicBezTo>
                  <a:pt x="678836" y="1154684"/>
                  <a:pt x="549423" y="991870"/>
                  <a:pt x="529865" y="771906"/>
                </a:cubicBezTo>
                <a:cubicBezTo>
                  <a:pt x="512339" y="574421"/>
                  <a:pt x="592349" y="359664"/>
                  <a:pt x="738653" y="211201"/>
                </a:cubicBezTo>
                <a:cubicBezTo>
                  <a:pt x="875940" y="73025"/>
                  <a:pt x="1057804" y="0"/>
                  <a:pt x="1265068" y="0"/>
                </a:cubicBezTo>
                <a:cubicBezTo>
                  <a:pt x="1288563" y="0"/>
                  <a:pt x="1310534" y="889"/>
                  <a:pt x="1332251" y="2667"/>
                </a:cubicBezTo>
                <a:cubicBezTo>
                  <a:pt x="1697376" y="29337"/>
                  <a:pt x="1954551" y="294132"/>
                  <a:pt x="1956583" y="646430"/>
                </a:cubicBezTo>
                <a:cubicBezTo>
                  <a:pt x="1957726" y="852551"/>
                  <a:pt x="1859682" y="1040765"/>
                  <a:pt x="1664483" y="1206119"/>
                </a:cubicBezTo>
                <a:cubicBezTo>
                  <a:pt x="1558819" y="1295654"/>
                  <a:pt x="1424326" y="1379093"/>
                  <a:pt x="1254527" y="1460119"/>
                </a:cubicBezTo>
                <a:lnTo>
                  <a:pt x="2175404" y="2642108"/>
                </a:lnTo>
                <a:lnTo>
                  <a:pt x="2295165" y="2789174"/>
                </a:lnTo>
                <a:cubicBezTo>
                  <a:pt x="2437151" y="2951861"/>
                  <a:pt x="2567961" y="3087370"/>
                  <a:pt x="2593488" y="3108833"/>
                </a:cubicBezTo>
                <a:cubicBezTo>
                  <a:pt x="2605299" y="3117469"/>
                  <a:pt x="2614570" y="3125470"/>
                  <a:pt x="2621429" y="3131439"/>
                </a:cubicBezTo>
                <a:lnTo>
                  <a:pt x="2627270" y="3136392"/>
                </a:lnTo>
                <a:cubicBezTo>
                  <a:pt x="2656210" y="3141259"/>
                  <a:pt x="2685580" y="3143089"/>
                  <a:pt x="2714900" y="3141853"/>
                </a:cubicBezTo>
                <a:lnTo>
                  <a:pt x="2848250" y="3141853"/>
                </a:lnTo>
                <a:lnTo>
                  <a:pt x="2848250" y="3408553"/>
                </a:lnTo>
                <a:lnTo>
                  <a:pt x="2714900" y="3408553"/>
                </a:lnTo>
                <a:cubicBezTo>
                  <a:pt x="2560214" y="3408553"/>
                  <a:pt x="2507636" y="3385820"/>
                  <a:pt x="2446930" y="3333623"/>
                </a:cubicBezTo>
                <a:cubicBezTo>
                  <a:pt x="2441977" y="3329305"/>
                  <a:pt x="2437913" y="3325876"/>
                  <a:pt x="2434230" y="3322955"/>
                </a:cubicBezTo>
                <a:cubicBezTo>
                  <a:pt x="2383430" y="3285744"/>
                  <a:pt x="2210075" y="3097149"/>
                  <a:pt x="2102125" y="2973959"/>
                </a:cubicBezTo>
                <a:cubicBezTo>
                  <a:pt x="1959504" y="3129026"/>
                  <a:pt x="1804564" y="3249422"/>
                  <a:pt x="1641115" y="3332353"/>
                </a:cubicBezTo>
                <a:cubicBezTo>
                  <a:pt x="1455274" y="3427192"/>
                  <a:pt x="1249555" y="3476510"/>
                  <a:pt x="1040913" y="3476244"/>
                </a:cubicBezTo>
                <a:close/>
                <a:moveTo>
                  <a:pt x="931693" y="1592326"/>
                </a:moveTo>
                <a:cubicBezTo>
                  <a:pt x="814726" y="1639443"/>
                  <a:pt x="644292" y="1716659"/>
                  <a:pt x="506624" y="1845437"/>
                </a:cubicBezTo>
                <a:cubicBezTo>
                  <a:pt x="360828" y="1981835"/>
                  <a:pt x="285517" y="2143633"/>
                  <a:pt x="269642" y="2354707"/>
                </a:cubicBezTo>
                <a:cubicBezTo>
                  <a:pt x="251454" y="2566386"/>
                  <a:pt x="321595" y="2776166"/>
                  <a:pt x="463444" y="2934335"/>
                </a:cubicBezTo>
                <a:cubicBezTo>
                  <a:pt x="610764" y="3099435"/>
                  <a:pt x="811932" y="3202305"/>
                  <a:pt x="1001416" y="3208655"/>
                </a:cubicBezTo>
                <a:cubicBezTo>
                  <a:pt x="1181635" y="3215452"/>
                  <a:pt x="1360603" y="3176109"/>
                  <a:pt x="1521354" y="3094355"/>
                </a:cubicBezTo>
                <a:cubicBezTo>
                  <a:pt x="1665753" y="3021076"/>
                  <a:pt x="1804056" y="2910332"/>
                  <a:pt x="1932199" y="2765044"/>
                </a:cubicBezTo>
                <a:lnTo>
                  <a:pt x="1884066" y="2705862"/>
                </a:lnTo>
                <a:lnTo>
                  <a:pt x="1886225" y="2704084"/>
                </a:lnTo>
                <a:lnTo>
                  <a:pt x="1000400" y="1567434"/>
                </a:lnTo>
                <a:close/>
                <a:moveTo>
                  <a:pt x="2592726" y="3107944"/>
                </a:moveTo>
                <a:lnTo>
                  <a:pt x="2592726" y="3107944"/>
                </a:lnTo>
                <a:close/>
                <a:moveTo>
                  <a:pt x="1264814" y="267081"/>
                </a:moveTo>
                <a:cubicBezTo>
                  <a:pt x="1130321" y="267081"/>
                  <a:pt x="1013735" y="312801"/>
                  <a:pt x="928010" y="399161"/>
                </a:cubicBezTo>
                <a:cubicBezTo>
                  <a:pt x="836824" y="491617"/>
                  <a:pt x="784627" y="628904"/>
                  <a:pt x="795295" y="748665"/>
                </a:cubicBezTo>
                <a:cubicBezTo>
                  <a:pt x="807995" y="888365"/>
                  <a:pt x="902610" y="1008380"/>
                  <a:pt x="1012592" y="1146683"/>
                </a:cubicBezTo>
                <a:lnTo>
                  <a:pt x="1014116" y="1148715"/>
                </a:lnTo>
                <a:cubicBezTo>
                  <a:pt x="1040786" y="1182243"/>
                  <a:pt x="1064916" y="1212215"/>
                  <a:pt x="1088030" y="1243330"/>
                </a:cubicBezTo>
                <a:lnTo>
                  <a:pt x="1088030" y="1243330"/>
                </a:lnTo>
                <a:lnTo>
                  <a:pt x="1088030" y="1243330"/>
                </a:lnTo>
                <a:lnTo>
                  <a:pt x="1088030" y="1243330"/>
                </a:lnTo>
                <a:cubicBezTo>
                  <a:pt x="1261639" y="1164590"/>
                  <a:pt x="1393592" y="1085850"/>
                  <a:pt x="1491382" y="1002792"/>
                </a:cubicBezTo>
                <a:cubicBezTo>
                  <a:pt x="1623081" y="891032"/>
                  <a:pt x="1689502" y="771652"/>
                  <a:pt x="1688867" y="648081"/>
                </a:cubicBezTo>
                <a:cubicBezTo>
                  <a:pt x="1687597" y="434340"/>
                  <a:pt x="1539134" y="285369"/>
                  <a:pt x="1310661" y="268732"/>
                </a:cubicBezTo>
                <a:cubicBezTo>
                  <a:pt x="1296056" y="267716"/>
                  <a:pt x="1281197" y="267081"/>
                  <a:pt x="1264814" y="267081"/>
                </a:cubicBezTo>
                <a:close/>
              </a:path>
            </a:pathLst>
          </a:custGeom>
          <a:solidFill>
            <a:srgbClr val="FFFFFF"/>
          </a:solid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B255A575-2D29-4CA2-B8AD-621A7489E9F3}"/>
              </a:ext>
            </a:extLst>
          </p:cNvPr>
          <p:cNvSpPr/>
          <p:nvPr/>
        </p:nvSpPr>
        <p:spPr>
          <a:xfrm>
            <a:off x="2195899" y="4546596"/>
            <a:ext cx="5688673" cy="1147495"/>
          </a:xfrm>
          <a:custGeom>
            <a:avLst/>
            <a:gdLst>
              <a:gd name="connsiteX0" fmla="*/ 133376 w 6260109"/>
              <a:gd name="connsiteY0" fmla="*/ 1262761 h 1262763"/>
              <a:gd name="connsiteX1" fmla="*/ 0 w 6260109"/>
              <a:gd name="connsiteY1" fmla="*/ 1129437 h 1262763"/>
              <a:gd name="connsiteX2" fmla="*/ 35458 w 6260109"/>
              <a:gd name="connsiteY2" fmla="*/ 1038860 h 1262763"/>
              <a:gd name="connsiteX3" fmla="*/ 55017 w 6260109"/>
              <a:gd name="connsiteY3" fmla="*/ 1016635 h 1262763"/>
              <a:gd name="connsiteX4" fmla="*/ 126137 w 6260109"/>
              <a:gd name="connsiteY4" fmla="*/ 927735 h 1262763"/>
              <a:gd name="connsiteX5" fmla="*/ 154458 w 6260109"/>
              <a:gd name="connsiteY5" fmla="*/ 890397 h 1262763"/>
              <a:gd name="connsiteX6" fmla="*/ 178715 w 6260109"/>
              <a:gd name="connsiteY6" fmla="*/ 849376 h 1262763"/>
              <a:gd name="connsiteX7" fmla="*/ 216815 w 6260109"/>
              <a:gd name="connsiteY7" fmla="*/ 772033 h 1262763"/>
              <a:gd name="connsiteX8" fmla="*/ 243739 w 6260109"/>
              <a:gd name="connsiteY8" fmla="*/ 708533 h 1262763"/>
              <a:gd name="connsiteX9" fmla="*/ 262662 w 6260109"/>
              <a:gd name="connsiteY9" fmla="*/ 648716 h 1262763"/>
              <a:gd name="connsiteX10" fmla="*/ 277013 w 6260109"/>
              <a:gd name="connsiteY10" fmla="*/ 581406 h 1262763"/>
              <a:gd name="connsiteX11" fmla="*/ 288570 w 6260109"/>
              <a:gd name="connsiteY11" fmla="*/ 496697 h 1262763"/>
              <a:gd name="connsiteX12" fmla="*/ 298349 w 6260109"/>
              <a:gd name="connsiteY12" fmla="*/ 387477 h 1262763"/>
              <a:gd name="connsiteX13" fmla="*/ 299111 w 6260109"/>
              <a:gd name="connsiteY13" fmla="*/ 377317 h 1262763"/>
              <a:gd name="connsiteX14" fmla="*/ 307620 w 6260109"/>
              <a:gd name="connsiteY14" fmla="*/ 249174 h 1262763"/>
              <a:gd name="connsiteX15" fmla="*/ 313589 w 6260109"/>
              <a:gd name="connsiteY15" fmla="*/ 127000 h 1262763"/>
              <a:gd name="connsiteX16" fmla="*/ 446812 w 6260109"/>
              <a:gd name="connsiteY16" fmla="*/ 0 h 1262763"/>
              <a:gd name="connsiteX17" fmla="*/ 6126760 w 6260109"/>
              <a:gd name="connsiteY17" fmla="*/ 0 h 1262763"/>
              <a:gd name="connsiteX18" fmla="*/ 6260110 w 6260109"/>
              <a:gd name="connsiteY18" fmla="*/ 133350 h 1262763"/>
              <a:gd name="connsiteX19" fmla="*/ 6126760 w 6260109"/>
              <a:gd name="connsiteY19" fmla="*/ 266700 h 1262763"/>
              <a:gd name="connsiteX20" fmla="*/ 573939 w 6260109"/>
              <a:gd name="connsiteY20" fmla="*/ 266700 h 1262763"/>
              <a:gd name="connsiteX21" fmla="*/ 565176 w 6260109"/>
              <a:gd name="connsiteY21" fmla="*/ 397383 h 1262763"/>
              <a:gd name="connsiteX22" fmla="*/ 564414 w 6260109"/>
              <a:gd name="connsiteY22" fmla="*/ 407416 h 1262763"/>
              <a:gd name="connsiteX23" fmla="*/ 553873 w 6260109"/>
              <a:gd name="connsiteY23" fmla="*/ 525526 h 1262763"/>
              <a:gd name="connsiteX24" fmla="*/ 540030 w 6260109"/>
              <a:gd name="connsiteY24" fmla="*/ 626237 h 1262763"/>
              <a:gd name="connsiteX25" fmla="*/ 520599 w 6260109"/>
              <a:gd name="connsiteY25" fmla="*/ 716788 h 1262763"/>
              <a:gd name="connsiteX26" fmla="*/ 493929 w 6260109"/>
              <a:gd name="connsiteY26" fmla="*/ 800989 h 1262763"/>
              <a:gd name="connsiteX27" fmla="*/ 459131 w 6260109"/>
              <a:gd name="connsiteY27" fmla="*/ 884301 h 1262763"/>
              <a:gd name="connsiteX28" fmla="*/ 415697 w 6260109"/>
              <a:gd name="connsiteY28" fmla="*/ 972058 h 1262763"/>
              <a:gd name="connsiteX29" fmla="*/ 368198 w 6260109"/>
              <a:gd name="connsiteY29" fmla="*/ 1050290 h 1262763"/>
              <a:gd name="connsiteX30" fmla="*/ 337846 w 6260109"/>
              <a:gd name="connsiteY30" fmla="*/ 1090295 h 1262763"/>
              <a:gd name="connsiteX31" fmla="*/ 258217 w 6260109"/>
              <a:gd name="connsiteY31" fmla="*/ 1190117 h 1262763"/>
              <a:gd name="connsiteX32" fmla="*/ 231166 w 6260109"/>
              <a:gd name="connsiteY32" fmla="*/ 1220724 h 1262763"/>
              <a:gd name="connsiteX33" fmla="*/ 133376 w 6260109"/>
              <a:gd name="connsiteY33" fmla="*/ 1262761 h 126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260109" h="1262763">
                <a:moveTo>
                  <a:pt x="133376" y="1262761"/>
                </a:moveTo>
                <a:cubicBezTo>
                  <a:pt x="59728" y="1262775"/>
                  <a:pt x="14" y="1203084"/>
                  <a:pt x="0" y="1129437"/>
                </a:cubicBezTo>
                <a:cubicBezTo>
                  <a:pt x="-6" y="1095857"/>
                  <a:pt x="12656" y="1063511"/>
                  <a:pt x="35458" y="1038860"/>
                </a:cubicBezTo>
                <a:cubicBezTo>
                  <a:pt x="42190" y="1031621"/>
                  <a:pt x="48159" y="1024128"/>
                  <a:pt x="55017" y="1016635"/>
                </a:cubicBezTo>
                <a:cubicBezTo>
                  <a:pt x="80417" y="987298"/>
                  <a:pt x="103912" y="956310"/>
                  <a:pt x="126137" y="927735"/>
                </a:cubicBezTo>
                <a:cubicBezTo>
                  <a:pt x="135662" y="915035"/>
                  <a:pt x="145187" y="902335"/>
                  <a:pt x="154458" y="890397"/>
                </a:cubicBezTo>
                <a:cubicBezTo>
                  <a:pt x="163675" y="877426"/>
                  <a:pt x="171790" y="863704"/>
                  <a:pt x="178715" y="849376"/>
                </a:cubicBezTo>
                <a:cubicBezTo>
                  <a:pt x="194336" y="819150"/>
                  <a:pt x="206528" y="794639"/>
                  <a:pt x="216815" y="772033"/>
                </a:cubicBezTo>
                <a:cubicBezTo>
                  <a:pt x="227102" y="749427"/>
                  <a:pt x="236246" y="727964"/>
                  <a:pt x="243739" y="708533"/>
                </a:cubicBezTo>
                <a:cubicBezTo>
                  <a:pt x="251232" y="689102"/>
                  <a:pt x="257455" y="668274"/>
                  <a:pt x="262662" y="648716"/>
                </a:cubicBezTo>
                <a:cubicBezTo>
                  <a:pt x="267869" y="629158"/>
                  <a:pt x="272822" y="606171"/>
                  <a:pt x="277013" y="581406"/>
                </a:cubicBezTo>
                <a:cubicBezTo>
                  <a:pt x="281204" y="556641"/>
                  <a:pt x="284887" y="529717"/>
                  <a:pt x="288570" y="496697"/>
                </a:cubicBezTo>
                <a:cubicBezTo>
                  <a:pt x="292253" y="463677"/>
                  <a:pt x="295301" y="428879"/>
                  <a:pt x="298349" y="387477"/>
                </a:cubicBezTo>
                <a:lnTo>
                  <a:pt x="299111" y="377317"/>
                </a:lnTo>
                <a:cubicBezTo>
                  <a:pt x="302540" y="332994"/>
                  <a:pt x="305715" y="291211"/>
                  <a:pt x="307620" y="249174"/>
                </a:cubicBezTo>
                <a:lnTo>
                  <a:pt x="313589" y="127000"/>
                </a:lnTo>
                <a:cubicBezTo>
                  <a:pt x="316915" y="55864"/>
                  <a:pt x="375598" y="-78"/>
                  <a:pt x="446812" y="0"/>
                </a:cubicBezTo>
                <a:lnTo>
                  <a:pt x="6126760" y="0"/>
                </a:lnTo>
                <a:cubicBezTo>
                  <a:pt x="6200407" y="0"/>
                  <a:pt x="6260110" y="59703"/>
                  <a:pt x="6260110" y="133350"/>
                </a:cubicBezTo>
                <a:cubicBezTo>
                  <a:pt x="6260110" y="206997"/>
                  <a:pt x="6200407" y="266700"/>
                  <a:pt x="6126760" y="266700"/>
                </a:cubicBezTo>
                <a:lnTo>
                  <a:pt x="573939" y="266700"/>
                </a:lnTo>
                <a:cubicBezTo>
                  <a:pt x="571780" y="310769"/>
                  <a:pt x="568478" y="354711"/>
                  <a:pt x="565176" y="397383"/>
                </a:cubicBezTo>
                <a:lnTo>
                  <a:pt x="564414" y="407416"/>
                </a:lnTo>
                <a:cubicBezTo>
                  <a:pt x="561112" y="451612"/>
                  <a:pt x="557683" y="490220"/>
                  <a:pt x="553873" y="525526"/>
                </a:cubicBezTo>
                <a:cubicBezTo>
                  <a:pt x="549555" y="564261"/>
                  <a:pt x="545237" y="596138"/>
                  <a:pt x="540030" y="626237"/>
                </a:cubicBezTo>
                <a:cubicBezTo>
                  <a:pt x="534442" y="659257"/>
                  <a:pt x="528092" y="688721"/>
                  <a:pt x="520599" y="716788"/>
                </a:cubicBezTo>
                <a:cubicBezTo>
                  <a:pt x="513106" y="744855"/>
                  <a:pt x="504470" y="772541"/>
                  <a:pt x="493929" y="800989"/>
                </a:cubicBezTo>
                <a:cubicBezTo>
                  <a:pt x="483388" y="829437"/>
                  <a:pt x="472593" y="854837"/>
                  <a:pt x="459131" y="884301"/>
                </a:cubicBezTo>
                <a:cubicBezTo>
                  <a:pt x="446431" y="910717"/>
                  <a:pt x="433096" y="938530"/>
                  <a:pt x="415697" y="972058"/>
                </a:cubicBezTo>
                <a:cubicBezTo>
                  <a:pt x="402138" y="999450"/>
                  <a:pt x="386246" y="1025624"/>
                  <a:pt x="368198" y="1050290"/>
                </a:cubicBezTo>
                <a:cubicBezTo>
                  <a:pt x="358420" y="1062990"/>
                  <a:pt x="348260" y="1076833"/>
                  <a:pt x="337846" y="1090295"/>
                </a:cubicBezTo>
                <a:cubicBezTo>
                  <a:pt x="313589" y="1122045"/>
                  <a:pt x="287046" y="1156081"/>
                  <a:pt x="258217" y="1190117"/>
                </a:cubicBezTo>
                <a:cubicBezTo>
                  <a:pt x="249327" y="1200658"/>
                  <a:pt x="240310" y="1210818"/>
                  <a:pt x="231166" y="1220724"/>
                </a:cubicBezTo>
                <a:cubicBezTo>
                  <a:pt x="205862" y="1247767"/>
                  <a:pt x="170410" y="1263007"/>
                  <a:pt x="133376" y="1262761"/>
                </a:cubicBezTo>
                <a:close/>
              </a:path>
            </a:pathLst>
          </a:custGeom>
          <a:solidFill>
            <a:srgbClr val="FFFFFF"/>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31DE123E-D31C-47E2-B6A2-E845018881F6}"/>
              </a:ext>
            </a:extLst>
          </p:cNvPr>
          <p:cNvSpPr/>
          <p:nvPr userDrawn="1"/>
        </p:nvSpPr>
        <p:spPr>
          <a:xfrm>
            <a:off x="0" y="6632027"/>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07DD3772-4C5E-4589-849B-676727EF93D3}"/>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B84D6F7B-84CF-4FD4-8E0D-D783C92E5AA5}"/>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6098140E-9523-4D50-A767-DFEABC069AAF}"/>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EB210967-FC0C-484A-B475-EE3D190F0D45}"/>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90801025-63AB-49AD-B7C3-D54BC5762BFF}"/>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1A387142-1CBE-479E-A4CD-E1AE75FC57D3}"/>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91A3FA16-8969-49BA-B400-AFCF765C7CE6}"/>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64AE879F-0775-43FE-BD16-BAE89045536C}"/>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1EB5652B-F1E2-42E9-8A1A-CD2E973C3920}"/>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B1B1D95B-8EC7-4608-A0AB-AD3EE1331486}"/>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7DA7A5E-2079-43DB-BC49-9D77FBA5F938}"/>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0292537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accent1"/>
        </a:solidFill>
        <a:effectLst/>
      </p:bgPr>
    </p:bg>
    <p:spTree>
      <p:nvGrpSpPr>
        <p:cNvPr id="1" name=""/>
        <p:cNvGrpSpPr/>
        <p:nvPr/>
      </p:nvGrpSpPr>
      <p:grpSpPr>
        <a:xfrm>
          <a:off x="0" y="0"/>
          <a:ext cx="0" cy="0"/>
          <a:chOff x="0" y="0"/>
          <a:chExt cx="0" cy="0"/>
        </a:xfrm>
      </p:grpSpPr>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0" y="0"/>
            <a:ext cx="12192000" cy="6858000"/>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tx2"/>
          </a:solidFill>
        </p:spPr>
        <p:txBody>
          <a:bodyPr wrap="none" tIns="36000" rIns="72000" bIns="36000" anchor="ctr" anchorCtr="0">
            <a:spAutoFit/>
          </a:bodyPr>
          <a:lstStyle>
            <a:lvl1pPr marL="0" algn="ctr">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9" name="Logo Text Fill">
            <a:extLst>
              <a:ext uri="{FF2B5EF4-FFF2-40B4-BE49-F238E27FC236}">
                <a16:creationId xmlns:a16="http://schemas.microsoft.com/office/drawing/2014/main" id="{0455E612-50B1-4F98-B135-B53AABD3FE47}"/>
              </a:ext>
            </a:extLst>
          </p:cNvPr>
          <p:cNvSpPr>
            <a:spLocks noGrp="1" noChangeAspect="1"/>
          </p:cNvSpPr>
          <p:nvPr>
            <p:ph type="body" sz="quarter" idx="12" hasCustomPrompt="1"/>
          </p:nvPr>
        </p:nvSpPr>
        <p:spPr>
          <a:xfrm>
            <a:off x="719137" y="719139"/>
            <a:ext cx="1821600" cy="321760"/>
          </a:xfrm>
          <a:blipFill>
            <a:blip r:embed="rId2"/>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63524253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1"/>
        </a:solidFill>
        <a:effectLst/>
      </p:bgPr>
    </p:bg>
    <p:spTree>
      <p:nvGrpSpPr>
        <p:cNvPr id="1" name=""/>
        <p:cNvGrpSpPr/>
        <p:nvPr/>
      </p:nvGrpSpPr>
      <p:grpSpPr>
        <a:xfrm>
          <a:off x="0" y="0"/>
          <a:ext cx="0" cy="0"/>
          <a:chOff x="0" y="0"/>
          <a:chExt cx="0" cy="0"/>
        </a:xfrm>
      </p:grpSpPr>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0" y="0"/>
            <a:ext cx="12192000" cy="6858000"/>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bg1"/>
          </a:solidFill>
        </p:spPr>
        <p:txBody>
          <a:bodyPr wrap="none" tIns="36000" rIns="72000" bIns="36000" anchor="ctr" anchorCtr="0">
            <a:spAutoFit/>
          </a:bodyPr>
          <a:lstStyle>
            <a:lvl1pPr marL="0" algn="ctr">
              <a:defRPr sz="1600" i="1">
                <a:solidFill>
                  <a:schemeClr val="tx2"/>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bg1"/>
                </a:solidFill>
                <a:latin typeface="+mn-lt"/>
              </a:defRPr>
            </a:lvl1pPr>
            <a:lvl2pPr marL="0" indent="0" algn="l">
              <a:lnSpc>
                <a:spcPct val="100000"/>
              </a:lnSpc>
              <a:spcBef>
                <a:spcPts val="600"/>
              </a:spcBef>
              <a:buNone/>
              <a:defRPr sz="1800">
                <a:solidFill>
                  <a:schemeClr val="bg1"/>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US"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solidFill>
                  <a:schemeClr val="bg1"/>
                </a:solidFill>
              </a:defRPr>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9" name="Logo Text Fill">
            <a:extLst>
              <a:ext uri="{FF2B5EF4-FFF2-40B4-BE49-F238E27FC236}">
                <a16:creationId xmlns:a16="http://schemas.microsoft.com/office/drawing/2014/main" id="{5885A642-AA04-4403-8AB3-F62F31CB2D44}"/>
              </a:ext>
            </a:extLst>
          </p:cNvPr>
          <p:cNvSpPr>
            <a:spLocks noGrp="1"/>
          </p:cNvSpPr>
          <p:nvPr>
            <p:ph type="body" sz="quarter" idx="12" hasCustomPrompt="1"/>
          </p:nvPr>
        </p:nvSpPr>
        <p:spPr>
          <a:xfrm>
            <a:off x="719137" y="719139"/>
            <a:ext cx="1821600" cy="320400"/>
          </a:xfrm>
          <a:blipFill>
            <a:blip r:embed="rId2"/>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79500076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Large Message">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C90AD-ACAB-4330-BD3E-4036A2058A52}"/>
              </a:ext>
            </a:extLst>
          </p:cNvPr>
          <p:cNvSpPr>
            <a:spLocks noGrp="1"/>
          </p:cNvSpPr>
          <p:nvPr>
            <p:ph type="title"/>
          </p:nvPr>
        </p:nvSpPr>
        <p:spPr>
          <a:xfrm>
            <a:off x="719137" y="1260000"/>
            <a:ext cx="10752138" cy="4877275"/>
          </a:xfrm>
        </p:spPr>
        <p:txBody>
          <a:bodyPr/>
          <a:lstStyle>
            <a:lvl1pPr>
              <a:defRPr sz="7200"/>
            </a:lvl1pPr>
            <a:lvl2pPr>
              <a:defRPr sz="7200"/>
            </a:lvl2pPr>
            <a:lvl3pPr>
              <a:defRPr sz="13800"/>
            </a:lvl3pPr>
            <a:lvl4pPr>
              <a:defRPr sz="13800"/>
            </a:lvl4pPr>
            <a:lvl5pPr>
              <a:defRPr sz="9600"/>
            </a:lvl5pPr>
            <a:lvl6pPr>
              <a:defRPr sz="9600"/>
            </a:lvl6pPr>
            <a:lvl7pPr>
              <a:defRPr sz="11500"/>
            </a:lvl7pPr>
            <a:lvl8pPr>
              <a:defRPr sz="11500"/>
            </a:lvl8pPr>
            <a:lvl9pPr>
              <a:defRPr sz="9600"/>
            </a:lvl9pPr>
          </a:lstStyle>
          <a:p>
            <a:pPr lvl="0"/>
            <a:r>
              <a:rPr lang="en-US"/>
              <a:t>Click to edit Master title style</a:t>
            </a:r>
            <a:endParaRPr lang="en-GB" dirty="0"/>
          </a:p>
        </p:txBody>
      </p:sp>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r>
              <a:rPr lang="en-GB" noProof="0"/>
              <a:t>Update Footer to add the Document title</a:t>
            </a:r>
            <a:endParaRPr lang="en-GB" noProof="0" dirty="0"/>
          </a:p>
        </p:txBody>
      </p:sp>
    </p:spTree>
    <p:extLst>
      <p:ext uri="{BB962C8B-B14F-4D97-AF65-F5344CB8AC3E}">
        <p14:creationId xmlns:p14="http://schemas.microsoft.com/office/powerpoint/2010/main" val="77928817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One firm. Your firm.">
    <p:bg>
      <p:bgPr>
        <a:solidFill>
          <a:schemeClr val="accent3"/>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r>
              <a:rPr lang="en-GB" noProof="0"/>
              <a:t>Update Footer to add the Document title</a:t>
            </a:r>
            <a:endParaRPr lang="en-GB" noProof="0" dirty="0"/>
          </a:p>
        </p:txBody>
      </p:sp>
      <p:grpSp>
        <p:nvGrpSpPr>
          <p:cNvPr id="6" name="Group 5">
            <a:extLst>
              <a:ext uri="{FF2B5EF4-FFF2-40B4-BE49-F238E27FC236}">
                <a16:creationId xmlns:a16="http://schemas.microsoft.com/office/drawing/2014/main" id="{09EDC675-7209-4569-9F65-274519B2E492}"/>
              </a:ext>
            </a:extLst>
          </p:cNvPr>
          <p:cNvGrpSpPr/>
          <p:nvPr userDrawn="1"/>
        </p:nvGrpSpPr>
        <p:grpSpPr>
          <a:xfrm>
            <a:off x="709879" y="718571"/>
            <a:ext cx="7409594" cy="1432213"/>
            <a:chOff x="709879" y="718571"/>
            <a:chExt cx="7409594" cy="1432213"/>
          </a:xfrm>
        </p:grpSpPr>
        <p:sp>
          <p:nvSpPr>
            <p:cNvPr id="8" name="Freeform: Shape 7">
              <a:extLst>
                <a:ext uri="{FF2B5EF4-FFF2-40B4-BE49-F238E27FC236}">
                  <a16:creationId xmlns:a16="http://schemas.microsoft.com/office/drawing/2014/main" id="{377A88E0-DF56-4A5E-A11B-8EE905C14401}"/>
                </a:ext>
              </a:extLst>
            </p:cNvPr>
            <p:cNvSpPr/>
            <p:nvPr/>
          </p:nvSpPr>
          <p:spPr>
            <a:xfrm>
              <a:off x="709879" y="832169"/>
              <a:ext cx="1166783" cy="1315015"/>
            </a:xfrm>
            <a:custGeom>
              <a:avLst/>
              <a:gdLst>
                <a:gd name="connsiteX0" fmla="*/ 955513 w 1166783"/>
                <a:gd name="connsiteY0" fmla="*/ 680926 h 1315015"/>
                <a:gd name="connsiteX1" fmla="*/ 573857 w 1166783"/>
                <a:gd name="connsiteY1" fmla="*/ 88432 h 1315015"/>
                <a:gd name="connsiteX2" fmla="*/ 207078 w 1166783"/>
                <a:gd name="connsiteY2" fmla="*/ 644240 h 1315015"/>
                <a:gd name="connsiteX3" fmla="*/ 586748 w 1166783"/>
                <a:gd name="connsiteY3" fmla="*/ 1224977 h 1315015"/>
                <a:gd name="connsiteX4" fmla="*/ 955087 w 1166783"/>
                <a:gd name="connsiteY4" fmla="*/ 680359 h 1315015"/>
                <a:gd name="connsiteX5" fmla="*/ -2593 w 1166783"/>
                <a:gd name="connsiteY5" fmla="*/ 674835 h 1315015"/>
                <a:gd name="connsiteX6" fmla="*/ 590010 w 1166783"/>
                <a:gd name="connsiteY6" fmla="*/ -237 h 1315015"/>
                <a:gd name="connsiteX7" fmla="*/ 1164191 w 1166783"/>
                <a:gd name="connsiteY7" fmla="*/ 649056 h 1315015"/>
                <a:gd name="connsiteX8" fmla="*/ 571592 w 1166783"/>
                <a:gd name="connsiteY8" fmla="*/ 1314779 h 1315015"/>
                <a:gd name="connsiteX9" fmla="*/ -2593 w 1166783"/>
                <a:gd name="connsiteY9" fmla="*/ 674693 h 131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783" h="1315015">
                  <a:moveTo>
                    <a:pt x="955513" y="680926"/>
                  </a:moveTo>
                  <a:cubicBezTo>
                    <a:pt x="955513" y="387441"/>
                    <a:pt x="872922" y="88432"/>
                    <a:pt x="573857" y="88432"/>
                  </a:cubicBezTo>
                  <a:cubicBezTo>
                    <a:pt x="320697" y="88432"/>
                    <a:pt x="207078" y="251605"/>
                    <a:pt x="207078" y="644240"/>
                  </a:cubicBezTo>
                  <a:cubicBezTo>
                    <a:pt x="207078" y="937583"/>
                    <a:pt x="289527" y="1224977"/>
                    <a:pt x="586748" y="1224977"/>
                  </a:cubicBezTo>
                  <a:cubicBezTo>
                    <a:pt x="839912" y="1224977"/>
                    <a:pt x="955087" y="1072853"/>
                    <a:pt x="955087" y="680359"/>
                  </a:cubicBezTo>
                  <a:moveTo>
                    <a:pt x="-2593" y="674835"/>
                  </a:moveTo>
                  <a:cubicBezTo>
                    <a:pt x="-2593" y="199763"/>
                    <a:pt x="285421" y="-237"/>
                    <a:pt x="590010" y="-237"/>
                  </a:cubicBezTo>
                  <a:cubicBezTo>
                    <a:pt x="911030" y="-237"/>
                    <a:pt x="1164191" y="229084"/>
                    <a:pt x="1164191" y="649056"/>
                  </a:cubicBezTo>
                  <a:cubicBezTo>
                    <a:pt x="1164191" y="1124127"/>
                    <a:pt x="876180" y="1314779"/>
                    <a:pt x="571592" y="1314779"/>
                  </a:cubicBezTo>
                  <a:cubicBezTo>
                    <a:pt x="248728" y="1314779"/>
                    <a:pt x="-2593" y="1094665"/>
                    <a:pt x="-2593" y="674693"/>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9" name="Freeform: Shape 8">
              <a:extLst>
                <a:ext uri="{FF2B5EF4-FFF2-40B4-BE49-F238E27FC236}">
                  <a16:creationId xmlns:a16="http://schemas.microsoft.com/office/drawing/2014/main" id="{0472ACF6-2B20-4903-91CE-C924E4F04259}"/>
                </a:ext>
              </a:extLst>
            </p:cNvPr>
            <p:cNvSpPr/>
            <p:nvPr/>
          </p:nvSpPr>
          <p:spPr>
            <a:xfrm>
              <a:off x="1956373" y="1164605"/>
              <a:ext cx="1025401" cy="960624"/>
            </a:xfrm>
            <a:custGeom>
              <a:avLst/>
              <a:gdLst>
                <a:gd name="connsiteX0" fmla="*/ -2593 w 1025401"/>
                <a:gd name="connsiteY0" fmla="*/ 905997 h 960624"/>
                <a:gd name="connsiteX1" fmla="*/ 72634 w 1025401"/>
                <a:gd name="connsiteY1" fmla="*/ 885883 h 960624"/>
                <a:gd name="connsiteX2" fmla="*/ 122077 w 1025401"/>
                <a:gd name="connsiteY2" fmla="*/ 790416 h 960624"/>
                <a:gd name="connsiteX3" fmla="*/ 122077 w 1025401"/>
                <a:gd name="connsiteY3" fmla="*/ 221860 h 960624"/>
                <a:gd name="connsiteX4" fmla="*/ 67111 w 1025401"/>
                <a:gd name="connsiteY4" fmla="*/ 122709 h 960624"/>
                <a:gd name="connsiteX5" fmla="*/ -2593 w 1025401"/>
                <a:gd name="connsiteY5" fmla="*/ 87865 h 960624"/>
                <a:gd name="connsiteX6" fmla="*/ -2593 w 1025401"/>
                <a:gd name="connsiteY6" fmla="*/ 40132 h 960624"/>
                <a:gd name="connsiteX7" fmla="*/ 287265 w 1025401"/>
                <a:gd name="connsiteY7" fmla="*/ 1605 h 960624"/>
                <a:gd name="connsiteX8" fmla="*/ 305537 w 1025401"/>
                <a:gd name="connsiteY8" fmla="*/ 12653 h 960624"/>
                <a:gd name="connsiteX9" fmla="*/ 296472 w 1025401"/>
                <a:gd name="connsiteY9" fmla="*/ 115344 h 960624"/>
                <a:gd name="connsiteX10" fmla="*/ 303697 w 1025401"/>
                <a:gd name="connsiteY10" fmla="*/ 115344 h 960624"/>
                <a:gd name="connsiteX11" fmla="*/ 650502 w 1025401"/>
                <a:gd name="connsiteY11" fmla="*/ -237 h 960624"/>
                <a:gd name="connsiteX12" fmla="*/ 899983 w 1025401"/>
                <a:gd name="connsiteY12" fmla="*/ 243673 h 960624"/>
                <a:gd name="connsiteX13" fmla="*/ 899983 w 1025401"/>
                <a:gd name="connsiteY13" fmla="*/ 789849 h 960624"/>
                <a:gd name="connsiteX14" fmla="*/ 949425 w 1025401"/>
                <a:gd name="connsiteY14" fmla="*/ 885317 h 960624"/>
                <a:gd name="connsiteX15" fmla="*/ 1022809 w 1025401"/>
                <a:gd name="connsiteY15" fmla="*/ 905430 h 960624"/>
                <a:gd name="connsiteX16" fmla="*/ 1022809 w 1025401"/>
                <a:gd name="connsiteY16" fmla="*/ 960388 h 960624"/>
                <a:gd name="connsiteX17" fmla="*/ 593551 w 1025401"/>
                <a:gd name="connsiteY17" fmla="*/ 960388 h 960624"/>
                <a:gd name="connsiteX18" fmla="*/ 593551 w 1025401"/>
                <a:gd name="connsiteY18" fmla="*/ 905997 h 960624"/>
                <a:gd name="connsiteX19" fmla="*/ 668778 w 1025401"/>
                <a:gd name="connsiteY19" fmla="*/ 885883 h 960624"/>
                <a:gd name="connsiteX20" fmla="*/ 716519 w 1025401"/>
                <a:gd name="connsiteY20" fmla="*/ 790416 h 960624"/>
                <a:gd name="connsiteX21" fmla="*/ 716519 w 1025401"/>
                <a:gd name="connsiteY21" fmla="*/ 294665 h 960624"/>
                <a:gd name="connsiteX22" fmla="*/ 556858 w 1025401"/>
                <a:gd name="connsiteY22" fmla="*/ 120443 h 960624"/>
                <a:gd name="connsiteX23" fmla="*/ 305537 w 1025401"/>
                <a:gd name="connsiteY23" fmla="*/ 177100 h 960624"/>
                <a:gd name="connsiteX24" fmla="*/ 305537 w 1025401"/>
                <a:gd name="connsiteY24" fmla="*/ 789849 h 960624"/>
                <a:gd name="connsiteX25" fmla="*/ 353281 w 1025401"/>
                <a:gd name="connsiteY25" fmla="*/ 885317 h 960624"/>
                <a:gd name="connsiteX26" fmla="*/ 428508 w 1025401"/>
                <a:gd name="connsiteY26" fmla="*/ 905430 h 960624"/>
                <a:gd name="connsiteX27" fmla="*/ 428508 w 1025401"/>
                <a:gd name="connsiteY27" fmla="*/ 960388 h 960624"/>
                <a:gd name="connsiteX28" fmla="*/ -2593 w 1025401"/>
                <a:gd name="connsiteY28" fmla="*/ 960388 h 96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25401" h="960624">
                  <a:moveTo>
                    <a:pt x="-2593" y="905997"/>
                  </a:moveTo>
                  <a:lnTo>
                    <a:pt x="72634" y="885883"/>
                  </a:lnTo>
                  <a:cubicBezTo>
                    <a:pt x="109328" y="876677"/>
                    <a:pt x="122077" y="861946"/>
                    <a:pt x="122077" y="790416"/>
                  </a:cubicBezTo>
                  <a:lnTo>
                    <a:pt x="122077" y="221860"/>
                  </a:lnTo>
                  <a:cubicBezTo>
                    <a:pt x="122077" y="148489"/>
                    <a:pt x="113011" y="144806"/>
                    <a:pt x="67111" y="122709"/>
                  </a:cubicBezTo>
                  <a:lnTo>
                    <a:pt x="-2593" y="87865"/>
                  </a:lnTo>
                  <a:lnTo>
                    <a:pt x="-2593" y="40132"/>
                  </a:lnTo>
                  <a:lnTo>
                    <a:pt x="287265" y="1605"/>
                  </a:lnTo>
                  <a:lnTo>
                    <a:pt x="305537" y="12653"/>
                  </a:lnTo>
                  <a:lnTo>
                    <a:pt x="296472" y="115344"/>
                  </a:lnTo>
                  <a:lnTo>
                    <a:pt x="303697" y="115344"/>
                  </a:lnTo>
                  <a:cubicBezTo>
                    <a:pt x="395498" y="56704"/>
                    <a:pt x="533058" y="-237"/>
                    <a:pt x="650502" y="-237"/>
                  </a:cubicBezTo>
                  <a:cubicBezTo>
                    <a:pt x="835806" y="-237"/>
                    <a:pt x="899983" y="78659"/>
                    <a:pt x="899983" y="243673"/>
                  </a:cubicBezTo>
                  <a:lnTo>
                    <a:pt x="899983" y="789849"/>
                  </a:lnTo>
                  <a:cubicBezTo>
                    <a:pt x="899983" y="860671"/>
                    <a:pt x="914150" y="876110"/>
                    <a:pt x="949425" y="885317"/>
                  </a:cubicBezTo>
                  <a:lnTo>
                    <a:pt x="1022809" y="905430"/>
                  </a:lnTo>
                  <a:lnTo>
                    <a:pt x="1022809" y="960388"/>
                  </a:lnTo>
                  <a:lnTo>
                    <a:pt x="593551" y="960388"/>
                  </a:lnTo>
                  <a:lnTo>
                    <a:pt x="593551" y="905997"/>
                  </a:lnTo>
                  <a:lnTo>
                    <a:pt x="668778" y="885883"/>
                  </a:lnTo>
                  <a:cubicBezTo>
                    <a:pt x="705468" y="876677"/>
                    <a:pt x="716519" y="867470"/>
                    <a:pt x="716519" y="790416"/>
                  </a:cubicBezTo>
                  <a:lnTo>
                    <a:pt x="716519" y="294665"/>
                  </a:lnTo>
                  <a:cubicBezTo>
                    <a:pt x="716519" y="166336"/>
                    <a:pt x="674018" y="120443"/>
                    <a:pt x="556858" y="120443"/>
                  </a:cubicBezTo>
                  <a:cubicBezTo>
                    <a:pt x="467042" y="120443"/>
                    <a:pt x="358521" y="157129"/>
                    <a:pt x="305537" y="177100"/>
                  </a:cubicBezTo>
                  <a:lnTo>
                    <a:pt x="305537" y="789849"/>
                  </a:lnTo>
                  <a:cubicBezTo>
                    <a:pt x="305537" y="866903"/>
                    <a:pt x="316588" y="876110"/>
                    <a:pt x="353281" y="885317"/>
                  </a:cubicBezTo>
                  <a:lnTo>
                    <a:pt x="428508" y="905430"/>
                  </a:lnTo>
                  <a:lnTo>
                    <a:pt x="428508" y="960388"/>
                  </a:lnTo>
                  <a:lnTo>
                    <a:pt x="-2593" y="960388"/>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0" name="Freeform: Shape 9">
              <a:extLst>
                <a:ext uri="{FF2B5EF4-FFF2-40B4-BE49-F238E27FC236}">
                  <a16:creationId xmlns:a16="http://schemas.microsoft.com/office/drawing/2014/main" id="{0E7D2CBE-BF42-4862-8D62-893E7C002CF7}"/>
                </a:ext>
              </a:extLst>
            </p:cNvPr>
            <p:cNvSpPr/>
            <p:nvPr/>
          </p:nvSpPr>
          <p:spPr>
            <a:xfrm>
              <a:off x="3030141" y="1166081"/>
              <a:ext cx="827628" cy="984703"/>
            </a:xfrm>
            <a:custGeom>
              <a:avLst/>
              <a:gdLst>
                <a:gd name="connsiteX0" fmla="*/ 194326 w 827628"/>
                <a:gd name="connsiteY0" fmla="*/ 390415 h 984703"/>
                <a:gd name="connsiteX1" fmla="*/ 619332 w 827628"/>
                <a:gd name="connsiteY1" fmla="*/ 368461 h 984703"/>
                <a:gd name="connsiteX2" fmla="*/ 443097 w 827628"/>
                <a:gd name="connsiteY2" fmla="*/ 76817 h 984703"/>
                <a:gd name="connsiteX3" fmla="*/ 193620 w 827628"/>
                <a:gd name="connsiteY3" fmla="*/ 390415 h 984703"/>
                <a:gd name="connsiteX4" fmla="*/ -2593 w 827628"/>
                <a:gd name="connsiteY4" fmla="*/ 485883 h 984703"/>
                <a:gd name="connsiteX5" fmla="*/ 450748 w 827628"/>
                <a:gd name="connsiteY5" fmla="*/ -237 h 984703"/>
                <a:gd name="connsiteX6" fmla="*/ 825036 w 827628"/>
                <a:gd name="connsiteY6" fmla="*/ 467186 h 984703"/>
                <a:gd name="connsiteX7" fmla="*/ 192486 w 827628"/>
                <a:gd name="connsiteY7" fmla="*/ 467186 h 984703"/>
                <a:gd name="connsiteX8" fmla="*/ 511808 w 827628"/>
                <a:gd name="connsiteY8" fmla="*/ 867045 h 984703"/>
                <a:gd name="connsiteX9" fmla="*/ 807044 w 827628"/>
                <a:gd name="connsiteY9" fmla="*/ 789991 h 984703"/>
                <a:gd name="connsiteX10" fmla="*/ 807044 w 827628"/>
                <a:gd name="connsiteY10" fmla="*/ 863362 h 984703"/>
                <a:gd name="connsiteX11" fmla="*/ 451173 w 827628"/>
                <a:gd name="connsiteY11" fmla="*/ 984467 h 984703"/>
                <a:gd name="connsiteX12" fmla="*/ -2167 w 827628"/>
                <a:gd name="connsiteY12" fmla="*/ 485599 h 98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7628" h="984703">
                  <a:moveTo>
                    <a:pt x="194326" y="390415"/>
                  </a:moveTo>
                  <a:lnTo>
                    <a:pt x="619332" y="368461"/>
                  </a:lnTo>
                  <a:cubicBezTo>
                    <a:pt x="619332" y="157554"/>
                    <a:pt x="584482" y="76817"/>
                    <a:pt x="443097" y="76817"/>
                  </a:cubicBezTo>
                  <a:cubicBezTo>
                    <a:pt x="309221" y="76817"/>
                    <a:pt x="208354" y="173984"/>
                    <a:pt x="193620" y="390415"/>
                  </a:cubicBezTo>
                  <a:moveTo>
                    <a:pt x="-2593" y="485883"/>
                  </a:moveTo>
                  <a:cubicBezTo>
                    <a:pt x="-2593" y="192398"/>
                    <a:pt x="208354" y="-237"/>
                    <a:pt x="450748" y="-237"/>
                  </a:cubicBezTo>
                  <a:cubicBezTo>
                    <a:pt x="683793" y="-237"/>
                    <a:pt x="825036" y="126392"/>
                    <a:pt x="825036" y="467186"/>
                  </a:cubicBezTo>
                  <a:lnTo>
                    <a:pt x="192486" y="467186"/>
                  </a:lnTo>
                  <a:cubicBezTo>
                    <a:pt x="198009" y="746081"/>
                    <a:pt x="324664" y="867045"/>
                    <a:pt x="511808" y="867045"/>
                  </a:cubicBezTo>
                  <a:cubicBezTo>
                    <a:pt x="653477" y="867045"/>
                    <a:pt x="737344" y="822994"/>
                    <a:pt x="807044" y="789991"/>
                  </a:cubicBezTo>
                  <a:lnTo>
                    <a:pt x="807044" y="863362"/>
                  </a:lnTo>
                  <a:cubicBezTo>
                    <a:pt x="705043" y="941775"/>
                    <a:pt x="579952" y="984339"/>
                    <a:pt x="451173" y="984467"/>
                  </a:cubicBezTo>
                  <a:cubicBezTo>
                    <a:pt x="146727" y="984467"/>
                    <a:pt x="-2167" y="782625"/>
                    <a:pt x="-2167" y="485599"/>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1" name="Freeform: Shape 10">
              <a:extLst>
                <a:ext uri="{FF2B5EF4-FFF2-40B4-BE49-F238E27FC236}">
                  <a16:creationId xmlns:a16="http://schemas.microsoft.com/office/drawing/2014/main" id="{98277667-578C-452F-BEDC-F79A15656C7A}"/>
                </a:ext>
              </a:extLst>
            </p:cNvPr>
            <p:cNvSpPr/>
            <p:nvPr/>
          </p:nvSpPr>
          <p:spPr>
            <a:xfrm>
              <a:off x="4373105" y="718571"/>
              <a:ext cx="982759" cy="1407367"/>
            </a:xfrm>
            <a:custGeom>
              <a:avLst/>
              <a:gdLst>
                <a:gd name="connsiteX0" fmla="*/ 310213 w 982759"/>
                <a:gd name="connsiteY0" fmla="*/ 473418 h 1407367"/>
                <a:gd name="connsiteX1" fmla="*/ 647808 w 982759"/>
                <a:gd name="connsiteY1" fmla="*/ 473418 h 1407367"/>
                <a:gd name="connsiteX2" fmla="*/ 846145 w 982759"/>
                <a:gd name="connsiteY2" fmla="*/ 447781 h 1407367"/>
                <a:gd name="connsiteX3" fmla="*/ 866406 w 982759"/>
                <a:gd name="connsiteY3" fmla="*/ 458829 h 1407367"/>
                <a:gd name="connsiteX4" fmla="*/ 857195 w 982759"/>
                <a:gd name="connsiteY4" fmla="*/ 627526 h 1407367"/>
                <a:gd name="connsiteX5" fmla="*/ 857195 w 982759"/>
                <a:gd name="connsiteY5" fmla="*/ 1236592 h 1407367"/>
                <a:gd name="connsiteX6" fmla="*/ 904939 w 982759"/>
                <a:gd name="connsiteY6" fmla="*/ 1332060 h 1407367"/>
                <a:gd name="connsiteX7" fmla="*/ 980166 w 982759"/>
                <a:gd name="connsiteY7" fmla="*/ 1352173 h 1407367"/>
                <a:gd name="connsiteX8" fmla="*/ 980166 w 982759"/>
                <a:gd name="connsiteY8" fmla="*/ 1407130 h 1407367"/>
                <a:gd name="connsiteX9" fmla="*/ 555159 w 982759"/>
                <a:gd name="connsiteY9" fmla="*/ 1407130 h 1407367"/>
                <a:gd name="connsiteX10" fmla="*/ 555159 w 982759"/>
                <a:gd name="connsiteY10" fmla="*/ 1352031 h 1407367"/>
                <a:gd name="connsiteX11" fmla="*/ 624860 w 982759"/>
                <a:gd name="connsiteY11" fmla="*/ 1331918 h 1407367"/>
                <a:gd name="connsiteX12" fmla="*/ 674302 w 982759"/>
                <a:gd name="connsiteY12" fmla="*/ 1236451 h 1407367"/>
                <a:gd name="connsiteX13" fmla="*/ 674302 w 982759"/>
                <a:gd name="connsiteY13" fmla="*/ 667894 h 1407367"/>
                <a:gd name="connsiteX14" fmla="*/ 600918 w 982759"/>
                <a:gd name="connsiteY14" fmla="*/ 570727 h 1407367"/>
                <a:gd name="connsiteX15" fmla="*/ 311061 w 982759"/>
                <a:gd name="connsiteY15" fmla="*/ 570727 h 1407367"/>
                <a:gd name="connsiteX16" fmla="*/ 311061 w 982759"/>
                <a:gd name="connsiteY16" fmla="*/ 1227244 h 1407367"/>
                <a:gd name="connsiteX17" fmla="*/ 358805 w 982759"/>
                <a:gd name="connsiteY17" fmla="*/ 1331918 h 1407367"/>
                <a:gd name="connsiteX18" fmla="*/ 434032 w 982759"/>
                <a:gd name="connsiteY18" fmla="*/ 1352031 h 1407367"/>
                <a:gd name="connsiteX19" fmla="*/ 434032 w 982759"/>
                <a:gd name="connsiteY19" fmla="*/ 1406989 h 1407367"/>
                <a:gd name="connsiteX20" fmla="*/ 2931 w 982759"/>
                <a:gd name="connsiteY20" fmla="*/ 1406989 h 1407367"/>
                <a:gd name="connsiteX21" fmla="*/ 2931 w 982759"/>
                <a:gd name="connsiteY21" fmla="*/ 1352031 h 1407367"/>
                <a:gd name="connsiteX22" fmla="*/ 78158 w 982759"/>
                <a:gd name="connsiteY22" fmla="*/ 1331918 h 1407367"/>
                <a:gd name="connsiteX23" fmla="*/ 127600 w 982759"/>
                <a:gd name="connsiteY23" fmla="*/ 1236451 h 1407367"/>
                <a:gd name="connsiteX24" fmla="*/ 127600 w 982759"/>
                <a:gd name="connsiteY24" fmla="*/ 570161 h 1407367"/>
                <a:gd name="connsiteX25" fmla="*/ -2593 w 982759"/>
                <a:gd name="connsiteY25" fmla="*/ 570161 h 1407367"/>
                <a:gd name="connsiteX26" fmla="*/ -2593 w 982759"/>
                <a:gd name="connsiteY26" fmla="*/ 515061 h 1407367"/>
                <a:gd name="connsiteX27" fmla="*/ 127600 w 982759"/>
                <a:gd name="connsiteY27" fmla="*/ 471152 h 1407367"/>
                <a:gd name="connsiteX28" fmla="*/ 127600 w 982759"/>
                <a:gd name="connsiteY28" fmla="*/ 397781 h 1407367"/>
                <a:gd name="connsiteX29" fmla="*/ 567908 w 982759"/>
                <a:gd name="connsiteY29" fmla="*/ -237 h 1407367"/>
                <a:gd name="connsiteX30" fmla="*/ 778852 w 982759"/>
                <a:gd name="connsiteY30" fmla="*/ 115203 h 1407367"/>
                <a:gd name="connsiteX31" fmla="*/ 679684 w 982759"/>
                <a:gd name="connsiteY31" fmla="*/ 216194 h 1407367"/>
                <a:gd name="connsiteX32" fmla="*/ 566348 w 982759"/>
                <a:gd name="connsiteY32" fmla="*/ 113361 h 1407367"/>
                <a:gd name="connsiteX33" fmla="*/ 515066 w 982759"/>
                <a:gd name="connsiteY33" fmla="*/ 65769 h 1407367"/>
                <a:gd name="connsiteX34" fmla="*/ 311344 w 982759"/>
                <a:gd name="connsiteY34" fmla="*/ 300472 h 140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759" h="1407367">
                  <a:moveTo>
                    <a:pt x="310213" y="473418"/>
                  </a:moveTo>
                  <a:lnTo>
                    <a:pt x="647808" y="473418"/>
                  </a:lnTo>
                  <a:lnTo>
                    <a:pt x="846145" y="447781"/>
                  </a:lnTo>
                  <a:lnTo>
                    <a:pt x="866406" y="458829"/>
                  </a:lnTo>
                  <a:cubicBezTo>
                    <a:pt x="860311" y="514849"/>
                    <a:pt x="857195" y="571166"/>
                    <a:pt x="857195" y="627526"/>
                  </a:cubicBezTo>
                  <a:lnTo>
                    <a:pt x="857195" y="1236592"/>
                  </a:lnTo>
                  <a:cubicBezTo>
                    <a:pt x="857195" y="1313646"/>
                    <a:pt x="868246" y="1322853"/>
                    <a:pt x="904939" y="1332060"/>
                  </a:cubicBezTo>
                  <a:lnTo>
                    <a:pt x="980166" y="1352173"/>
                  </a:lnTo>
                  <a:lnTo>
                    <a:pt x="980166" y="1407130"/>
                  </a:lnTo>
                  <a:lnTo>
                    <a:pt x="555159" y="1407130"/>
                  </a:lnTo>
                  <a:lnTo>
                    <a:pt x="555159" y="1352031"/>
                  </a:lnTo>
                  <a:lnTo>
                    <a:pt x="624860" y="1331918"/>
                  </a:lnTo>
                  <a:cubicBezTo>
                    <a:pt x="659710" y="1322711"/>
                    <a:pt x="674302" y="1307980"/>
                    <a:pt x="674302" y="1236451"/>
                  </a:cubicBezTo>
                  <a:lnTo>
                    <a:pt x="674302" y="667894"/>
                  </a:lnTo>
                  <a:cubicBezTo>
                    <a:pt x="674302" y="594523"/>
                    <a:pt x="648659" y="570727"/>
                    <a:pt x="600918" y="570727"/>
                  </a:cubicBezTo>
                  <a:lnTo>
                    <a:pt x="311061" y="570727"/>
                  </a:lnTo>
                  <a:lnTo>
                    <a:pt x="311061" y="1227244"/>
                  </a:lnTo>
                  <a:cubicBezTo>
                    <a:pt x="311061" y="1313505"/>
                    <a:pt x="318428" y="1320870"/>
                    <a:pt x="358805" y="1331918"/>
                  </a:cubicBezTo>
                  <a:lnTo>
                    <a:pt x="434032" y="1352031"/>
                  </a:lnTo>
                  <a:lnTo>
                    <a:pt x="434032" y="1406989"/>
                  </a:lnTo>
                  <a:lnTo>
                    <a:pt x="2931" y="1406989"/>
                  </a:lnTo>
                  <a:lnTo>
                    <a:pt x="2931" y="1352031"/>
                  </a:lnTo>
                  <a:lnTo>
                    <a:pt x="78158" y="1331918"/>
                  </a:lnTo>
                  <a:cubicBezTo>
                    <a:pt x="114851" y="1322711"/>
                    <a:pt x="127600" y="1307980"/>
                    <a:pt x="127600" y="1236451"/>
                  </a:cubicBezTo>
                  <a:lnTo>
                    <a:pt x="127600" y="570161"/>
                  </a:lnTo>
                  <a:lnTo>
                    <a:pt x="-2593" y="570161"/>
                  </a:lnTo>
                  <a:lnTo>
                    <a:pt x="-2593" y="515061"/>
                  </a:lnTo>
                  <a:lnTo>
                    <a:pt x="127600" y="471152"/>
                  </a:lnTo>
                  <a:lnTo>
                    <a:pt x="127600" y="397781"/>
                  </a:lnTo>
                  <a:cubicBezTo>
                    <a:pt x="127600" y="142823"/>
                    <a:pt x="305537" y="-237"/>
                    <a:pt x="567908" y="-237"/>
                  </a:cubicBezTo>
                  <a:cubicBezTo>
                    <a:pt x="714675" y="-237"/>
                    <a:pt x="778852" y="51038"/>
                    <a:pt x="778852" y="115203"/>
                  </a:cubicBezTo>
                  <a:cubicBezTo>
                    <a:pt x="778852" y="184891"/>
                    <a:pt x="738620" y="216194"/>
                    <a:pt x="679684" y="216194"/>
                  </a:cubicBezTo>
                  <a:cubicBezTo>
                    <a:pt x="608144" y="216194"/>
                    <a:pt x="575134" y="175826"/>
                    <a:pt x="566348" y="113361"/>
                  </a:cubicBezTo>
                  <a:cubicBezTo>
                    <a:pt x="562665" y="84041"/>
                    <a:pt x="549916" y="65769"/>
                    <a:pt x="515066" y="65769"/>
                  </a:cubicBezTo>
                  <a:cubicBezTo>
                    <a:pt x="406829" y="65769"/>
                    <a:pt x="311344" y="109820"/>
                    <a:pt x="311344" y="300472"/>
                  </a:cubicBez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2" name="Freeform: Shape 11">
              <a:extLst>
                <a:ext uri="{FF2B5EF4-FFF2-40B4-BE49-F238E27FC236}">
                  <a16:creationId xmlns:a16="http://schemas.microsoft.com/office/drawing/2014/main" id="{BD499510-7205-4BBD-B3DB-C99AABA529EE}"/>
                </a:ext>
              </a:extLst>
            </p:cNvPr>
            <p:cNvSpPr/>
            <p:nvPr/>
          </p:nvSpPr>
          <p:spPr>
            <a:xfrm>
              <a:off x="5442055" y="1162197"/>
              <a:ext cx="697719" cy="963032"/>
            </a:xfrm>
            <a:custGeom>
              <a:avLst/>
              <a:gdLst>
                <a:gd name="connsiteX0" fmla="*/ -1600 w 697719"/>
                <a:gd name="connsiteY0" fmla="*/ 908405 h 963032"/>
                <a:gd name="connsiteX1" fmla="*/ 73627 w 697719"/>
                <a:gd name="connsiteY1" fmla="*/ 888291 h 963032"/>
                <a:gd name="connsiteX2" fmla="*/ 123211 w 697719"/>
                <a:gd name="connsiteY2" fmla="*/ 792824 h 963032"/>
                <a:gd name="connsiteX3" fmla="*/ 123211 w 697719"/>
                <a:gd name="connsiteY3" fmla="*/ 224268 h 963032"/>
                <a:gd name="connsiteX4" fmla="*/ 68100 w 697719"/>
                <a:gd name="connsiteY4" fmla="*/ 125118 h 963032"/>
                <a:gd name="connsiteX5" fmla="*/ -1600 w 697719"/>
                <a:gd name="connsiteY5" fmla="*/ 90273 h 963032"/>
                <a:gd name="connsiteX6" fmla="*/ -1600 w 697719"/>
                <a:gd name="connsiteY6" fmla="*/ 42540 h 963032"/>
                <a:gd name="connsiteX7" fmla="*/ 288254 w 697719"/>
                <a:gd name="connsiteY7" fmla="*/ 4013 h 963032"/>
                <a:gd name="connsiteX8" fmla="*/ 306672 w 697719"/>
                <a:gd name="connsiteY8" fmla="*/ 18177 h 963032"/>
                <a:gd name="connsiteX9" fmla="*/ 297461 w 697719"/>
                <a:gd name="connsiteY9" fmla="*/ 124551 h 963032"/>
                <a:gd name="connsiteX10" fmla="*/ 304828 w 697719"/>
                <a:gd name="connsiteY10" fmla="*/ 124551 h 963032"/>
                <a:gd name="connsiteX11" fmla="*/ 573999 w 697719"/>
                <a:gd name="connsiteY11" fmla="*/ -237 h 963032"/>
                <a:gd name="connsiteX12" fmla="*/ 695127 w 697719"/>
                <a:gd name="connsiteY12" fmla="*/ 109820 h 963032"/>
                <a:gd name="connsiteX13" fmla="*/ 595958 w 697719"/>
                <a:gd name="connsiteY13" fmla="*/ 212512 h 963032"/>
                <a:gd name="connsiteX14" fmla="*/ 491267 w 697719"/>
                <a:gd name="connsiteY14" fmla="*/ 153871 h 963032"/>
                <a:gd name="connsiteX15" fmla="*/ 448766 w 697719"/>
                <a:gd name="connsiteY15" fmla="*/ 122710 h 963032"/>
                <a:gd name="connsiteX16" fmla="*/ 305679 w 697719"/>
                <a:gd name="connsiteY16" fmla="*/ 203446 h 963032"/>
                <a:gd name="connsiteX17" fmla="*/ 305679 w 697719"/>
                <a:gd name="connsiteY17" fmla="*/ 792257 h 963032"/>
                <a:gd name="connsiteX18" fmla="*/ 353281 w 697719"/>
                <a:gd name="connsiteY18" fmla="*/ 887725 h 963032"/>
                <a:gd name="connsiteX19" fmla="*/ 446922 w 697719"/>
                <a:gd name="connsiteY19" fmla="*/ 907838 h 963032"/>
                <a:gd name="connsiteX20" fmla="*/ 446922 w 697719"/>
                <a:gd name="connsiteY20" fmla="*/ 962796 h 963032"/>
                <a:gd name="connsiteX21" fmla="*/ -2593 w 697719"/>
                <a:gd name="connsiteY21" fmla="*/ 962796 h 96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719" h="963032">
                  <a:moveTo>
                    <a:pt x="-1600" y="908405"/>
                  </a:moveTo>
                  <a:lnTo>
                    <a:pt x="73627" y="888291"/>
                  </a:lnTo>
                  <a:cubicBezTo>
                    <a:pt x="110317" y="879085"/>
                    <a:pt x="123211" y="864354"/>
                    <a:pt x="123211" y="792824"/>
                  </a:cubicBezTo>
                  <a:lnTo>
                    <a:pt x="123211" y="224268"/>
                  </a:lnTo>
                  <a:cubicBezTo>
                    <a:pt x="123211" y="150897"/>
                    <a:pt x="114000" y="147214"/>
                    <a:pt x="68100" y="125118"/>
                  </a:cubicBezTo>
                  <a:lnTo>
                    <a:pt x="-1600" y="90273"/>
                  </a:lnTo>
                  <a:lnTo>
                    <a:pt x="-1600" y="42540"/>
                  </a:lnTo>
                  <a:lnTo>
                    <a:pt x="288254" y="4013"/>
                  </a:lnTo>
                  <a:lnTo>
                    <a:pt x="306672" y="18177"/>
                  </a:lnTo>
                  <a:lnTo>
                    <a:pt x="297461" y="124551"/>
                  </a:lnTo>
                  <a:lnTo>
                    <a:pt x="304828" y="124551"/>
                  </a:lnTo>
                  <a:cubicBezTo>
                    <a:pt x="369005" y="60387"/>
                    <a:pt x="482765" y="-237"/>
                    <a:pt x="573999" y="-237"/>
                  </a:cubicBezTo>
                  <a:cubicBezTo>
                    <a:pt x="649226" y="-237"/>
                    <a:pt x="695127" y="40132"/>
                    <a:pt x="695127" y="109820"/>
                  </a:cubicBezTo>
                  <a:cubicBezTo>
                    <a:pt x="695127" y="179509"/>
                    <a:pt x="649226" y="212512"/>
                    <a:pt x="595958" y="212512"/>
                  </a:cubicBezTo>
                  <a:cubicBezTo>
                    <a:pt x="527957" y="212512"/>
                    <a:pt x="507841" y="194240"/>
                    <a:pt x="491267" y="153871"/>
                  </a:cubicBezTo>
                  <a:cubicBezTo>
                    <a:pt x="480358" y="128234"/>
                    <a:pt x="467464" y="122710"/>
                    <a:pt x="448766" y="122710"/>
                  </a:cubicBezTo>
                  <a:cubicBezTo>
                    <a:pt x="412072" y="122710"/>
                    <a:pt x="338689" y="166761"/>
                    <a:pt x="305679" y="203446"/>
                  </a:cubicBezTo>
                  <a:lnTo>
                    <a:pt x="305679" y="792257"/>
                  </a:lnTo>
                  <a:cubicBezTo>
                    <a:pt x="305679" y="869311"/>
                    <a:pt x="316588" y="880359"/>
                    <a:pt x="353281" y="887725"/>
                  </a:cubicBezTo>
                  <a:lnTo>
                    <a:pt x="446922" y="907838"/>
                  </a:lnTo>
                  <a:lnTo>
                    <a:pt x="446922" y="962796"/>
                  </a:lnTo>
                  <a:lnTo>
                    <a:pt x="-2593" y="962796"/>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3" name="Freeform: Shape 12">
              <a:extLst>
                <a:ext uri="{FF2B5EF4-FFF2-40B4-BE49-F238E27FC236}">
                  <a16:creationId xmlns:a16="http://schemas.microsoft.com/office/drawing/2014/main" id="{588BD3B2-4F0C-4865-B0C2-18264B05F1DD}"/>
                </a:ext>
              </a:extLst>
            </p:cNvPr>
            <p:cNvSpPr/>
            <p:nvPr/>
          </p:nvSpPr>
          <p:spPr>
            <a:xfrm>
              <a:off x="6218809" y="1164181"/>
              <a:ext cx="1561616" cy="961757"/>
            </a:xfrm>
            <a:custGeom>
              <a:avLst/>
              <a:gdLst>
                <a:gd name="connsiteX0" fmla="*/ -2167 w 1561616"/>
                <a:gd name="connsiteY0" fmla="*/ 906422 h 961757"/>
                <a:gd name="connsiteX1" fmla="*/ 73060 w 1561616"/>
                <a:gd name="connsiteY1" fmla="*/ 886308 h 961757"/>
                <a:gd name="connsiteX2" fmla="*/ 122502 w 1561616"/>
                <a:gd name="connsiteY2" fmla="*/ 790841 h 961757"/>
                <a:gd name="connsiteX3" fmla="*/ 122502 w 1561616"/>
                <a:gd name="connsiteY3" fmla="*/ 222285 h 961757"/>
                <a:gd name="connsiteX4" fmla="*/ 67533 w 1561616"/>
                <a:gd name="connsiteY4" fmla="*/ 123134 h 961757"/>
                <a:gd name="connsiteX5" fmla="*/ -2167 w 1561616"/>
                <a:gd name="connsiteY5" fmla="*/ 88290 h 961757"/>
                <a:gd name="connsiteX6" fmla="*/ -2167 w 1561616"/>
                <a:gd name="connsiteY6" fmla="*/ 40557 h 961757"/>
                <a:gd name="connsiteX7" fmla="*/ 287687 w 1561616"/>
                <a:gd name="connsiteY7" fmla="*/ 2030 h 961757"/>
                <a:gd name="connsiteX8" fmla="*/ 305963 w 1561616"/>
                <a:gd name="connsiteY8" fmla="*/ 16194 h 961757"/>
                <a:gd name="connsiteX9" fmla="*/ 296894 w 1561616"/>
                <a:gd name="connsiteY9" fmla="*/ 115344 h 961757"/>
                <a:gd name="connsiteX10" fmla="*/ 304261 w 1561616"/>
                <a:gd name="connsiteY10" fmla="*/ 115344 h 961757"/>
                <a:gd name="connsiteX11" fmla="*/ 634350 w 1561616"/>
                <a:gd name="connsiteY11" fmla="*/ -237 h 961757"/>
                <a:gd name="connsiteX12" fmla="*/ 856348 w 1561616"/>
                <a:gd name="connsiteY12" fmla="*/ 119027 h 961757"/>
                <a:gd name="connsiteX13" fmla="*/ 863711 w 1561616"/>
                <a:gd name="connsiteY13" fmla="*/ 119027 h 961757"/>
                <a:gd name="connsiteX14" fmla="*/ 1212218 w 1561616"/>
                <a:gd name="connsiteY14" fmla="*/ -237 h 961757"/>
                <a:gd name="connsiteX15" fmla="*/ 1436056 w 1561616"/>
                <a:gd name="connsiteY15" fmla="*/ 245514 h 961757"/>
                <a:gd name="connsiteX16" fmla="*/ 1436056 w 1561616"/>
                <a:gd name="connsiteY16" fmla="*/ 790274 h 961757"/>
                <a:gd name="connsiteX17" fmla="*/ 1483797 w 1561616"/>
                <a:gd name="connsiteY17" fmla="*/ 885742 h 961757"/>
                <a:gd name="connsiteX18" fmla="*/ 1559024 w 1561616"/>
                <a:gd name="connsiteY18" fmla="*/ 905855 h 961757"/>
                <a:gd name="connsiteX19" fmla="*/ 1559024 w 1561616"/>
                <a:gd name="connsiteY19" fmla="*/ 960813 h 961757"/>
                <a:gd name="connsiteX20" fmla="*/ 1127359 w 1561616"/>
                <a:gd name="connsiteY20" fmla="*/ 960813 h 961757"/>
                <a:gd name="connsiteX21" fmla="*/ 1127359 w 1561616"/>
                <a:gd name="connsiteY21" fmla="*/ 906422 h 961757"/>
                <a:gd name="connsiteX22" fmla="*/ 1202586 w 1561616"/>
                <a:gd name="connsiteY22" fmla="*/ 886308 h 961757"/>
                <a:gd name="connsiteX23" fmla="*/ 1252170 w 1561616"/>
                <a:gd name="connsiteY23" fmla="*/ 790841 h 961757"/>
                <a:gd name="connsiteX24" fmla="*/ 1252170 w 1561616"/>
                <a:gd name="connsiteY24" fmla="*/ 297497 h 961757"/>
                <a:gd name="connsiteX25" fmla="*/ 1109083 w 1561616"/>
                <a:gd name="connsiteY25" fmla="*/ 121435 h 961757"/>
                <a:gd name="connsiteX26" fmla="*/ 870653 w 1561616"/>
                <a:gd name="connsiteY26" fmla="*/ 181916 h 961757"/>
                <a:gd name="connsiteX27" fmla="*/ 870653 w 1561616"/>
                <a:gd name="connsiteY27" fmla="*/ 790982 h 961757"/>
                <a:gd name="connsiteX28" fmla="*/ 918255 w 1561616"/>
                <a:gd name="connsiteY28" fmla="*/ 886450 h 961757"/>
                <a:gd name="connsiteX29" fmla="*/ 993482 w 1561616"/>
                <a:gd name="connsiteY29" fmla="*/ 906563 h 961757"/>
                <a:gd name="connsiteX30" fmla="*/ 993482 w 1561616"/>
                <a:gd name="connsiteY30" fmla="*/ 961521 h 961757"/>
                <a:gd name="connsiteX31" fmla="*/ 562385 w 1561616"/>
                <a:gd name="connsiteY31" fmla="*/ 961521 h 961757"/>
                <a:gd name="connsiteX32" fmla="*/ 562385 w 1561616"/>
                <a:gd name="connsiteY32" fmla="*/ 906422 h 961757"/>
                <a:gd name="connsiteX33" fmla="*/ 637608 w 1561616"/>
                <a:gd name="connsiteY33" fmla="*/ 886308 h 961757"/>
                <a:gd name="connsiteX34" fmla="*/ 687192 w 1561616"/>
                <a:gd name="connsiteY34" fmla="*/ 790841 h 961757"/>
                <a:gd name="connsiteX35" fmla="*/ 687192 w 1561616"/>
                <a:gd name="connsiteY35" fmla="*/ 297497 h 961757"/>
                <a:gd name="connsiteX36" fmla="*/ 544109 w 1561616"/>
                <a:gd name="connsiteY36" fmla="*/ 121435 h 961757"/>
                <a:gd name="connsiteX37" fmla="*/ 305537 w 1561616"/>
                <a:gd name="connsiteY37" fmla="*/ 178092 h 961757"/>
                <a:gd name="connsiteX38" fmla="*/ 305537 w 1561616"/>
                <a:gd name="connsiteY38" fmla="*/ 790274 h 961757"/>
                <a:gd name="connsiteX39" fmla="*/ 353281 w 1561616"/>
                <a:gd name="connsiteY39" fmla="*/ 885742 h 961757"/>
                <a:gd name="connsiteX40" fmla="*/ 428505 w 1561616"/>
                <a:gd name="connsiteY40" fmla="*/ 905855 h 961757"/>
                <a:gd name="connsiteX41" fmla="*/ 428505 w 1561616"/>
                <a:gd name="connsiteY41" fmla="*/ 960813 h 961757"/>
                <a:gd name="connsiteX42" fmla="*/ -2593 w 1561616"/>
                <a:gd name="connsiteY42" fmla="*/ 960813 h 96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616" h="961757">
                  <a:moveTo>
                    <a:pt x="-2167" y="906422"/>
                  </a:moveTo>
                  <a:lnTo>
                    <a:pt x="73060" y="886308"/>
                  </a:lnTo>
                  <a:cubicBezTo>
                    <a:pt x="109750" y="877101"/>
                    <a:pt x="122502" y="862370"/>
                    <a:pt x="122502" y="790841"/>
                  </a:cubicBezTo>
                  <a:lnTo>
                    <a:pt x="122502" y="222285"/>
                  </a:lnTo>
                  <a:cubicBezTo>
                    <a:pt x="122502" y="148914"/>
                    <a:pt x="113433" y="145231"/>
                    <a:pt x="67533" y="123134"/>
                  </a:cubicBezTo>
                  <a:lnTo>
                    <a:pt x="-2167" y="88290"/>
                  </a:lnTo>
                  <a:lnTo>
                    <a:pt x="-2167" y="40557"/>
                  </a:lnTo>
                  <a:lnTo>
                    <a:pt x="287687" y="2030"/>
                  </a:lnTo>
                  <a:lnTo>
                    <a:pt x="305963" y="16194"/>
                  </a:lnTo>
                  <a:lnTo>
                    <a:pt x="296894" y="115344"/>
                  </a:lnTo>
                  <a:lnTo>
                    <a:pt x="304261" y="115344"/>
                  </a:lnTo>
                  <a:cubicBezTo>
                    <a:pt x="395924" y="56704"/>
                    <a:pt x="520590" y="-237"/>
                    <a:pt x="634350" y="-237"/>
                  </a:cubicBezTo>
                  <a:cubicBezTo>
                    <a:pt x="768368" y="-237"/>
                    <a:pt x="823338" y="43814"/>
                    <a:pt x="856348" y="119027"/>
                  </a:cubicBezTo>
                  <a:lnTo>
                    <a:pt x="863711" y="119027"/>
                  </a:lnTo>
                  <a:cubicBezTo>
                    <a:pt x="964581" y="60387"/>
                    <a:pt x="1076215" y="-237"/>
                    <a:pt x="1212218" y="-237"/>
                  </a:cubicBezTo>
                  <a:cubicBezTo>
                    <a:pt x="1373720" y="-237"/>
                    <a:pt x="1436056" y="80500"/>
                    <a:pt x="1436056" y="245514"/>
                  </a:cubicBezTo>
                  <a:lnTo>
                    <a:pt x="1436056" y="790274"/>
                  </a:lnTo>
                  <a:cubicBezTo>
                    <a:pt x="1436056" y="861096"/>
                    <a:pt x="1450223" y="876535"/>
                    <a:pt x="1483797" y="885742"/>
                  </a:cubicBezTo>
                  <a:lnTo>
                    <a:pt x="1559024" y="905855"/>
                  </a:lnTo>
                  <a:lnTo>
                    <a:pt x="1559024" y="960813"/>
                  </a:lnTo>
                  <a:lnTo>
                    <a:pt x="1127359" y="960813"/>
                  </a:lnTo>
                  <a:lnTo>
                    <a:pt x="1127359" y="906422"/>
                  </a:lnTo>
                  <a:lnTo>
                    <a:pt x="1202586" y="886308"/>
                  </a:lnTo>
                  <a:cubicBezTo>
                    <a:pt x="1241119" y="877101"/>
                    <a:pt x="1252170" y="867895"/>
                    <a:pt x="1252170" y="790841"/>
                  </a:cubicBezTo>
                  <a:lnTo>
                    <a:pt x="1252170" y="297497"/>
                  </a:lnTo>
                  <a:cubicBezTo>
                    <a:pt x="1252170" y="174551"/>
                    <a:pt x="1221004" y="121435"/>
                    <a:pt x="1109083" y="121435"/>
                  </a:cubicBezTo>
                  <a:cubicBezTo>
                    <a:pt x="1019267" y="121435"/>
                    <a:pt x="925622" y="156279"/>
                    <a:pt x="870653" y="181916"/>
                  </a:cubicBezTo>
                  <a:lnTo>
                    <a:pt x="870653" y="790982"/>
                  </a:lnTo>
                  <a:cubicBezTo>
                    <a:pt x="870653" y="861804"/>
                    <a:pt x="884820" y="877243"/>
                    <a:pt x="918255" y="886450"/>
                  </a:cubicBezTo>
                  <a:lnTo>
                    <a:pt x="993482" y="906563"/>
                  </a:lnTo>
                  <a:lnTo>
                    <a:pt x="993482" y="961521"/>
                  </a:lnTo>
                  <a:lnTo>
                    <a:pt x="562385" y="961521"/>
                  </a:lnTo>
                  <a:lnTo>
                    <a:pt x="562385" y="906422"/>
                  </a:lnTo>
                  <a:lnTo>
                    <a:pt x="637608" y="886308"/>
                  </a:lnTo>
                  <a:cubicBezTo>
                    <a:pt x="676142" y="877101"/>
                    <a:pt x="687192" y="867895"/>
                    <a:pt x="687192" y="790841"/>
                  </a:cubicBezTo>
                  <a:lnTo>
                    <a:pt x="687192" y="297497"/>
                  </a:lnTo>
                  <a:cubicBezTo>
                    <a:pt x="687192" y="176392"/>
                    <a:pt x="656026" y="121435"/>
                    <a:pt x="544109" y="121435"/>
                  </a:cubicBezTo>
                  <a:cubicBezTo>
                    <a:pt x="454148" y="121435"/>
                    <a:pt x="358805" y="156279"/>
                    <a:pt x="305537" y="178092"/>
                  </a:cubicBezTo>
                  <a:lnTo>
                    <a:pt x="305537" y="790274"/>
                  </a:lnTo>
                  <a:cubicBezTo>
                    <a:pt x="305537" y="867328"/>
                    <a:pt x="316588" y="876535"/>
                    <a:pt x="353281" y="885742"/>
                  </a:cubicBezTo>
                  <a:lnTo>
                    <a:pt x="428505" y="905855"/>
                  </a:lnTo>
                  <a:lnTo>
                    <a:pt x="428505" y="960813"/>
                  </a:lnTo>
                  <a:lnTo>
                    <a:pt x="-2593" y="960813"/>
                  </a:lnTo>
                  <a:close/>
                </a:path>
              </a:pathLst>
            </a:custGeom>
            <a:solidFill>
              <a:schemeClr val="tx1"/>
            </a:solidFill>
            <a:ln w="14153" cap="flat">
              <a:noFill/>
              <a:prstDash val="solid"/>
              <a:miter/>
            </a:ln>
          </p:spPr>
          <p:txBody>
            <a:bodyPr rtlCol="0" anchor="ctr"/>
            <a:lstStyle/>
            <a:p>
              <a:endParaRPr lang="en-GB" dirty="0">
                <a:solidFill>
                  <a:schemeClr val="tx1"/>
                </a:solidFill>
              </a:endParaRPr>
            </a:p>
          </p:txBody>
        </p:sp>
        <p:sp>
          <p:nvSpPr>
            <p:cNvPr id="14" name="Freeform: Shape 13">
              <a:extLst>
                <a:ext uri="{FF2B5EF4-FFF2-40B4-BE49-F238E27FC236}">
                  <a16:creationId xmlns:a16="http://schemas.microsoft.com/office/drawing/2014/main" id="{BFF832B6-3402-4CD7-8CD9-DBF06FA7A041}"/>
                </a:ext>
              </a:extLst>
            </p:cNvPr>
            <p:cNvSpPr/>
            <p:nvPr userDrawn="1"/>
          </p:nvSpPr>
          <p:spPr>
            <a:xfrm>
              <a:off x="7853110" y="1875449"/>
              <a:ext cx="266363" cy="266347"/>
            </a:xfrm>
            <a:custGeom>
              <a:avLst/>
              <a:gdLst>
                <a:gd name="connsiteX0" fmla="*/ -2527 w 230343"/>
                <a:gd name="connsiteY0" fmla="*/ 118884 h 230329"/>
                <a:gd name="connsiteX1" fmla="*/ 108684 w 230343"/>
                <a:gd name="connsiteY1" fmla="*/ -167 h 230329"/>
                <a:gd name="connsiteX2" fmla="*/ 227685 w 230343"/>
                <a:gd name="connsiteY2" fmla="*/ 110952 h 230329"/>
                <a:gd name="connsiteX3" fmla="*/ 116477 w 230343"/>
                <a:gd name="connsiteY3" fmla="*/ 230003 h 230329"/>
                <a:gd name="connsiteX4" fmla="*/ 111801 w 230343"/>
                <a:gd name="connsiteY4" fmla="*/ 230074 h 230329"/>
                <a:gd name="connsiteX5" fmla="*/ -2527 w 230343"/>
                <a:gd name="connsiteY5" fmla="*/ 119762 h 230329"/>
                <a:gd name="connsiteX6" fmla="*/ -2527 w 230343"/>
                <a:gd name="connsiteY6" fmla="*/ 118884 h 23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43" h="230329">
                  <a:moveTo>
                    <a:pt x="-2527" y="118884"/>
                  </a:moveTo>
                  <a:cubicBezTo>
                    <a:pt x="-4651" y="55329"/>
                    <a:pt x="45075" y="2029"/>
                    <a:pt x="108684" y="-167"/>
                  </a:cubicBezTo>
                  <a:cubicBezTo>
                    <a:pt x="172152" y="-2362"/>
                    <a:pt x="225561" y="47397"/>
                    <a:pt x="227685" y="110952"/>
                  </a:cubicBezTo>
                  <a:cubicBezTo>
                    <a:pt x="229812" y="174522"/>
                    <a:pt x="180086" y="227822"/>
                    <a:pt x="116477" y="230003"/>
                  </a:cubicBezTo>
                  <a:cubicBezTo>
                    <a:pt x="114917" y="230060"/>
                    <a:pt x="113360" y="230088"/>
                    <a:pt x="111801" y="230074"/>
                  </a:cubicBezTo>
                  <a:cubicBezTo>
                    <a:pt x="49748" y="231179"/>
                    <a:pt x="-1393" y="181788"/>
                    <a:pt x="-2527" y="119762"/>
                  </a:cubicBezTo>
                  <a:cubicBezTo>
                    <a:pt x="-2527" y="119465"/>
                    <a:pt x="-2527" y="119182"/>
                    <a:pt x="-2527" y="118884"/>
                  </a:cubicBezTo>
                </a:path>
              </a:pathLst>
            </a:custGeom>
            <a:solidFill>
              <a:schemeClr val="tx1"/>
            </a:solidFill>
            <a:ln w="14153" cap="flat">
              <a:noFill/>
              <a:prstDash val="solid"/>
              <a:miter/>
            </a:ln>
          </p:spPr>
          <p:txBody>
            <a:bodyPr rtlCol="0" anchor="ctr"/>
            <a:lstStyle/>
            <a:p>
              <a:endParaRPr lang="en-GB">
                <a:solidFill>
                  <a:schemeClr val="tx1"/>
                </a:solidFill>
              </a:endParaRPr>
            </a:p>
          </p:txBody>
        </p:sp>
      </p:grpSp>
      <p:grpSp>
        <p:nvGrpSpPr>
          <p:cNvPr id="2" name="Group 1">
            <a:extLst>
              <a:ext uri="{FF2B5EF4-FFF2-40B4-BE49-F238E27FC236}">
                <a16:creationId xmlns:a16="http://schemas.microsoft.com/office/drawing/2014/main" id="{FF6A65B9-ADDA-482F-9F23-565796B0C61B}"/>
              </a:ext>
            </a:extLst>
          </p:cNvPr>
          <p:cNvGrpSpPr/>
          <p:nvPr userDrawn="1"/>
        </p:nvGrpSpPr>
        <p:grpSpPr>
          <a:xfrm>
            <a:off x="709879" y="2561771"/>
            <a:ext cx="8016437" cy="1431305"/>
            <a:chOff x="709879" y="2561771"/>
            <a:chExt cx="8016437" cy="1431305"/>
          </a:xfrm>
        </p:grpSpPr>
        <p:sp>
          <p:nvSpPr>
            <p:cNvPr id="15" name="Freeform: Shape 14">
              <a:extLst>
                <a:ext uri="{FF2B5EF4-FFF2-40B4-BE49-F238E27FC236}">
                  <a16:creationId xmlns:a16="http://schemas.microsoft.com/office/drawing/2014/main" id="{2842B283-E38F-4698-A84D-EFA2E277B030}"/>
                </a:ext>
              </a:extLst>
            </p:cNvPr>
            <p:cNvSpPr/>
            <p:nvPr/>
          </p:nvSpPr>
          <p:spPr>
            <a:xfrm>
              <a:off x="709879" y="2697323"/>
              <a:ext cx="1139300" cy="1271389"/>
            </a:xfrm>
            <a:custGeom>
              <a:avLst/>
              <a:gdLst>
                <a:gd name="connsiteX0" fmla="*/ 329762 w 1139300"/>
                <a:gd name="connsiteY0" fmla="*/ 1214071 h 1271389"/>
                <a:gd name="connsiteX1" fmla="*/ 419581 w 1139300"/>
                <a:gd name="connsiteY1" fmla="*/ 1197499 h 1271389"/>
                <a:gd name="connsiteX2" fmla="*/ 476249 w 1139300"/>
                <a:gd name="connsiteY2" fmla="*/ 1087442 h 1271389"/>
                <a:gd name="connsiteX3" fmla="*/ 476249 w 1139300"/>
                <a:gd name="connsiteY3" fmla="*/ 757271 h 1271389"/>
                <a:gd name="connsiteX4" fmla="*/ 188235 w 1139300"/>
                <a:gd name="connsiteY4" fmla="*/ 230925 h 1271389"/>
                <a:gd name="connsiteX5" fmla="*/ 43308 w 1139300"/>
                <a:gd name="connsiteY5" fmla="*/ 67752 h 1271389"/>
                <a:gd name="connsiteX6" fmla="*/ -2593 w 1139300"/>
                <a:gd name="connsiteY6" fmla="*/ 54863 h 1271389"/>
                <a:gd name="connsiteX7" fmla="*/ -2593 w 1139300"/>
                <a:gd name="connsiteY7" fmla="*/ -237 h 1271389"/>
                <a:gd name="connsiteX8" fmla="*/ 479932 w 1139300"/>
                <a:gd name="connsiteY8" fmla="*/ -237 h 1271389"/>
                <a:gd name="connsiteX9" fmla="*/ 479932 w 1139300"/>
                <a:gd name="connsiteY9" fmla="*/ 54863 h 1271389"/>
                <a:gd name="connsiteX10" fmla="*/ 434032 w 1139300"/>
                <a:gd name="connsiteY10" fmla="*/ 65911 h 1271389"/>
                <a:gd name="connsiteX11" fmla="*/ 356961 w 1139300"/>
                <a:gd name="connsiteY11" fmla="*/ 131917 h 1271389"/>
                <a:gd name="connsiteX12" fmla="*/ 397338 w 1139300"/>
                <a:gd name="connsiteY12" fmla="*/ 231067 h 1271389"/>
                <a:gd name="connsiteX13" fmla="*/ 617776 w 1139300"/>
                <a:gd name="connsiteY13" fmla="*/ 653305 h 1271389"/>
                <a:gd name="connsiteX14" fmla="*/ 625143 w 1139300"/>
                <a:gd name="connsiteY14" fmla="*/ 653305 h 1271389"/>
                <a:gd name="connsiteX15" fmla="*/ 837647 w 1139300"/>
                <a:gd name="connsiteY15" fmla="*/ 231492 h 1271389"/>
                <a:gd name="connsiteX16" fmla="*/ 868813 w 1139300"/>
                <a:gd name="connsiteY16" fmla="*/ 132342 h 1271389"/>
                <a:gd name="connsiteX17" fmla="*/ 802793 w 1139300"/>
                <a:gd name="connsiteY17" fmla="*/ 68177 h 1271389"/>
                <a:gd name="connsiteX18" fmla="*/ 744002 w 1139300"/>
                <a:gd name="connsiteY18" fmla="*/ 55288 h 1271389"/>
                <a:gd name="connsiteX19" fmla="*/ 744002 w 1139300"/>
                <a:gd name="connsiteY19" fmla="*/ 189 h 1271389"/>
                <a:gd name="connsiteX20" fmla="*/ 1136708 w 1139300"/>
                <a:gd name="connsiteY20" fmla="*/ 189 h 1271389"/>
                <a:gd name="connsiteX21" fmla="*/ 1136708 w 1139300"/>
                <a:gd name="connsiteY21" fmla="*/ 55288 h 1271389"/>
                <a:gd name="connsiteX22" fmla="*/ 1096334 w 1139300"/>
                <a:gd name="connsiteY22" fmla="*/ 68177 h 1271389"/>
                <a:gd name="connsiteX23" fmla="*/ 931146 w 1139300"/>
                <a:gd name="connsiteY23" fmla="*/ 256987 h 1271389"/>
                <a:gd name="connsiteX24" fmla="*/ 676142 w 1139300"/>
                <a:gd name="connsiteY24" fmla="*/ 743107 h 1271389"/>
                <a:gd name="connsiteX25" fmla="*/ 676142 w 1139300"/>
                <a:gd name="connsiteY25" fmla="*/ 1087867 h 1271389"/>
                <a:gd name="connsiteX26" fmla="*/ 734937 w 1139300"/>
                <a:gd name="connsiteY26" fmla="*/ 1197924 h 1271389"/>
                <a:gd name="connsiteX27" fmla="*/ 824752 w 1139300"/>
                <a:gd name="connsiteY27" fmla="*/ 1214496 h 1271389"/>
                <a:gd name="connsiteX28" fmla="*/ 824752 w 1139300"/>
                <a:gd name="connsiteY28" fmla="*/ 1271153 h 1271389"/>
                <a:gd name="connsiteX29" fmla="*/ 328911 w 1139300"/>
                <a:gd name="connsiteY29" fmla="*/ 1271153 h 127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39300" h="1271389">
                  <a:moveTo>
                    <a:pt x="329762" y="1214071"/>
                  </a:moveTo>
                  <a:lnTo>
                    <a:pt x="419581" y="1197499"/>
                  </a:lnTo>
                  <a:cubicBezTo>
                    <a:pt x="463638" y="1188292"/>
                    <a:pt x="476249" y="1179227"/>
                    <a:pt x="476249" y="1087442"/>
                  </a:cubicBezTo>
                  <a:lnTo>
                    <a:pt x="476249" y="757271"/>
                  </a:lnTo>
                  <a:lnTo>
                    <a:pt x="188235" y="230925"/>
                  </a:lnTo>
                  <a:cubicBezTo>
                    <a:pt x="122218" y="113503"/>
                    <a:pt x="94590" y="82341"/>
                    <a:pt x="43308" y="67752"/>
                  </a:cubicBezTo>
                  <a:lnTo>
                    <a:pt x="-2593" y="54863"/>
                  </a:lnTo>
                  <a:lnTo>
                    <a:pt x="-2593" y="-237"/>
                  </a:lnTo>
                  <a:lnTo>
                    <a:pt x="479932" y="-237"/>
                  </a:lnTo>
                  <a:lnTo>
                    <a:pt x="479932" y="54863"/>
                  </a:lnTo>
                  <a:lnTo>
                    <a:pt x="434032" y="65911"/>
                  </a:lnTo>
                  <a:cubicBezTo>
                    <a:pt x="375379" y="78659"/>
                    <a:pt x="356961" y="98913"/>
                    <a:pt x="356961" y="131917"/>
                  </a:cubicBezTo>
                  <a:cubicBezTo>
                    <a:pt x="356961" y="155713"/>
                    <a:pt x="373539" y="185033"/>
                    <a:pt x="397338" y="231067"/>
                  </a:cubicBezTo>
                  <a:lnTo>
                    <a:pt x="617776" y="653305"/>
                  </a:lnTo>
                  <a:lnTo>
                    <a:pt x="625143" y="653305"/>
                  </a:lnTo>
                  <a:lnTo>
                    <a:pt x="837647" y="231492"/>
                  </a:lnTo>
                  <a:cubicBezTo>
                    <a:pt x="859602" y="185600"/>
                    <a:pt x="868813" y="156279"/>
                    <a:pt x="868813" y="132342"/>
                  </a:cubicBezTo>
                  <a:cubicBezTo>
                    <a:pt x="868813" y="97497"/>
                    <a:pt x="848694" y="79084"/>
                    <a:pt x="802793" y="68177"/>
                  </a:cubicBezTo>
                  <a:lnTo>
                    <a:pt x="744002" y="55288"/>
                  </a:lnTo>
                  <a:lnTo>
                    <a:pt x="744002" y="189"/>
                  </a:lnTo>
                  <a:lnTo>
                    <a:pt x="1136708" y="189"/>
                  </a:lnTo>
                  <a:lnTo>
                    <a:pt x="1136708" y="55288"/>
                  </a:lnTo>
                  <a:lnTo>
                    <a:pt x="1096334" y="68177"/>
                  </a:lnTo>
                  <a:cubicBezTo>
                    <a:pt x="1033856" y="88290"/>
                    <a:pt x="1002689" y="113928"/>
                    <a:pt x="931146" y="256987"/>
                  </a:cubicBezTo>
                  <a:lnTo>
                    <a:pt x="676142" y="743107"/>
                  </a:lnTo>
                  <a:lnTo>
                    <a:pt x="676142" y="1087867"/>
                  </a:lnTo>
                  <a:cubicBezTo>
                    <a:pt x="676142" y="1179652"/>
                    <a:pt x="683509" y="1188717"/>
                    <a:pt x="734937" y="1197924"/>
                  </a:cubicBezTo>
                  <a:lnTo>
                    <a:pt x="824752" y="1214496"/>
                  </a:lnTo>
                  <a:lnTo>
                    <a:pt x="824752" y="1271153"/>
                  </a:lnTo>
                  <a:lnTo>
                    <a:pt x="328911" y="1271153"/>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6" name="Freeform: Shape 15">
              <a:extLst>
                <a:ext uri="{FF2B5EF4-FFF2-40B4-BE49-F238E27FC236}">
                  <a16:creationId xmlns:a16="http://schemas.microsoft.com/office/drawing/2014/main" id="{536ADBA9-BD5E-4F5B-B3C6-6727491B57EA}"/>
                </a:ext>
              </a:extLst>
            </p:cNvPr>
            <p:cNvSpPr/>
            <p:nvPr/>
          </p:nvSpPr>
          <p:spPr>
            <a:xfrm>
              <a:off x="1721900" y="3006248"/>
              <a:ext cx="926375" cy="986828"/>
            </a:xfrm>
            <a:custGeom>
              <a:avLst/>
              <a:gdLst>
                <a:gd name="connsiteX0" fmla="*/ 722610 w 926375"/>
                <a:gd name="connsiteY0" fmla="*/ 508970 h 986828"/>
                <a:gd name="connsiteX1" fmla="*/ 454715 w 926375"/>
                <a:gd name="connsiteY1" fmla="*/ 76109 h 986828"/>
                <a:gd name="connsiteX2" fmla="*/ 199711 w 926375"/>
                <a:gd name="connsiteY2" fmla="*/ 468602 h 986828"/>
                <a:gd name="connsiteX3" fmla="*/ 468882 w 926375"/>
                <a:gd name="connsiteY3" fmla="*/ 907696 h 986828"/>
                <a:gd name="connsiteX4" fmla="*/ 722046 w 926375"/>
                <a:gd name="connsiteY4" fmla="*/ 509679 h 986828"/>
                <a:gd name="connsiteX5" fmla="*/ -2593 w 926375"/>
                <a:gd name="connsiteY5" fmla="*/ 495515 h 986828"/>
                <a:gd name="connsiteX6" fmla="*/ 461515 w 926375"/>
                <a:gd name="connsiteY6" fmla="*/ -237 h 986828"/>
                <a:gd name="connsiteX7" fmla="*/ 923782 w 926375"/>
                <a:gd name="connsiteY7" fmla="*/ 483900 h 986828"/>
                <a:gd name="connsiteX8" fmla="*/ 461515 w 926375"/>
                <a:gd name="connsiteY8" fmla="*/ 986591 h 986828"/>
                <a:gd name="connsiteX9" fmla="*/ -2593 w 926375"/>
                <a:gd name="connsiteY9" fmla="*/ 494948 h 98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375" h="986828">
                  <a:moveTo>
                    <a:pt x="722610" y="508970"/>
                  </a:moveTo>
                  <a:cubicBezTo>
                    <a:pt x="722610" y="197355"/>
                    <a:pt x="634492" y="76109"/>
                    <a:pt x="454715" y="76109"/>
                  </a:cubicBezTo>
                  <a:cubicBezTo>
                    <a:pt x="289672" y="76109"/>
                    <a:pt x="199711" y="193531"/>
                    <a:pt x="199711" y="468602"/>
                  </a:cubicBezTo>
                  <a:cubicBezTo>
                    <a:pt x="199711" y="780217"/>
                    <a:pt x="289672" y="907696"/>
                    <a:pt x="468882" y="907696"/>
                  </a:cubicBezTo>
                  <a:cubicBezTo>
                    <a:pt x="633925" y="907696"/>
                    <a:pt x="722046" y="784750"/>
                    <a:pt x="722046" y="509679"/>
                  </a:cubicBezTo>
                  <a:moveTo>
                    <a:pt x="-2593" y="495515"/>
                  </a:moveTo>
                  <a:cubicBezTo>
                    <a:pt x="-2593" y="174551"/>
                    <a:pt x="221245" y="-237"/>
                    <a:pt x="461515" y="-237"/>
                  </a:cubicBezTo>
                  <a:cubicBezTo>
                    <a:pt x="722046" y="-237"/>
                    <a:pt x="923782" y="159253"/>
                    <a:pt x="923782" y="483900"/>
                  </a:cubicBezTo>
                  <a:cubicBezTo>
                    <a:pt x="923782" y="805005"/>
                    <a:pt x="699945" y="986591"/>
                    <a:pt x="461515" y="986591"/>
                  </a:cubicBezTo>
                  <a:cubicBezTo>
                    <a:pt x="199144" y="986591"/>
                    <a:pt x="-2593" y="819594"/>
                    <a:pt x="-2593" y="494948"/>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7" name="Freeform: Shape 16">
              <a:extLst>
                <a:ext uri="{FF2B5EF4-FFF2-40B4-BE49-F238E27FC236}">
                  <a16:creationId xmlns:a16="http://schemas.microsoft.com/office/drawing/2014/main" id="{D5AA8B4A-9A21-4C86-ABC7-8AD2968130E6}"/>
                </a:ext>
              </a:extLst>
            </p:cNvPr>
            <p:cNvSpPr/>
            <p:nvPr/>
          </p:nvSpPr>
          <p:spPr>
            <a:xfrm>
              <a:off x="2689950" y="3009222"/>
              <a:ext cx="1025401" cy="981446"/>
            </a:xfrm>
            <a:custGeom>
              <a:avLst/>
              <a:gdLst>
                <a:gd name="connsiteX0" fmla="*/ 122077 w 1025401"/>
                <a:gd name="connsiteY0" fmla="*/ 740699 h 981446"/>
                <a:gd name="connsiteX1" fmla="*/ 122077 w 1025401"/>
                <a:gd name="connsiteY1" fmla="*/ 201463 h 981446"/>
                <a:gd name="connsiteX2" fmla="*/ 72634 w 1025401"/>
                <a:gd name="connsiteY2" fmla="*/ 113503 h 981446"/>
                <a:gd name="connsiteX3" fmla="*/ -2593 w 1025401"/>
                <a:gd name="connsiteY3" fmla="*/ 80500 h 981446"/>
                <a:gd name="connsiteX4" fmla="*/ -2593 w 1025401"/>
                <a:gd name="connsiteY4" fmla="*/ 30924 h 981446"/>
                <a:gd name="connsiteX5" fmla="*/ 278054 w 1025401"/>
                <a:gd name="connsiteY5" fmla="*/ -237 h 981446"/>
                <a:gd name="connsiteX6" fmla="*/ 305537 w 1025401"/>
                <a:gd name="connsiteY6" fmla="*/ 18035 h 981446"/>
                <a:gd name="connsiteX7" fmla="*/ 305537 w 1025401"/>
                <a:gd name="connsiteY7" fmla="*/ 697923 h 981446"/>
                <a:gd name="connsiteX8" fmla="*/ 463358 w 1025401"/>
                <a:gd name="connsiteY8" fmla="*/ 861238 h 981446"/>
                <a:gd name="connsiteX9" fmla="*/ 716519 w 1025401"/>
                <a:gd name="connsiteY9" fmla="*/ 793390 h 981446"/>
                <a:gd name="connsiteX10" fmla="*/ 716519 w 1025401"/>
                <a:gd name="connsiteY10" fmla="*/ 201463 h 981446"/>
                <a:gd name="connsiteX11" fmla="*/ 666935 w 1025401"/>
                <a:gd name="connsiteY11" fmla="*/ 113503 h 981446"/>
                <a:gd name="connsiteX12" fmla="*/ 593551 w 1025401"/>
                <a:gd name="connsiteY12" fmla="*/ 80500 h 981446"/>
                <a:gd name="connsiteX13" fmla="*/ 593551 w 1025401"/>
                <a:gd name="connsiteY13" fmla="*/ 30924 h 981446"/>
                <a:gd name="connsiteX14" fmla="*/ 874337 w 1025401"/>
                <a:gd name="connsiteY14" fmla="*/ -237 h 981446"/>
                <a:gd name="connsiteX15" fmla="*/ 899979 w 1025401"/>
                <a:gd name="connsiteY15" fmla="*/ 18035 h 981446"/>
                <a:gd name="connsiteX16" fmla="*/ 899979 w 1025401"/>
                <a:gd name="connsiteY16" fmla="*/ 748064 h 981446"/>
                <a:gd name="connsiteX17" fmla="*/ 954949 w 1025401"/>
                <a:gd name="connsiteY17" fmla="*/ 861379 h 981446"/>
                <a:gd name="connsiteX18" fmla="*/ 1022809 w 1025401"/>
                <a:gd name="connsiteY18" fmla="*/ 892541 h 981446"/>
                <a:gd name="connsiteX19" fmla="*/ 1022809 w 1025401"/>
                <a:gd name="connsiteY19" fmla="*/ 942116 h 981446"/>
                <a:gd name="connsiteX20" fmla="*/ 736635 w 1025401"/>
                <a:gd name="connsiteY20" fmla="*/ 980643 h 981446"/>
                <a:gd name="connsiteX21" fmla="*/ 716519 w 1025401"/>
                <a:gd name="connsiteY21" fmla="*/ 966478 h 981446"/>
                <a:gd name="connsiteX22" fmla="*/ 725726 w 1025401"/>
                <a:gd name="connsiteY22" fmla="*/ 856421 h 981446"/>
                <a:gd name="connsiteX23" fmla="*/ 718362 w 1025401"/>
                <a:gd name="connsiteY23" fmla="*/ 856421 h 981446"/>
                <a:gd name="connsiteX24" fmla="*/ 369855 w 1025401"/>
                <a:gd name="connsiteY24" fmla="*/ 981209 h 981446"/>
                <a:gd name="connsiteX25" fmla="*/ 122077 w 1025401"/>
                <a:gd name="connsiteY25" fmla="*/ 740416 h 98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25401" h="981446">
                  <a:moveTo>
                    <a:pt x="122077" y="740699"/>
                  </a:moveTo>
                  <a:lnTo>
                    <a:pt x="122077" y="201463"/>
                  </a:lnTo>
                  <a:cubicBezTo>
                    <a:pt x="122077" y="133616"/>
                    <a:pt x="114851" y="131775"/>
                    <a:pt x="72634" y="113503"/>
                  </a:cubicBezTo>
                  <a:lnTo>
                    <a:pt x="-2593" y="80500"/>
                  </a:lnTo>
                  <a:lnTo>
                    <a:pt x="-2593" y="30924"/>
                  </a:lnTo>
                  <a:lnTo>
                    <a:pt x="278054" y="-237"/>
                  </a:lnTo>
                  <a:lnTo>
                    <a:pt x="305537" y="18035"/>
                  </a:lnTo>
                  <a:lnTo>
                    <a:pt x="305537" y="697923"/>
                  </a:lnTo>
                  <a:cubicBezTo>
                    <a:pt x="305537" y="804297"/>
                    <a:pt x="353281" y="861238"/>
                    <a:pt x="463358" y="861238"/>
                  </a:cubicBezTo>
                  <a:cubicBezTo>
                    <a:pt x="553174" y="861238"/>
                    <a:pt x="648659" y="822711"/>
                    <a:pt x="716519" y="793390"/>
                  </a:cubicBezTo>
                  <a:lnTo>
                    <a:pt x="716519" y="201463"/>
                  </a:lnTo>
                  <a:cubicBezTo>
                    <a:pt x="716519" y="133616"/>
                    <a:pt x="710995" y="131775"/>
                    <a:pt x="666935" y="113503"/>
                  </a:cubicBezTo>
                  <a:lnTo>
                    <a:pt x="593551" y="80500"/>
                  </a:lnTo>
                  <a:lnTo>
                    <a:pt x="593551" y="30924"/>
                  </a:lnTo>
                  <a:lnTo>
                    <a:pt x="874337" y="-237"/>
                  </a:lnTo>
                  <a:lnTo>
                    <a:pt x="899979" y="18035"/>
                  </a:lnTo>
                  <a:lnTo>
                    <a:pt x="899979" y="748064"/>
                  </a:lnTo>
                  <a:cubicBezTo>
                    <a:pt x="899979" y="830643"/>
                    <a:pt x="911030" y="841549"/>
                    <a:pt x="954949" y="861379"/>
                  </a:cubicBezTo>
                  <a:lnTo>
                    <a:pt x="1022809" y="892541"/>
                  </a:lnTo>
                  <a:lnTo>
                    <a:pt x="1022809" y="942116"/>
                  </a:lnTo>
                  <a:lnTo>
                    <a:pt x="736635" y="980643"/>
                  </a:lnTo>
                  <a:lnTo>
                    <a:pt x="716519" y="966478"/>
                  </a:lnTo>
                  <a:lnTo>
                    <a:pt x="725726" y="856421"/>
                  </a:lnTo>
                  <a:lnTo>
                    <a:pt x="718362" y="856421"/>
                  </a:lnTo>
                  <a:cubicBezTo>
                    <a:pt x="621176" y="920586"/>
                    <a:pt x="498208" y="981209"/>
                    <a:pt x="369855" y="981209"/>
                  </a:cubicBezTo>
                  <a:cubicBezTo>
                    <a:pt x="215718" y="981209"/>
                    <a:pt x="122077" y="896223"/>
                    <a:pt x="122077" y="740416"/>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8" name="Freeform: Shape 17">
              <a:extLst>
                <a:ext uri="{FF2B5EF4-FFF2-40B4-BE49-F238E27FC236}">
                  <a16:creationId xmlns:a16="http://schemas.microsoft.com/office/drawing/2014/main" id="{946FCCF5-48EF-48E2-87BE-2AD683778623}"/>
                </a:ext>
              </a:extLst>
            </p:cNvPr>
            <p:cNvSpPr/>
            <p:nvPr/>
          </p:nvSpPr>
          <p:spPr>
            <a:xfrm>
              <a:off x="3797828" y="3005114"/>
              <a:ext cx="697435" cy="962890"/>
            </a:xfrm>
            <a:custGeom>
              <a:avLst/>
              <a:gdLst>
                <a:gd name="connsiteX0" fmla="*/ -1745 w 697435"/>
                <a:gd name="connsiteY0" fmla="*/ 908121 h 962890"/>
                <a:gd name="connsiteX1" fmla="*/ 73482 w 697435"/>
                <a:gd name="connsiteY1" fmla="*/ 887867 h 962890"/>
                <a:gd name="connsiteX2" fmla="*/ 122924 w 697435"/>
                <a:gd name="connsiteY2" fmla="*/ 792540 h 962890"/>
                <a:gd name="connsiteX3" fmla="*/ 122924 w 697435"/>
                <a:gd name="connsiteY3" fmla="*/ 223985 h 962890"/>
                <a:gd name="connsiteX4" fmla="*/ 67958 w 697435"/>
                <a:gd name="connsiteY4" fmla="*/ 124834 h 962890"/>
                <a:gd name="connsiteX5" fmla="*/ -1745 w 697435"/>
                <a:gd name="connsiteY5" fmla="*/ 89990 h 962890"/>
                <a:gd name="connsiteX6" fmla="*/ -1745 w 697435"/>
                <a:gd name="connsiteY6" fmla="*/ 42398 h 962890"/>
                <a:gd name="connsiteX7" fmla="*/ 288109 w 697435"/>
                <a:gd name="connsiteY7" fmla="*/ 3871 h 962890"/>
                <a:gd name="connsiteX8" fmla="*/ 306385 w 697435"/>
                <a:gd name="connsiteY8" fmla="*/ 18035 h 962890"/>
                <a:gd name="connsiteX9" fmla="*/ 297319 w 697435"/>
                <a:gd name="connsiteY9" fmla="*/ 124410 h 962890"/>
                <a:gd name="connsiteX10" fmla="*/ 304544 w 697435"/>
                <a:gd name="connsiteY10" fmla="*/ 124410 h 962890"/>
                <a:gd name="connsiteX11" fmla="*/ 573716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745" y="908121"/>
                  </a:moveTo>
                  <a:lnTo>
                    <a:pt x="73482" y="887867"/>
                  </a:lnTo>
                  <a:cubicBezTo>
                    <a:pt x="110175" y="878660"/>
                    <a:pt x="122924" y="864070"/>
                    <a:pt x="122924" y="792540"/>
                  </a:cubicBezTo>
                  <a:lnTo>
                    <a:pt x="122924" y="223985"/>
                  </a:lnTo>
                  <a:cubicBezTo>
                    <a:pt x="122924" y="150613"/>
                    <a:pt x="113859" y="146931"/>
                    <a:pt x="67958" y="124834"/>
                  </a:cubicBezTo>
                  <a:lnTo>
                    <a:pt x="-1745" y="89990"/>
                  </a:lnTo>
                  <a:lnTo>
                    <a:pt x="-1745" y="42398"/>
                  </a:lnTo>
                  <a:lnTo>
                    <a:pt x="288109" y="3871"/>
                  </a:lnTo>
                  <a:lnTo>
                    <a:pt x="306385" y="18035"/>
                  </a:lnTo>
                  <a:lnTo>
                    <a:pt x="297319" y="124410"/>
                  </a:lnTo>
                  <a:lnTo>
                    <a:pt x="304544" y="124410"/>
                  </a:lnTo>
                  <a:cubicBezTo>
                    <a:pt x="368863" y="60245"/>
                    <a:pt x="482482" y="-237"/>
                    <a:pt x="573716" y="-237"/>
                  </a:cubicBezTo>
                  <a:cubicBezTo>
                    <a:pt x="648943" y="-237"/>
                    <a:pt x="694843" y="40132"/>
                    <a:pt x="694843" y="109820"/>
                  </a:cubicBezTo>
                  <a:cubicBezTo>
                    <a:pt x="694843" y="179509"/>
                    <a:pt x="648943" y="212511"/>
                    <a:pt x="595675" y="212511"/>
                  </a:cubicBezTo>
                  <a:cubicBezTo>
                    <a:pt x="527815" y="212511"/>
                    <a:pt x="507696" y="194098"/>
                    <a:pt x="491121" y="153871"/>
                  </a:cubicBezTo>
                  <a:cubicBezTo>
                    <a:pt x="480213" y="128092"/>
                    <a:pt x="467322" y="122568"/>
                    <a:pt x="448621" y="122568"/>
                  </a:cubicBezTo>
                  <a:cubicBezTo>
                    <a:pt x="411927"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9" name="Freeform: Shape 18">
              <a:extLst>
                <a:ext uri="{FF2B5EF4-FFF2-40B4-BE49-F238E27FC236}">
                  <a16:creationId xmlns:a16="http://schemas.microsoft.com/office/drawing/2014/main" id="{E6C9BFD1-C9BB-438B-AD5A-1A227956C157}"/>
                </a:ext>
              </a:extLst>
            </p:cNvPr>
            <p:cNvSpPr/>
            <p:nvPr/>
          </p:nvSpPr>
          <p:spPr>
            <a:xfrm>
              <a:off x="4980338" y="2561771"/>
              <a:ext cx="982613" cy="1406800"/>
            </a:xfrm>
            <a:custGeom>
              <a:avLst/>
              <a:gdLst>
                <a:gd name="connsiteX0" fmla="*/ 310777 w 982613"/>
                <a:gd name="connsiteY0" fmla="*/ 472852 h 1406800"/>
                <a:gd name="connsiteX1" fmla="*/ 647808 w 982613"/>
                <a:gd name="connsiteY1" fmla="*/ 472852 h 1406800"/>
                <a:gd name="connsiteX2" fmla="*/ 846145 w 982613"/>
                <a:gd name="connsiteY2" fmla="*/ 447214 h 1406800"/>
                <a:gd name="connsiteX3" fmla="*/ 866260 w 982613"/>
                <a:gd name="connsiteY3" fmla="*/ 458121 h 1406800"/>
                <a:gd name="connsiteX4" fmla="*/ 857195 w 982613"/>
                <a:gd name="connsiteY4" fmla="*/ 626959 h 1406800"/>
                <a:gd name="connsiteX5" fmla="*/ 857195 w 982613"/>
                <a:gd name="connsiteY5" fmla="*/ 1236025 h 1406800"/>
                <a:gd name="connsiteX6" fmla="*/ 904794 w 982613"/>
                <a:gd name="connsiteY6" fmla="*/ 1331351 h 1406800"/>
                <a:gd name="connsiteX7" fmla="*/ 980021 w 982613"/>
                <a:gd name="connsiteY7" fmla="*/ 1351606 h 1406800"/>
                <a:gd name="connsiteX8" fmla="*/ 980021 w 982613"/>
                <a:gd name="connsiteY8" fmla="*/ 1406564 h 1406800"/>
                <a:gd name="connsiteX9" fmla="*/ 555014 w 982613"/>
                <a:gd name="connsiteY9" fmla="*/ 1406564 h 1406800"/>
                <a:gd name="connsiteX10" fmla="*/ 555014 w 982613"/>
                <a:gd name="connsiteY10" fmla="*/ 1351606 h 1406800"/>
                <a:gd name="connsiteX11" fmla="*/ 624718 w 982613"/>
                <a:gd name="connsiteY11" fmla="*/ 1331351 h 1406800"/>
                <a:gd name="connsiteX12" fmla="*/ 674302 w 982613"/>
                <a:gd name="connsiteY12" fmla="*/ 1236025 h 1406800"/>
                <a:gd name="connsiteX13" fmla="*/ 674302 w 982613"/>
                <a:gd name="connsiteY13" fmla="*/ 667328 h 1406800"/>
                <a:gd name="connsiteX14" fmla="*/ 600915 w 982613"/>
                <a:gd name="connsiteY14" fmla="*/ 570019 h 1406800"/>
                <a:gd name="connsiteX15" fmla="*/ 311061 w 982613"/>
                <a:gd name="connsiteY15" fmla="*/ 570019 h 1406800"/>
                <a:gd name="connsiteX16" fmla="*/ 311061 w 982613"/>
                <a:gd name="connsiteY16" fmla="*/ 1226677 h 1406800"/>
                <a:gd name="connsiteX17" fmla="*/ 358805 w 982613"/>
                <a:gd name="connsiteY17" fmla="*/ 1331210 h 1406800"/>
                <a:gd name="connsiteX18" fmla="*/ 434028 w 982613"/>
                <a:gd name="connsiteY18" fmla="*/ 1351465 h 1406800"/>
                <a:gd name="connsiteX19" fmla="*/ 434028 w 982613"/>
                <a:gd name="connsiteY19" fmla="*/ 1406422 h 1406800"/>
                <a:gd name="connsiteX20" fmla="*/ 2789 w 982613"/>
                <a:gd name="connsiteY20" fmla="*/ 1406422 h 1406800"/>
                <a:gd name="connsiteX21" fmla="*/ 2789 w 982613"/>
                <a:gd name="connsiteY21" fmla="*/ 1351465 h 1406800"/>
                <a:gd name="connsiteX22" fmla="*/ 78016 w 982613"/>
                <a:gd name="connsiteY22" fmla="*/ 1331210 h 1406800"/>
                <a:gd name="connsiteX23" fmla="*/ 127600 w 982613"/>
                <a:gd name="connsiteY23" fmla="*/ 1235884 h 1406800"/>
                <a:gd name="connsiteX24" fmla="*/ 127600 w 982613"/>
                <a:gd name="connsiteY24" fmla="*/ 570160 h 1406800"/>
                <a:gd name="connsiteX25" fmla="*/ -2593 w 982613"/>
                <a:gd name="connsiteY25" fmla="*/ 570160 h 1406800"/>
                <a:gd name="connsiteX26" fmla="*/ -2593 w 982613"/>
                <a:gd name="connsiteY26" fmla="*/ 515203 h 1406800"/>
                <a:gd name="connsiteX27" fmla="*/ 127600 w 982613"/>
                <a:gd name="connsiteY27" fmla="*/ 471152 h 1406800"/>
                <a:gd name="connsiteX28" fmla="*/ 127600 w 982613"/>
                <a:gd name="connsiteY28" fmla="*/ 397781 h 1406800"/>
                <a:gd name="connsiteX29" fmla="*/ 567908 w 982613"/>
                <a:gd name="connsiteY29" fmla="*/ -237 h 1406800"/>
                <a:gd name="connsiteX30" fmla="*/ 778852 w 982613"/>
                <a:gd name="connsiteY30" fmla="*/ 115344 h 1406800"/>
                <a:gd name="connsiteX31" fmla="*/ 679684 w 982613"/>
                <a:gd name="connsiteY31" fmla="*/ 216194 h 1406800"/>
                <a:gd name="connsiteX32" fmla="*/ 566348 w 982613"/>
                <a:gd name="connsiteY32" fmla="*/ 113503 h 1406800"/>
                <a:gd name="connsiteX33" fmla="*/ 514924 w 982613"/>
                <a:gd name="connsiteY33" fmla="*/ 65769 h 1406800"/>
                <a:gd name="connsiteX34" fmla="*/ 311344 w 982613"/>
                <a:gd name="connsiteY34" fmla="*/ 300613 h 140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613" h="1406800">
                  <a:moveTo>
                    <a:pt x="310777" y="472852"/>
                  </a:moveTo>
                  <a:lnTo>
                    <a:pt x="647808" y="472852"/>
                  </a:lnTo>
                  <a:lnTo>
                    <a:pt x="846145" y="447214"/>
                  </a:lnTo>
                  <a:lnTo>
                    <a:pt x="866260" y="458121"/>
                  </a:lnTo>
                  <a:cubicBezTo>
                    <a:pt x="860170" y="514197"/>
                    <a:pt x="857195" y="570557"/>
                    <a:pt x="857195" y="626959"/>
                  </a:cubicBezTo>
                  <a:lnTo>
                    <a:pt x="857195" y="1236025"/>
                  </a:lnTo>
                  <a:cubicBezTo>
                    <a:pt x="857195" y="1313079"/>
                    <a:pt x="868104" y="1322286"/>
                    <a:pt x="904794" y="1331351"/>
                  </a:cubicBezTo>
                  <a:lnTo>
                    <a:pt x="980021" y="1351606"/>
                  </a:lnTo>
                  <a:lnTo>
                    <a:pt x="980021" y="1406564"/>
                  </a:lnTo>
                  <a:lnTo>
                    <a:pt x="555014" y="1406564"/>
                  </a:lnTo>
                  <a:lnTo>
                    <a:pt x="555014" y="1351606"/>
                  </a:lnTo>
                  <a:lnTo>
                    <a:pt x="624718" y="1331351"/>
                  </a:lnTo>
                  <a:cubicBezTo>
                    <a:pt x="659568" y="1322286"/>
                    <a:pt x="674302" y="1307555"/>
                    <a:pt x="674302" y="1236025"/>
                  </a:cubicBezTo>
                  <a:lnTo>
                    <a:pt x="674302" y="667328"/>
                  </a:lnTo>
                  <a:cubicBezTo>
                    <a:pt x="674302" y="593956"/>
                    <a:pt x="648517" y="570019"/>
                    <a:pt x="600915" y="570019"/>
                  </a:cubicBezTo>
                  <a:lnTo>
                    <a:pt x="311061" y="570019"/>
                  </a:lnTo>
                  <a:lnTo>
                    <a:pt x="311061" y="1226677"/>
                  </a:lnTo>
                  <a:cubicBezTo>
                    <a:pt x="311061" y="1312938"/>
                    <a:pt x="318428" y="1320303"/>
                    <a:pt x="358805" y="1331210"/>
                  </a:cubicBezTo>
                  <a:lnTo>
                    <a:pt x="434028" y="1351465"/>
                  </a:lnTo>
                  <a:lnTo>
                    <a:pt x="434028" y="1406422"/>
                  </a:lnTo>
                  <a:lnTo>
                    <a:pt x="2789" y="1406422"/>
                  </a:lnTo>
                  <a:lnTo>
                    <a:pt x="2789" y="1351465"/>
                  </a:lnTo>
                  <a:lnTo>
                    <a:pt x="78016" y="1331210"/>
                  </a:lnTo>
                  <a:cubicBezTo>
                    <a:pt x="114709" y="1322144"/>
                    <a:pt x="127600" y="1307413"/>
                    <a:pt x="127600" y="1235884"/>
                  </a:cubicBezTo>
                  <a:lnTo>
                    <a:pt x="127600" y="570160"/>
                  </a:lnTo>
                  <a:lnTo>
                    <a:pt x="-2593" y="570160"/>
                  </a:lnTo>
                  <a:lnTo>
                    <a:pt x="-2593" y="515203"/>
                  </a:lnTo>
                  <a:lnTo>
                    <a:pt x="127600" y="471152"/>
                  </a:lnTo>
                  <a:lnTo>
                    <a:pt x="127600" y="397781"/>
                  </a:lnTo>
                  <a:cubicBezTo>
                    <a:pt x="127600" y="142823"/>
                    <a:pt x="305537" y="-237"/>
                    <a:pt x="567908" y="-237"/>
                  </a:cubicBezTo>
                  <a:cubicBezTo>
                    <a:pt x="714675" y="-237"/>
                    <a:pt x="778852" y="51180"/>
                    <a:pt x="778852" y="115344"/>
                  </a:cubicBezTo>
                  <a:cubicBezTo>
                    <a:pt x="778852" y="185032"/>
                    <a:pt x="738475" y="216194"/>
                    <a:pt x="679684" y="216194"/>
                  </a:cubicBezTo>
                  <a:cubicBezTo>
                    <a:pt x="608849" y="216194"/>
                    <a:pt x="574992" y="175826"/>
                    <a:pt x="566348" y="113503"/>
                  </a:cubicBezTo>
                  <a:cubicBezTo>
                    <a:pt x="562665" y="84182"/>
                    <a:pt x="549774" y="65769"/>
                    <a:pt x="514924" y="65769"/>
                  </a:cubicBezTo>
                  <a:cubicBezTo>
                    <a:pt x="406687" y="65769"/>
                    <a:pt x="311344" y="109820"/>
                    <a:pt x="311344" y="300613"/>
                  </a:cubicBez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0" name="Freeform: Shape 19">
              <a:extLst>
                <a:ext uri="{FF2B5EF4-FFF2-40B4-BE49-F238E27FC236}">
                  <a16:creationId xmlns:a16="http://schemas.microsoft.com/office/drawing/2014/main" id="{46279AA3-3300-4D7C-937A-A489B7CA46EA}"/>
                </a:ext>
              </a:extLst>
            </p:cNvPr>
            <p:cNvSpPr/>
            <p:nvPr/>
          </p:nvSpPr>
          <p:spPr>
            <a:xfrm>
              <a:off x="6051098" y="3005114"/>
              <a:ext cx="697435" cy="962890"/>
            </a:xfrm>
            <a:custGeom>
              <a:avLst/>
              <a:gdLst>
                <a:gd name="connsiteX0" fmla="*/ -1604 w 697435"/>
                <a:gd name="connsiteY0" fmla="*/ 908121 h 962890"/>
                <a:gd name="connsiteX1" fmla="*/ 73623 w 697435"/>
                <a:gd name="connsiteY1" fmla="*/ 887867 h 962890"/>
                <a:gd name="connsiteX2" fmla="*/ 123066 w 697435"/>
                <a:gd name="connsiteY2" fmla="*/ 792540 h 962890"/>
                <a:gd name="connsiteX3" fmla="*/ 123066 w 697435"/>
                <a:gd name="connsiteY3" fmla="*/ 223985 h 962890"/>
                <a:gd name="connsiteX4" fmla="*/ 68100 w 697435"/>
                <a:gd name="connsiteY4" fmla="*/ 124834 h 962890"/>
                <a:gd name="connsiteX5" fmla="*/ -1604 w 697435"/>
                <a:gd name="connsiteY5" fmla="*/ 89990 h 962890"/>
                <a:gd name="connsiteX6" fmla="*/ -1604 w 697435"/>
                <a:gd name="connsiteY6" fmla="*/ 42398 h 962890"/>
                <a:gd name="connsiteX7" fmla="*/ 288250 w 697435"/>
                <a:gd name="connsiteY7" fmla="*/ 3871 h 962890"/>
                <a:gd name="connsiteX8" fmla="*/ 306526 w 697435"/>
                <a:gd name="connsiteY8" fmla="*/ 18035 h 962890"/>
                <a:gd name="connsiteX9" fmla="*/ 297319 w 697435"/>
                <a:gd name="connsiteY9" fmla="*/ 124410 h 962890"/>
                <a:gd name="connsiteX10" fmla="*/ 304686 w 697435"/>
                <a:gd name="connsiteY10" fmla="*/ 124410 h 962890"/>
                <a:gd name="connsiteX11" fmla="*/ 573857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604" y="908121"/>
                  </a:moveTo>
                  <a:lnTo>
                    <a:pt x="73623" y="887867"/>
                  </a:lnTo>
                  <a:cubicBezTo>
                    <a:pt x="110317" y="878660"/>
                    <a:pt x="123066" y="864070"/>
                    <a:pt x="123066" y="792540"/>
                  </a:cubicBezTo>
                  <a:lnTo>
                    <a:pt x="123066" y="223985"/>
                  </a:lnTo>
                  <a:cubicBezTo>
                    <a:pt x="123066" y="150613"/>
                    <a:pt x="113859" y="146931"/>
                    <a:pt x="68100" y="124834"/>
                  </a:cubicBezTo>
                  <a:lnTo>
                    <a:pt x="-1604" y="89990"/>
                  </a:lnTo>
                  <a:lnTo>
                    <a:pt x="-1604" y="42398"/>
                  </a:lnTo>
                  <a:lnTo>
                    <a:pt x="288250" y="3871"/>
                  </a:lnTo>
                  <a:lnTo>
                    <a:pt x="306526" y="18035"/>
                  </a:lnTo>
                  <a:lnTo>
                    <a:pt x="297319" y="124410"/>
                  </a:lnTo>
                  <a:lnTo>
                    <a:pt x="304686" y="124410"/>
                  </a:lnTo>
                  <a:cubicBezTo>
                    <a:pt x="368863" y="60245"/>
                    <a:pt x="482623" y="-237"/>
                    <a:pt x="573857" y="-237"/>
                  </a:cubicBezTo>
                  <a:cubicBezTo>
                    <a:pt x="649084" y="-237"/>
                    <a:pt x="694843" y="40132"/>
                    <a:pt x="694843" y="109820"/>
                  </a:cubicBezTo>
                  <a:cubicBezTo>
                    <a:pt x="694843" y="179509"/>
                    <a:pt x="649084" y="212511"/>
                    <a:pt x="595675" y="212511"/>
                  </a:cubicBezTo>
                  <a:cubicBezTo>
                    <a:pt x="527815" y="212511"/>
                    <a:pt x="507696" y="194098"/>
                    <a:pt x="491121" y="153871"/>
                  </a:cubicBezTo>
                  <a:cubicBezTo>
                    <a:pt x="480071" y="128092"/>
                    <a:pt x="467322" y="122568"/>
                    <a:pt x="448621" y="122568"/>
                  </a:cubicBezTo>
                  <a:cubicBezTo>
                    <a:pt x="411931"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1" name="Freeform: Shape 20">
              <a:extLst>
                <a:ext uri="{FF2B5EF4-FFF2-40B4-BE49-F238E27FC236}">
                  <a16:creationId xmlns:a16="http://schemas.microsoft.com/office/drawing/2014/main" id="{B5E217A5-A8A8-44A5-ACCB-4BA33AF862DA}"/>
                </a:ext>
              </a:extLst>
            </p:cNvPr>
            <p:cNvSpPr/>
            <p:nvPr/>
          </p:nvSpPr>
          <p:spPr>
            <a:xfrm>
              <a:off x="6823717" y="3006956"/>
              <a:ext cx="1561052" cy="961615"/>
            </a:xfrm>
            <a:custGeom>
              <a:avLst/>
              <a:gdLst>
                <a:gd name="connsiteX0" fmla="*/ -2593 w 1561052"/>
                <a:gd name="connsiteY0" fmla="*/ 906280 h 961615"/>
                <a:gd name="connsiteX1" fmla="*/ 72492 w 1561052"/>
                <a:gd name="connsiteY1" fmla="*/ 886025 h 961615"/>
                <a:gd name="connsiteX2" fmla="*/ 122077 w 1561052"/>
                <a:gd name="connsiteY2" fmla="*/ 790699 h 961615"/>
                <a:gd name="connsiteX3" fmla="*/ 122077 w 1561052"/>
                <a:gd name="connsiteY3" fmla="*/ 222143 h 961615"/>
                <a:gd name="connsiteX4" fmla="*/ 66969 w 1561052"/>
                <a:gd name="connsiteY4" fmla="*/ 122993 h 961615"/>
                <a:gd name="connsiteX5" fmla="*/ -2593 w 1561052"/>
                <a:gd name="connsiteY5" fmla="*/ 88148 h 961615"/>
                <a:gd name="connsiteX6" fmla="*/ -2593 w 1561052"/>
                <a:gd name="connsiteY6" fmla="*/ 40557 h 961615"/>
                <a:gd name="connsiteX7" fmla="*/ 287123 w 1561052"/>
                <a:gd name="connsiteY7" fmla="*/ 2030 h 961615"/>
                <a:gd name="connsiteX8" fmla="*/ 305537 w 1561052"/>
                <a:gd name="connsiteY8" fmla="*/ 16194 h 961615"/>
                <a:gd name="connsiteX9" fmla="*/ 296330 w 1561052"/>
                <a:gd name="connsiteY9" fmla="*/ 115344 h 961615"/>
                <a:gd name="connsiteX10" fmla="*/ 303697 w 1561052"/>
                <a:gd name="connsiteY10" fmla="*/ 115344 h 961615"/>
                <a:gd name="connsiteX11" fmla="*/ 633928 w 1561052"/>
                <a:gd name="connsiteY11" fmla="*/ -237 h 961615"/>
                <a:gd name="connsiteX12" fmla="*/ 855922 w 1561052"/>
                <a:gd name="connsiteY12" fmla="*/ 118885 h 961615"/>
                <a:gd name="connsiteX13" fmla="*/ 863148 w 1561052"/>
                <a:gd name="connsiteY13" fmla="*/ 118885 h 961615"/>
                <a:gd name="connsiteX14" fmla="*/ 1211796 w 1561052"/>
                <a:gd name="connsiteY14" fmla="*/ -237 h 961615"/>
                <a:gd name="connsiteX15" fmla="*/ 1435489 w 1561052"/>
                <a:gd name="connsiteY15" fmla="*/ 245514 h 961615"/>
                <a:gd name="connsiteX16" fmla="*/ 1435489 w 1561052"/>
                <a:gd name="connsiteY16" fmla="*/ 790274 h 961615"/>
                <a:gd name="connsiteX17" fmla="*/ 1483233 w 1561052"/>
                <a:gd name="connsiteY17" fmla="*/ 885600 h 961615"/>
                <a:gd name="connsiteX18" fmla="*/ 1558460 w 1561052"/>
                <a:gd name="connsiteY18" fmla="*/ 905855 h 961615"/>
                <a:gd name="connsiteX19" fmla="*/ 1558460 w 1561052"/>
                <a:gd name="connsiteY19" fmla="*/ 960813 h 961615"/>
                <a:gd name="connsiteX20" fmla="*/ 1127359 w 1561052"/>
                <a:gd name="connsiteY20" fmla="*/ 960813 h 961615"/>
                <a:gd name="connsiteX21" fmla="*/ 1127359 w 1561052"/>
                <a:gd name="connsiteY21" fmla="*/ 905855 h 961615"/>
                <a:gd name="connsiteX22" fmla="*/ 1202586 w 1561052"/>
                <a:gd name="connsiteY22" fmla="*/ 885600 h 961615"/>
                <a:gd name="connsiteX23" fmla="*/ 1252170 w 1561052"/>
                <a:gd name="connsiteY23" fmla="*/ 790274 h 961615"/>
                <a:gd name="connsiteX24" fmla="*/ 1252170 w 1561052"/>
                <a:gd name="connsiteY24" fmla="*/ 297356 h 961615"/>
                <a:gd name="connsiteX25" fmla="*/ 1109086 w 1561052"/>
                <a:gd name="connsiteY25" fmla="*/ 121152 h 961615"/>
                <a:gd name="connsiteX26" fmla="*/ 870515 w 1561052"/>
                <a:gd name="connsiteY26" fmla="*/ 181775 h 961615"/>
                <a:gd name="connsiteX27" fmla="*/ 870515 w 1561052"/>
                <a:gd name="connsiteY27" fmla="*/ 790841 h 961615"/>
                <a:gd name="connsiteX28" fmla="*/ 918255 w 1561052"/>
                <a:gd name="connsiteY28" fmla="*/ 886166 h 961615"/>
                <a:gd name="connsiteX29" fmla="*/ 993482 w 1561052"/>
                <a:gd name="connsiteY29" fmla="*/ 906422 h 961615"/>
                <a:gd name="connsiteX30" fmla="*/ 993482 w 1561052"/>
                <a:gd name="connsiteY30" fmla="*/ 961379 h 961615"/>
                <a:gd name="connsiteX31" fmla="*/ 562385 w 1561052"/>
                <a:gd name="connsiteY31" fmla="*/ 961379 h 961615"/>
                <a:gd name="connsiteX32" fmla="*/ 562385 w 1561052"/>
                <a:gd name="connsiteY32" fmla="*/ 906422 h 961615"/>
                <a:gd name="connsiteX33" fmla="*/ 637612 w 1561052"/>
                <a:gd name="connsiteY33" fmla="*/ 886166 h 961615"/>
                <a:gd name="connsiteX34" fmla="*/ 687054 w 1561052"/>
                <a:gd name="connsiteY34" fmla="*/ 790841 h 961615"/>
                <a:gd name="connsiteX35" fmla="*/ 687054 w 1561052"/>
                <a:gd name="connsiteY35" fmla="*/ 297356 h 961615"/>
                <a:gd name="connsiteX36" fmla="*/ 543967 w 1561052"/>
                <a:gd name="connsiteY36" fmla="*/ 121152 h 961615"/>
                <a:gd name="connsiteX37" fmla="*/ 305537 w 1561052"/>
                <a:gd name="connsiteY37" fmla="*/ 177809 h 961615"/>
                <a:gd name="connsiteX38" fmla="*/ 305537 w 1561052"/>
                <a:gd name="connsiteY38" fmla="*/ 790416 h 961615"/>
                <a:gd name="connsiteX39" fmla="*/ 353281 w 1561052"/>
                <a:gd name="connsiteY39" fmla="*/ 885742 h 961615"/>
                <a:gd name="connsiteX40" fmla="*/ 428366 w 1561052"/>
                <a:gd name="connsiteY40" fmla="*/ 905997 h 961615"/>
                <a:gd name="connsiteX41" fmla="*/ 428366 w 1561052"/>
                <a:gd name="connsiteY41" fmla="*/ 960954 h 961615"/>
                <a:gd name="connsiteX42" fmla="*/ -2593 w 1561052"/>
                <a:gd name="connsiteY42" fmla="*/ 960954 h 96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052" h="961615">
                  <a:moveTo>
                    <a:pt x="-2593" y="906280"/>
                  </a:moveTo>
                  <a:lnTo>
                    <a:pt x="72492" y="886025"/>
                  </a:lnTo>
                  <a:cubicBezTo>
                    <a:pt x="109186" y="876818"/>
                    <a:pt x="122077" y="862229"/>
                    <a:pt x="122077" y="790699"/>
                  </a:cubicBezTo>
                  <a:lnTo>
                    <a:pt x="122077" y="222143"/>
                  </a:lnTo>
                  <a:cubicBezTo>
                    <a:pt x="122077" y="148772"/>
                    <a:pt x="112869" y="145089"/>
                    <a:pt x="66969" y="122993"/>
                  </a:cubicBezTo>
                  <a:lnTo>
                    <a:pt x="-2593" y="88148"/>
                  </a:lnTo>
                  <a:lnTo>
                    <a:pt x="-2593" y="40557"/>
                  </a:lnTo>
                  <a:lnTo>
                    <a:pt x="287123" y="2030"/>
                  </a:lnTo>
                  <a:lnTo>
                    <a:pt x="305537" y="16194"/>
                  </a:lnTo>
                  <a:lnTo>
                    <a:pt x="296330" y="115344"/>
                  </a:lnTo>
                  <a:lnTo>
                    <a:pt x="303697" y="115344"/>
                  </a:lnTo>
                  <a:cubicBezTo>
                    <a:pt x="395357" y="56562"/>
                    <a:pt x="520168" y="-237"/>
                    <a:pt x="633928" y="-237"/>
                  </a:cubicBezTo>
                  <a:cubicBezTo>
                    <a:pt x="767805" y="-237"/>
                    <a:pt x="822912" y="43814"/>
                    <a:pt x="855922" y="118885"/>
                  </a:cubicBezTo>
                  <a:lnTo>
                    <a:pt x="863148" y="118885"/>
                  </a:lnTo>
                  <a:cubicBezTo>
                    <a:pt x="964156" y="60245"/>
                    <a:pt x="1075651" y="-237"/>
                    <a:pt x="1211796" y="-237"/>
                  </a:cubicBezTo>
                  <a:cubicBezTo>
                    <a:pt x="1373156" y="-237"/>
                    <a:pt x="1435489" y="80500"/>
                    <a:pt x="1435489" y="245514"/>
                  </a:cubicBezTo>
                  <a:lnTo>
                    <a:pt x="1435489" y="790274"/>
                  </a:lnTo>
                  <a:cubicBezTo>
                    <a:pt x="1435489" y="861804"/>
                    <a:pt x="1449656" y="876393"/>
                    <a:pt x="1483233" y="885600"/>
                  </a:cubicBezTo>
                  <a:lnTo>
                    <a:pt x="1558460" y="905855"/>
                  </a:lnTo>
                  <a:lnTo>
                    <a:pt x="1558460" y="960813"/>
                  </a:lnTo>
                  <a:lnTo>
                    <a:pt x="1127359" y="960813"/>
                  </a:lnTo>
                  <a:lnTo>
                    <a:pt x="1127359" y="905855"/>
                  </a:lnTo>
                  <a:lnTo>
                    <a:pt x="1202586" y="885600"/>
                  </a:lnTo>
                  <a:cubicBezTo>
                    <a:pt x="1241119" y="876393"/>
                    <a:pt x="1252170" y="867328"/>
                    <a:pt x="1252170" y="790274"/>
                  </a:cubicBezTo>
                  <a:lnTo>
                    <a:pt x="1252170" y="297356"/>
                  </a:lnTo>
                  <a:cubicBezTo>
                    <a:pt x="1252170" y="174409"/>
                    <a:pt x="1220862" y="121152"/>
                    <a:pt x="1109086" y="121152"/>
                  </a:cubicBezTo>
                  <a:cubicBezTo>
                    <a:pt x="1019125" y="121152"/>
                    <a:pt x="925622" y="155996"/>
                    <a:pt x="870515" y="181775"/>
                  </a:cubicBezTo>
                  <a:lnTo>
                    <a:pt x="870515" y="790841"/>
                  </a:lnTo>
                  <a:cubicBezTo>
                    <a:pt x="870515" y="862370"/>
                    <a:pt x="884682" y="876960"/>
                    <a:pt x="918255" y="886166"/>
                  </a:cubicBezTo>
                  <a:lnTo>
                    <a:pt x="993482" y="906422"/>
                  </a:lnTo>
                  <a:lnTo>
                    <a:pt x="993482" y="961379"/>
                  </a:lnTo>
                  <a:lnTo>
                    <a:pt x="562385" y="961379"/>
                  </a:lnTo>
                  <a:lnTo>
                    <a:pt x="562385" y="906422"/>
                  </a:lnTo>
                  <a:lnTo>
                    <a:pt x="637612" y="886166"/>
                  </a:lnTo>
                  <a:cubicBezTo>
                    <a:pt x="676145" y="876960"/>
                    <a:pt x="687054" y="867895"/>
                    <a:pt x="687054" y="790841"/>
                  </a:cubicBezTo>
                  <a:lnTo>
                    <a:pt x="687054" y="297356"/>
                  </a:lnTo>
                  <a:cubicBezTo>
                    <a:pt x="687054" y="176251"/>
                    <a:pt x="655884" y="121152"/>
                    <a:pt x="543967" y="121152"/>
                  </a:cubicBezTo>
                  <a:cubicBezTo>
                    <a:pt x="454148" y="121152"/>
                    <a:pt x="358663" y="155996"/>
                    <a:pt x="305537" y="177809"/>
                  </a:cubicBezTo>
                  <a:lnTo>
                    <a:pt x="305537" y="790416"/>
                  </a:lnTo>
                  <a:cubicBezTo>
                    <a:pt x="305537" y="867470"/>
                    <a:pt x="316588" y="876535"/>
                    <a:pt x="353281" y="885742"/>
                  </a:cubicBezTo>
                  <a:lnTo>
                    <a:pt x="428366" y="905997"/>
                  </a:lnTo>
                  <a:lnTo>
                    <a:pt x="428366" y="960954"/>
                  </a:lnTo>
                  <a:lnTo>
                    <a:pt x="-2593" y="960954"/>
                  </a:lnTo>
                  <a:close/>
                </a:path>
              </a:pathLst>
            </a:custGeom>
            <a:solidFill>
              <a:schemeClr val="tx1"/>
            </a:solidFill>
            <a:ln w="14153" cap="flat">
              <a:noFill/>
              <a:prstDash val="solid"/>
              <a:miter/>
            </a:ln>
          </p:spPr>
          <p:txBody>
            <a:bodyPr rtlCol="0" anchor="ctr"/>
            <a:lstStyle/>
            <a:p>
              <a:endParaRPr lang="en-GB" dirty="0">
                <a:solidFill>
                  <a:schemeClr val="tx1">
                    <a:alpha val="47000"/>
                  </a:schemeClr>
                </a:solidFill>
              </a:endParaRPr>
            </a:p>
          </p:txBody>
        </p:sp>
        <p:sp>
          <p:nvSpPr>
            <p:cNvPr id="22" name="Freeform: Shape 21">
              <a:extLst>
                <a:ext uri="{FF2B5EF4-FFF2-40B4-BE49-F238E27FC236}">
                  <a16:creationId xmlns:a16="http://schemas.microsoft.com/office/drawing/2014/main" id="{71F2EC77-E8CE-465C-896A-E7D0576B4689}"/>
                </a:ext>
              </a:extLst>
            </p:cNvPr>
            <p:cNvSpPr/>
            <p:nvPr/>
          </p:nvSpPr>
          <p:spPr>
            <a:xfrm>
              <a:off x="8459953" y="3722418"/>
              <a:ext cx="266363" cy="266339"/>
            </a:xfrm>
            <a:custGeom>
              <a:avLst/>
              <a:gdLst>
                <a:gd name="connsiteX0" fmla="*/ -2527 w 230352"/>
                <a:gd name="connsiteY0" fmla="*/ 118884 h 230331"/>
                <a:gd name="connsiteX1" fmla="*/ 108681 w 230352"/>
                <a:gd name="connsiteY1" fmla="*/ -167 h 230331"/>
                <a:gd name="connsiteX2" fmla="*/ 227685 w 230352"/>
                <a:gd name="connsiteY2" fmla="*/ 110952 h 230331"/>
                <a:gd name="connsiteX3" fmla="*/ 116615 w 230352"/>
                <a:gd name="connsiteY3" fmla="*/ 230003 h 230331"/>
                <a:gd name="connsiteX4" fmla="*/ 111797 w 230352"/>
                <a:gd name="connsiteY4" fmla="*/ 230074 h 230331"/>
                <a:gd name="connsiteX5" fmla="*/ -2527 w 230352"/>
                <a:gd name="connsiteY5" fmla="*/ 120046 h 230331"/>
                <a:gd name="connsiteX6" fmla="*/ -2527 w 230352"/>
                <a:gd name="connsiteY6" fmla="*/ 118884 h 2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52" h="230331">
                  <a:moveTo>
                    <a:pt x="-2527" y="118884"/>
                  </a:moveTo>
                  <a:cubicBezTo>
                    <a:pt x="-4654" y="55329"/>
                    <a:pt x="45072" y="2029"/>
                    <a:pt x="108681" y="-167"/>
                  </a:cubicBezTo>
                  <a:cubicBezTo>
                    <a:pt x="172148" y="-2363"/>
                    <a:pt x="225558" y="47397"/>
                    <a:pt x="227685" y="110952"/>
                  </a:cubicBezTo>
                  <a:cubicBezTo>
                    <a:pt x="229950" y="174521"/>
                    <a:pt x="180083" y="227822"/>
                    <a:pt x="116615" y="230003"/>
                  </a:cubicBezTo>
                  <a:cubicBezTo>
                    <a:pt x="114917" y="230060"/>
                    <a:pt x="113357" y="230088"/>
                    <a:pt x="111797" y="230074"/>
                  </a:cubicBezTo>
                  <a:cubicBezTo>
                    <a:pt x="49890" y="231250"/>
                    <a:pt x="-1396" y="181986"/>
                    <a:pt x="-2527" y="120046"/>
                  </a:cubicBezTo>
                  <a:cubicBezTo>
                    <a:pt x="-2527" y="119649"/>
                    <a:pt x="-2527" y="119266"/>
                    <a:pt x="-2527" y="118884"/>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grpSp>
    </p:spTree>
    <p:extLst>
      <p:ext uri="{BB962C8B-B14F-4D97-AF65-F5344CB8AC3E}">
        <p14:creationId xmlns:p14="http://schemas.microsoft.com/office/powerpoint/2010/main" val="3228375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250"/>
                                        <p:tgtEl>
                                          <p:spTgt spid="6"/>
                                        </p:tgtEl>
                                      </p:cBhvr>
                                    </p:animEffect>
                                  </p:childTnLst>
                                </p:cTn>
                              </p:par>
                            </p:childTnLst>
                          </p:cTn>
                        </p:par>
                        <p:par>
                          <p:cTn id="8" fill="hold">
                            <p:stCondLst>
                              <p:cond delay="125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One firm. Your firm. strapline">
    <p:bg>
      <p:bgPr>
        <a:solidFill>
          <a:schemeClr val="accent6"/>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r>
              <a:rPr lang="en-GB" noProof="0"/>
              <a:t>Update Footer to add the Document title</a:t>
            </a:r>
            <a:endParaRPr lang="en-GB" noProof="0" dirty="0"/>
          </a:p>
        </p:txBody>
      </p:sp>
      <p:grpSp>
        <p:nvGrpSpPr>
          <p:cNvPr id="6" name="Group 5">
            <a:extLst>
              <a:ext uri="{FF2B5EF4-FFF2-40B4-BE49-F238E27FC236}">
                <a16:creationId xmlns:a16="http://schemas.microsoft.com/office/drawing/2014/main" id="{09EDC675-7209-4569-9F65-274519B2E492}"/>
              </a:ext>
            </a:extLst>
          </p:cNvPr>
          <p:cNvGrpSpPr/>
          <p:nvPr userDrawn="1"/>
        </p:nvGrpSpPr>
        <p:grpSpPr>
          <a:xfrm>
            <a:off x="709879" y="2215726"/>
            <a:ext cx="7409594" cy="1432213"/>
            <a:chOff x="709879" y="718571"/>
            <a:chExt cx="7409594" cy="1432213"/>
          </a:xfrm>
        </p:grpSpPr>
        <p:sp>
          <p:nvSpPr>
            <p:cNvPr id="8" name="Freeform: Shape 7">
              <a:extLst>
                <a:ext uri="{FF2B5EF4-FFF2-40B4-BE49-F238E27FC236}">
                  <a16:creationId xmlns:a16="http://schemas.microsoft.com/office/drawing/2014/main" id="{377A88E0-DF56-4A5E-A11B-8EE905C14401}"/>
                </a:ext>
              </a:extLst>
            </p:cNvPr>
            <p:cNvSpPr/>
            <p:nvPr/>
          </p:nvSpPr>
          <p:spPr>
            <a:xfrm>
              <a:off x="709879" y="832169"/>
              <a:ext cx="1166783" cy="1315015"/>
            </a:xfrm>
            <a:custGeom>
              <a:avLst/>
              <a:gdLst>
                <a:gd name="connsiteX0" fmla="*/ 955513 w 1166783"/>
                <a:gd name="connsiteY0" fmla="*/ 680926 h 1315015"/>
                <a:gd name="connsiteX1" fmla="*/ 573857 w 1166783"/>
                <a:gd name="connsiteY1" fmla="*/ 88432 h 1315015"/>
                <a:gd name="connsiteX2" fmla="*/ 207078 w 1166783"/>
                <a:gd name="connsiteY2" fmla="*/ 644240 h 1315015"/>
                <a:gd name="connsiteX3" fmla="*/ 586748 w 1166783"/>
                <a:gd name="connsiteY3" fmla="*/ 1224977 h 1315015"/>
                <a:gd name="connsiteX4" fmla="*/ 955087 w 1166783"/>
                <a:gd name="connsiteY4" fmla="*/ 680359 h 1315015"/>
                <a:gd name="connsiteX5" fmla="*/ -2593 w 1166783"/>
                <a:gd name="connsiteY5" fmla="*/ 674835 h 1315015"/>
                <a:gd name="connsiteX6" fmla="*/ 590010 w 1166783"/>
                <a:gd name="connsiteY6" fmla="*/ -237 h 1315015"/>
                <a:gd name="connsiteX7" fmla="*/ 1164191 w 1166783"/>
                <a:gd name="connsiteY7" fmla="*/ 649056 h 1315015"/>
                <a:gd name="connsiteX8" fmla="*/ 571592 w 1166783"/>
                <a:gd name="connsiteY8" fmla="*/ 1314779 h 1315015"/>
                <a:gd name="connsiteX9" fmla="*/ -2593 w 1166783"/>
                <a:gd name="connsiteY9" fmla="*/ 674693 h 131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783" h="1315015">
                  <a:moveTo>
                    <a:pt x="955513" y="680926"/>
                  </a:moveTo>
                  <a:cubicBezTo>
                    <a:pt x="955513" y="387441"/>
                    <a:pt x="872922" y="88432"/>
                    <a:pt x="573857" y="88432"/>
                  </a:cubicBezTo>
                  <a:cubicBezTo>
                    <a:pt x="320697" y="88432"/>
                    <a:pt x="207078" y="251605"/>
                    <a:pt x="207078" y="644240"/>
                  </a:cubicBezTo>
                  <a:cubicBezTo>
                    <a:pt x="207078" y="937583"/>
                    <a:pt x="289527" y="1224977"/>
                    <a:pt x="586748" y="1224977"/>
                  </a:cubicBezTo>
                  <a:cubicBezTo>
                    <a:pt x="839912" y="1224977"/>
                    <a:pt x="955087" y="1072853"/>
                    <a:pt x="955087" y="680359"/>
                  </a:cubicBezTo>
                  <a:moveTo>
                    <a:pt x="-2593" y="674835"/>
                  </a:moveTo>
                  <a:cubicBezTo>
                    <a:pt x="-2593" y="199763"/>
                    <a:pt x="285421" y="-237"/>
                    <a:pt x="590010" y="-237"/>
                  </a:cubicBezTo>
                  <a:cubicBezTo>
                    <a:pt x="911030" y="-237"/>
                    <a:pt x="1164191" y="229084"/>
                    <a:pt x="1164191" y="649056"/>
                  </a:cubicBezTo>
                  <a:cubicBezTo>
                    <a:pt x="1164191" y="1124127"/>
                    <a:pt x="876180" y="1314779"/>
                    <a:pt x="571592" y="1314779"/>
                  </a:cubicBezTo>
                  <a:cubicBezTo>
                    <a:pt x="248728" y="1314779"/>
                    <a:pt x="-2593" y="1094665"/>
                    <a:pt x="-2593" y="674693"/>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9" name="Freeform: Shape 8">
              <a:extLst>
                <a:ext uri="{FF2B5EF4-FFF2-40B4-BE49-F238E27FC236}">
                  <a16:creationId xmlns:a16="http://schemas.microsoft.com/office/drawing/2014/main" id="{0472ACF6-2B20-4903-91CE-C924E4F04259}"/>
                </a:ext>
              </a:extLst>
            </p:cNvPr>
            <p:cNvSpPr/>
            <p:nvPr/>
          </p:nvSpPr>
          <p:spPr>
            <a:xfrm>
              <a:off x="1956373" y="1164605"/>
              <a:ext cx="1025401" cy="960624"/>
            </a:xfrm>
            <a:custGeom>
              <a:avLst/>
              <a:gdLst>
                <a:gd name="connsiteX0" fmla="*/ -2593 w 1025401"/>
                <a:gd name="connsiteY0" fmla="*/ 905997 h 960624"/>
                <a:gd name="connsiteX1" fmla="*/ 72634 w 1025401"/>
                <a:gd name="connsiteY1" fmla="*/ 885883 h 960624"/>
                <a:gd name="connsiteX2" fmla="*/ 122077 w 1025401"/>
                <a:gd name="connsiteY2" fmla="*/ 790416 h 960624"/>
                <a:gd name="connsiteX3" fmla="*/ 122077 w 1025401"/>
                <a:gd name="connsiteY3" fmla="*/ 221860 h 960624"/>
                <a:gd name="connsiteX4" fmla="*/ 67111 w 1025401"/>
                <a:gd name="connsiteY4" fmla="*/ 122709 h 960624"/>
                <a:gd name="connsiteX5" fmla="*/ -2593 w 1025401"/>
                <a:gd name="connsiteY5" fmla="*/ 87865 h 960624"/>
                <a:gd name="connsiteX6" fmla="*/ -2593 w 1025401"/>
                <a:gd name="connsiteY6" fmla="*/ 40132 h 960624"/>
                <a:gd name="connsiteX7" fmla="*/ 287265 w 1025401"/>
                <a:gd name="connsiteY7" fmla="*/ 1605 h 960624"/>
                <a:gd name="connsiteX8" fmla="*/ 305537 w 1025401"/>
                <a:gd name="connsiteY8" fmla="*/ 12653 h 960624"/>
                <a:gd name="connsiteX9" fmla="*/ 296472 w 1025401"/>
                <a:gd name="connsiteY9" fmla="*/ 115344 h 960624"/>
                <a:gd name="connsiteX10" fmla="*/ 303697 w 1025401"/>
                <a:gd name="connsiteY10" fmla="*/ 115344 h 960624"/>
                <a:gd name="connsiteX11" fmla="*/ 650502 w 1025401"/>
                <a:gd name="connsiteY11" fmla="*/ -237 h 960624"/>
                <a:gd name="connsiteX12" fmla="*/ 899983 w 1025401"/>
                <a:gd name="connsiteY12" fmla="*/ 243673 h 960624"/>
                <a:gd name="connsiteX13" fmla="*/ 899983 w 1025401"/>
                <a:gd name="connsiteY13" fmla="*/ 789849 h 960624"/>
                <a:gd name="connsiteX14" fmla="*/ 949425 w 1025401"/>
                <a:gd name="connsiteY14" fmla="*/ 885317 h 960624"/>
                <a:gd name="connsiteX15" fmla="*/ 1022809 w 1025401"/>
                <a:gd name="connsiteY15" fmla="*/ 905430 h 960624"/>
                <a:gd name="connsiteX16" fmla="*/ 1022809 w 1025401"/>
                <a:gd name="connsiteY16" fmla="*/ 960388 h 960624"/>
                <a:gd name="connsiteX17" fmla="*/ 593551 w 1025401"/>
                <a:gd name="connsiteY17" fmla="*/ 960388 h 960624"/>
                <a:gd name="connsiteX18" fmla="*/ 593551 w 1025401"/>
                <a:gd name="connsiteY18" fmla="*/ 905997 h 960624"/>
                <a:gd name="connsiteX19" fmla="*/ 668778 w 1025401"/>
                <a:gd name="connsiteY19" fmla="*/ 885883 h 960624"/>
                <a:gd name="connsiteX20" fmla="*/ 716519 w 1025401"/>
                <a:gd name="connsiteY20" fmla="*/ 790416 h 960624"/>
                <a:gd name="connsiteX21" fmla="*/ 716519 w 1025401"/>
                <a:gd name="connsiteY21" fmla="*/ 294665 h 960624"/>
                <a:gd name="connsiteX22" fmla="*/ 556858 w 1025401"/>
                <a:gd name="connsiteY22" fmla="*/ 120443 h 960624"/>
                <a:gd name="connsiteX23" fmla="*/ 305537 w 1025401"/>
                <a:gd name="connsiteY23" fmla="*/ 177100 h 960624"/>
                <a:gd name="connsiteX24" fmla="*/ 305537 w 1025401"/>
                <a:gd name="connsiteY24" fmla="*/ 789849 h 960624"/>
                <a:gd name="connsiteX25" fmla="*/ 353281 w 1025401"/>
                <a:gd name="connsiteY25" fmla="*/ 885317 h 960624"/>
                <a:gd name="connsiteX26" fmla="*/ 428508 w 1025401"/>
                <a:gd name="connsiteY26" fmla="*/ 905430 h 960624"/>
                <a:gd name="connsiteX27" fmla="*/ 428508 w 1025401"/>
                <a:gd name="connsiteY27" fmla="*/ 960388 h 960624"/>
                <a:gd name="connsiteX28" fmla="*/ -2593 w 1025401"/>
                <a:gd name="connsiteY28" fmla="*/ 960388 h 96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25401" h="960624">
                  <a:moveTo>
                    <a:pt x="-2593" y="905997"/>
                  </a:moveTo>
                  <a:lnTo>
                    <a:pt x="72634" y="885883"/>
                  </a:lnTo>
                  <a:cubicBezTo>
                    <a:pt x="109328" y="876677"/>
                    <a:pt x="122077" y="861946"/>
                    <a:pt x="122077" y="790416"/>
                  </a:cubicBezTo>
                  <a:lnTo>
                    <a:pt x="122077" y="221860"/>
                  </a:lnTo>
                  <a:cubicBezTo>
                    <a:pt x="122077" y="148489"/>
                    <a:pt x="113011" y="144806"/>
                    <a:pt x="67111" y="122709"/>
                  </a:cubicBezTo>
                  <a:lnTo>
                    <a:pt x="-2593" y="87865"/>
                  </a:lnTo>
                  <a:lnTo>
                    <a:pt x="-2593" y="40132"/>
                  </a:lnTo>
                  <a:lnTo>
                    <a:pt x="287265" y="1605"/>
                  </a:lnTo>
                  <a:lnTo>
                    <a:pt x="305537" y="12653"/>
                  </a:lnTo>
                  <a:lnTo>
                    <a:pt x="296472" y="115344"/>
                  </a:lnTo>
                  <a:lnTo>
                    <a:pt x="303697" y="115344"/>
                  </a:lnTo>
                  <a:cubicBezTo>
                    <a:pt x="395498" y="56704"/>
                    <a:pt x="533058" y="-237"/>
                    <a:pt x="650502" y="-237"/>
                  </a:cubicBezTo>
                  <a:cubicBezTo>
                    <a:pt x="835806" y="-237"/>
                    <a:pt x="899983" y="78659"/>
                    <a:pt x="899983" y="243673"/>
                  </a:cubicBezTo>
                  <a:lnTo>
                    <a:pt x="899983" y="789849"/>
                  </a:lnTo>
                  <a:cubicBezTo>
                    <a:pt x="899983" y="860671"/>
                    <a:pt x="914150" y="876110"/>
                    <a:pt x="949425" y="885317"/>
                  </a:cubicBezTo>
                  <a:lnTo>
                    <a:pt x="1022809" y="905430"/>
                  </a:lnTo>
                  <a:lnTo>
                    <a:pt x="1022809" y="960388"/>
                  </a:lnTo>
                  <a:lnTo>
                    <a:pt x="593551" y="960388"/>
                  </a:lnTo>
                  <a:lnTo>
                    <a:pt x="593551" y="905997"/>
                  </a:lnTo>
                  <a:lnTo>
                    <a:pt x="668778" y="885883"/>
                  </a:lnTo>
                  <a:cubicBezTo>
                    <a:pt x="705468" y="876677"/>
                    <a:pt x="716519" y="867470"/>
                    <a:pt x="716519" y="790416"/>
                  </a:cubicBezTo>
                  <a:lnTo>
                    <a:pt x="716519" y="294665"/>
                  </a:lnTo>
                  <a:cubicBezTo>
                    <a:pt x="716519" y="166336"/>
                    <a:pt x="674018" y="120443"/>
                    <a:pt x="556858" y="120443"/>
                  </a:cubicBezTo>
                  <a:cubicBezTo>
                    <a:pt x="467042" y="120443"/>
                    <a:pt x="358521" y="157129"/>
                    <a:pt x="305537" y="177100"/>
                  </a:cubicBezTo>
                  <a:lnTo>
                    <a:pt x="305537" y="789849"/>
                  </a:lnTo>
                  <a:cubicBezTo>
                    <a:pt x="305537" y="866903"/>
                    <a:pt x="316588" y="876110"/>
                    <a:pt x="353281" y="885317"/>
                  </a:cubicBezTo>
                  <a:lnTo>
                    <a:pt x="428508" y="905430"/>
                  </a:lnTo>
                  <a:lnTo>
                    <a:pt x="428508" y="960388"/>
                  </a:lnTo>
                  <a:lnTo>
                    <a:pt x="-2593" y="960388"/>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0" name="Freeform: Shape 9">
              <a:extLst>
                <a:ext uri="{FF2B5EF4-FFF2-40B4-BE49-F238E27FC236}">
                  <a16:creationId xmlns:a16="http://schemas.microsoft.com/office/drawing/2014/main" id="{0E7D2CBE-BF42-4862-8D62-893E7C002CF7}"/>
                </a:ext>
              </a:extLst>
            </p:cNvPr>
            <p:cNvSpPr/>
            <p:nvPr/>
          </p:nvSpPr>
          <p:spPr>
            <a:xfrm>
              <a:off x="3030141" y="1166081"/>
              <a:ext cx="827628" cy="984703"/>
            </a:xfrm>
            <a:custGeom>
              <a:avLst/>
              <a:gdLst>
                <a:gd name="connsiteX0" fmla="*/ 194326 w 827628"/>
                <a:gd name="connsiteY0" fmla="*/ 390415 h 984703"/>
                <a:gd name="connsiteX1" fmla="*/ 619332 w 827628"/>
                <a:gd name="connsiteY1" fmla="*/ 368461 h 984703"/>
                <a:gd name="connsiteX2" fmla="*/ 443097 w 827628"/>
                <a:gd name="connsiteY2" fmla="*/ 76817 h 984703"/>
                <a:gd name="connsiteX3" fmla="*/ 193620 w 827628"/>
                <a:gd name="connsiteY3" fmla="*/ 390415 h 984703"/>
                <a:gd name="connsiteX4" fmla="*/ -2593 w 827628"/>
                <a:gd name="connsiteY4" fmla="*/ 485883 h 984703"/>
                <a:gd name="connsiteX5" fmla="*/ 450748 w 827628"/>
                <a:gd name="connsiteY5" fmla="*/ -237 h 984703"/>
                <a:gd name="connsiteX6" fmla="*/ 825036 w 827628"/>
                <a:gd name="connsiteY6" fmla="*/ 467186 h 984703"/>
                <a:gd name="connsiteX7" fmla="*/ 192486 w 827628"/>
                <a:gd name="connsiteY7" fmla="*/ 467186 h 984703"/>
                <a:gd name="connsiteX8" fmla="*/ 511808 w 827628"/>
                <a:gd name="connsiteY8" fmla="*/ 867045 h 984703"/>
                <a:gd name="connsiteX9" fmla="*/ 807044 w 827628"/>
                <a:gd name="connsiteY9" fmla="*/ 789991 h 984703"/>
                <a:gd name="connsiteX10" fmla="*/ 807044 w 827628"/>
                <a:gd name="connsiteY10" fmla="*/ 863362 h 984703"/>
                <a:gd name="connsiteX11" fmla="*/ 451173 w 827628"/>
                <a:gd name="connsiteY11" fmla="*/ 984467 h 984703"/>
                <a:gd name="connsiteX12" fmla="*/ -2167 w 827628"/>
                <a:gd name="connsiteY12" fmla="*/ 485599 h 98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7628" h="984703">
                  <a:moveTo>
                    <a:pt x="194326" y="390415"/>
                  </a:moveTo>
                  <a:lnTo>
                    <a:pt x="619332" y="368461"/>
                  </a:lnTo>
                  <a:cubicBezTo>
                    <a:pt x="619332" y="157554"/>
                    <a:pt x="584482" y="76817"/>
                    <a:pt x="443097" y="76817"/>
                  </a:cubicBezTo>
                  <a:cubicBezTo>
                    <a:pt x="309221" y="76817"/>
                    <a:pt x="208354" y="173984"/>
                    <a:pt x="193620" y="390415"/>
                  </a:cubicBezTo>
                  <a:moveTo>
                    <a:pt x="-2593" y="485883"/>
                  </a:moveTo>
                  <a:cubicBezTo>
                    <a:pt x="-2593" y="192398"/>
                    <a:pt x="208354" y="-237"/>
                    <a:pt x="450748" y="-237"/>
                  </a:cubicBezTo>
                  <a:cubicBezTo>
                    <a:pt x="683793" y="-237"/>
                    <a:pt x="825036" y="126392"/>
                    <a:pt x="825036" y="467186"/>
                  </a:cubicBezTo>
                  <a:lnTo>
                    <a:pt x="192486" y="467186"/>
                  </a:lnTo>
                  <a:cubicBezTo>
                    <a:pt x="198009" y="746081"/>
                    <a:pt x="324664" y="867045"/>
                    <a:pt x="511808" y="867045"/>
                  </a:cubicBezTo>
                  <a:cubicBezTo>
                    <a:pt x="653477" y="867045"/>
                    <a:pt x="737344" y="822994"/>
                    <a:pt x="807044" y="789991"/>
                  </a:cubicBezTo>
                  <a:lnTo>
                    <a:pt x="807044" y="863362"/>
                  </a:lnTo>
                  <a:cubicBezTo>
                    <a:pt x="705043" y="941775"/>
                    <a:pt x="579952" y="984339"/>
                    <a:pt x="451173" y="984467"/>
                  </a:cubicBezTo>
                  <a:cubicBezTo>
                    <a:pt x="146727" y="984467"/>
                    <a:pt x="-2167" y="782625"/>
                    <a:pt x="-2167" y="485599"/>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1" name="Freeform: Shape 10">
              <a:extLst>
                <a:ext uri="{FF2B5EF4-FFF2-40B4-BE49-F238E27FC236}">
                  <a16:creationId xmlns:a16="http://schemas.microsoft.com/office/drawing/2014/main" id="{98277667-578C-452F-BEDC-F79A15656C7A}"/>
                </a:ext>
              </a:extLst>
            </p:cNvPr>
            <p:cNvSpPr/>
            <p:nvPr/>
          </p:nvSpPr>
          <p:spPr>
            <a:xfrm>
              <a:off x="4373105" y="718571"/>
              <a:ext cx="982759" cy="1407367"/>
            </a:xfrm>
            <a:custGeom>
              <a:avLst/>
              <a:gdLst>
                <a:gd name="connsiteX0" fmla="*/ 310213 w 982759"/>
                <a:gd name="connsiteY0" fmla="*/ 473418 h 1407367"/>
                <a:gd name="connsiteX1" fmla="*/ 647808 w 982759"/>
                <a:gd name="connsiteY1" fmla="*/ 473418 h 1407367"/>
                <a:gd name="connsiteX2" fmla="*/ 846145 w 982759"/>
                <a:gd name="connsiteY2" fmla="*/ 447781 h 1407367"/>
                <a:gd name="connsiteX3" fmla="*/ 866406 w 982759"/>
                <a:gd name="connsiteY3" fmla="*/ 458829 h 1407367"/>
                <a:gd name="connsiteX4" fmla="*/ 857195 w 982759"/>
                <a:gd name="connsiteY4" fmla="*/ 627526 h 1407367"/>
                <a:gd name="connsiteX5" fmla="*/ 857195 w 982759"/>
                <a:gd name="connsiteY5" fmla="*/ 1236592 h 1407367"/>
                <a:gd name="connsiteX6" fmla="*/ 904939 w 982759"/>
                <a:gd name="connsiteY6" fmla="*/ 1332060 h 1407367"/>
                <a:gd name="connsiteX7" fmla="*/ 980166 w 982759"/>
                <a:gd name="connsiteY7" fmla="*/ 1352173 h 1407367"/>
                <a:gd name="connsiteX8" fmla="*/ 980166 w 982759"/>
                <a:gd name="connsiteY8" fmla="*/ 1407130 h 1407367"/>
                <a:gd name="connsiteX9" fmla="*/ 555159 w 982759"/>
                <a:gd name="connsiteY9" fmla="*/ 1407130 h 1407367"/>
                <a:gd name="connsiteX10" fmla="*/ 555159 w 982759"/>
                <a:gd name="connsiteY10" fmla="*/ 1352031 h 1407367"/>
                <a:gd name="connsiteX11" fmla="*/ 624860 w 982759"/>
                <a:gd name="connsiteY11" fmla="*/ 1331918 h 1407367"/>
                <a:gd name="connsiteX12" fmla="*/ 674302 w 982759"/>
                <a:gd name="connsiteY12" fmla="*/ 1236451 h 1407367"/>
                <a:gd name="connsiteX13" fmla="*/ 674302 w 982759"/>
                <a:gd name="connsiteY13" fmla="*/ 667894 h 1407367"/>
                <a:gd name="connsiteX14" fmla="*/ 600918 w 982759"/>
                <a:gd name="connsiteY14" fmla="*/ 570727 h 1407367"/>
                <a:gd name="connsiteX15" fmla="*/ 311061 w 982759"/>
                <a:gd name="connsiteY15" fmla="*/ 570727 h 1407367"/>
                <a:gd name="connsiteX16" fmla="*/ 311061 w 982759"/>
                <a:gd name="connsiteY16" fmla="*/ 1227244 h 1407367"/>
                <a:gd name="connsiteX17" fmla="*/ 358805 w 982759"/>
                <a:gd name="connsiteY17" fmla="*/ 1331918 h 1407367"/>
                <a:gd name="connsiteX18" fmla="*/ 434032 w 982759"/>
                <a:gd name="connsiteY18" fmla="*/ 1352031 h 1407367"/>
                <a:gd name="connsiteX19" fmla="*/ 434032 w 982759"/>
                <a:gd name="connsiteY19" fmla="*/ 1406989 h 1407367"/>
                <a:gd name="connsiteX20" fmla="*/ 2931 w 982759"/>
                <a:gd name="connsiteY20" fmla="*/ 1406989 h 1407367"/>
                <a:gd name="connsiteX21" fmla="*/ 2931 w 982759"/>
                <a:gd name="connsiteY21" fmla="*/ 1352031 h 1407367"/>
                <a:gd name="connsiteX22" fmla="*/ 78158 w 982759"/>
                <a:gd name="connsiteY22" fmla="*/ 1331918 h 1407367"/>
                <a:gd name="connsiteX23" fmla="*/ 127600 w 982759"/>
                <a:gd name="connsiteY23" fmla="*/ 1236451 h 1407367"/>
                <a:gd name="connsiteX24" fmla="*/ 127600 w 982759"/>
                <a:gd name="connsiteY24" fmla="*/ 570161 h 1407367"/>
                <a:gd name="connsiteX25" fmla="*/ -2593 w 982759"/>
                <a:gd name="connsiteY25" fmla="*/ 570161 h 1407367"/>
                <a:gd name="connsiteX26" fmla="*/ -2593 w 982759"/>
                <a:gd name="connsiteY26" fmla="*/ 515061 h 1407367"/>
                <a:gd name="connsiteX27" fmla="*/ 127600 w 982759"/>
                <a:gd name="connsiteY27" fmla="*/ 471152 h 1407367"/>
                <a:gd name="connsiteX28" fmla="*/ 127600 w 982759"/>
                <a:gd name="connsiteY28" fmla="*/ 397781 h 1407367"/>
                <a:gd name="connsiteX29" fmla="*/ 567908 w 982759"/>
                <a:gd name="connsiteY29" fmla="*/ -237 h 1407367"/>
                <a:gd name="connsiteX30" fmla="*/ 778852 w 982759"/>
                <a:gd name="connsiteY30" fmla="*/ 115203 h 1407367"/>
                <a:gd name="connsiteX31" fmla="*/ 679684 w 982759"/>
                <a:gd name="connsiteY31" fmla="*/ 216194 h 1407367"/>
                <a:gd name="connsiteX32" fmla="*/ 566348 w 982759"/>
                <a:gd name="connsiteY32" fmla="*/ 113361 h 1407367"/>
                <a:gd name="connsiteX33" fmla="*/ 515066 w 982759"/>
                <a:gd name="connsiteY33" fmla="*/ 65769 h 1407367"/>
                <a:gd name="connsiteX34" fmla="*/ 311344 w 982759"/>
                <a:gd name="connsiteY34" fmla="*/ 300472 h 140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759" h="1407367">
                  <a:moveTo>
                    <a:pt x="310213" y="473418"/>
                  </a:moveTo>
                  <a:lnTo>
                    <a:pt x="647808" y="473418"/>
                  </a:lnTo>
                  <a:lnTo>
                    <a:pt x="846145" y="447781"/>
                  </a:lnTo>
                  <a:lnTo>
                    <a:pt x="866406" y="458829"/>
                  </a:lnTo>
                  <a:cubicBezTo>
                    <a:pt x="860311" y="514849"/>
                    <a:pt x="857195" y="571166"/>
                    <a:pt x="857195" y="627526"/>
                  </a:cubicBezTo>
                  <a:lnTo>
                    <a:pt x="857195" y="1236592"/>
                  </a:lnTo>
                  <a:cubicBezTo>
                    <a:pt x="857195" y="1313646"/>
                    <a:pt x="868246" y="1322853"/>
                    <a:pt x="904939" y="1332060"/>
                  </a:cubicBezTo>
                  <a:lnTo>
                    <a:pt x="980166" y="1352173"/>
                  </a:lnTo>
                  <a:lnTo>
                    <a:pt x="980166" y="1407130"/>
                  </a:lnTo>
                  <a:lnTo>
                    <a:pt x="555159" y="1407130"/>
                  </a:lnTo>
                  <a:lnTo>
                    <a:pt x="555159" y="1352031"/>
                  </a:lnTo>
                  <a:lnTo>
                    <a:pt x="624860" y="1331918"/>
                  </a:lnTo>
                  <a:cubicBezTo>
                    <a:pt x="659710" y="1322711"/>
                    <a:pt x="674302" y="1307980"/>
                    <a:pt x="674302" y="1236451"/>
                  </a:cubicBezTo>
                  <a:lnTo>
                    <a:pt x="674302" y="667894"/>
                  </a:lnTo>
                  <a:cubicBezTo>
                    <a:pt x="674302" y="594523"/>
                    <a:pt x="648659" y="570727"/>
                    <a:pt x="600918" y="570727"/>
                  </a:cubicBezTo>
                  <a:lnTo>
                    <a:pt x="311061" y="570727"/>
                  </a:lnTo>
                  <a:lnTo>
                    <a:pt x="311061" y="1227244"/>
                  </a:lnTo>
                  <a:cubicBezTo>
                    <a:pt x="311061" y="1313505"/>
                    <a:pt x="318428" y="1320870"/>
                    <a:pt x="358805" y="1331918"/>
                  </a:cubicBezTo>
                  <a:lnTo>
                    <a:pt x="434032" y="1352031"/>
                  </a:lnTo>
                  <a:lnTo>
                    <a:pt x="434032" y="1406989"/>
                  </a:lnTo>
                  <a:lnTo>
                    <a:pt x="2931" y="1406989"/>
                  </a:lnTo>
                  <a:lnTo>
                    <a:pt x="2931" y="1352031"/>
                  </a:lnTo>
                  <a:lnTo>
                    <a:pt x="78158" y="1331918"/>
                  </a:lnTo>
                  <a:cubicBezTo>
                    <a:pt x="114851" y="1322711"/>
                    <a:pt x="127600" y="1307980"/>
                    <a:pt x="127600" y="1236451"/>
                  </a:cubicBezTo>
                  <a:lnTo>
                    <a:pt x="127600" y="570161"/>
                  </a:lnTo>
                  <a:lnTo>
                    <a:pt x="-2593" y="570161"/>
                  </a:lnTo>
                  <a:lnTo>
                    <a:pt x="-2593" y="515061"/>
                  </a:lnTo>
                  <a:lnTo>
                    <a:pt x="127600" y="471152"/>
                  </a:lnTo>
                  <a:lnTo>
                    <a:pt x="127600" y="397781"/>
                  </a:lnTo>
                  <a:cubicBezTo>
                    <a:pt x="127600" y="142823"/>
                    <a:pt x="305537" y="-237"/>
                    <a:pt x="567908" y="-237"/>
                  </a:cubicBezTo>
                  <a:cubicBezTo>
                    <a:pt x="714675" y="-237"/>
                    <a:pt x="778852" y="51038"/>
                    <a:pt x="778852" y="115203"/>
                  </a:cubicBezTo>
                  <a:cubicBezTo>
                    <a:pt x="778852" y="184891"/>
                    <a:pt x="738620" y="216194"/>
                    <a:pt x="679684" y="216194"/>
                  </a:cubicBezTo>
                  <a:cubicBezTo>
                    <a:pt x="608144" y="216194"/>
                    <a:pt x="575134" y="175826"/>
                    <a:pt x="566348" y="113361"/>
                  </a:cubicBezTo>
                  <a:cubicBezTo>
                    <a:pt x="562665" y="84041"/>
                    <a:pt x="549916" y="65769"/>
                    <a:pt x="515066" y="65769"/>
                  </a:cubicBezTo>
                  <a:cubicBezTo>
                    <a:pt x="406829" y="65769"/>
                    <a:pt x="311344" y="109820"/>
                    <a:pt x="311344" y="300472"/>
                  </a:cubicBez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2" name="Freeform: Shape 11">
              <a:extLst>
                <a:ext uri="{FF2B5EF4-FFF2-40B4-BE49-F238E27FC236}">
                  <a16:creationId xmlns:a16="http://schemas.microsoft.com/office/drawing/2014/main" id="{BD499510-7205-4BBD-B3DB-C99AABA529EE}"/>
                </a:ext>
              </a:extLst>
            </p:cNvPr>
            <p:cNvSpPr/>
            <p:nvPr/>
          </p:nvSpPr>
          <p:spPr>
            <a:xfrm>
              <a:off x="5442055" y="1162197"/>
              <a:ext cx="697719" cy="963032"/>
            </a:xfrm>
            <a:custGeom>
              <a:avLst/>
              <a:gdLst>
                <a:gd name="connsiteX0" fmla="*/ -1600 w 697719"/>
                <a:gd name="connsiteY0" fmla="*/ 908405 h 963032"/>
                <a:gd name="connsiteX1" fmla="*/ 73627 w 697719"/>
                <a:gd name="connsiteY1" fmla="*/ 888291 h 963032"/>
                <a:gd name="connsiteX2" fmla="*/ 123211 w 697719"/>
                <a:gd name="connsiteY2" fmla="*/ 792824 h 963032"/>
                <a:gd name="connsiteX3" fmla="*/ 123211 w 697719"/>
                <a:gd name="connsiteY3" fmla="*/ 224268 h 963032"/>
                <a:gd name="connsiteX4" fmla="*/ 68100 w 697719"/>
                <a:gd name="connsiteY4" fmla="*/ 125118 h 963032"/>
                <a:gd name="connsiteX5" fmla="*/ -1600 w 697719"/>
                <a:gd name="connsiteY5" fmla="*/ 90273 h 963032"/>
                <a:gd name="connsiteX6" fmla="*/ -1600 w 697719"/>
                <a:gd name="connsiteY6" fmla="*/ 42540 h 963032"/>
                <a:gd name="connsiteX7" fmla="*/ 288254 w 697719"/>
                <a:gd name="connsiteY7" fmla="*/ 4013 h 963032"/>
                <a:gd name="connsiteX8" fmla="*/ 306672 w 697719"/>
                <a:gd name="connsiteY8" fmla="*/ 18177 h 963032"/>
                <a:gd name="connsiteX9" fmla="*/ 297461 w 697719"/>
                <a:gd name="connsiteY9" fmla="*/ 124551 h 963032"/>
                <a:gd name="connsiteX10" fmla="*/ 304828 w 697719"/>
                <a:gd name="connsiteY10" fmla="*/ 124551 h 963032"/>
                <a:gd name="connsiteX11" fmla="*/ 573999 w 697719"/>
                <a:gd name="connsiteY11" fmla="*/ -237 h 963032"/>
                <a:gd name="connsiteX12" fmla="*/ 695127 w 697719"/>
                <a:gd name="connsiteY12" fmla="*/ 109820 h 963032"/>
                <a:gd name="connsiteX13" fmla="*/ 595958 w 697719"/>
                <a:gd name="connsiteY13" fmla="*/ 212512 h 963032"/>
                <a:gd name="connsiteX14" fmla="*/ 491267 w 697719"/>
                <a:gd name="connsiteY14" fmla="*/ 153871 h 963032"/>
                <a:gd name="connsiteX15" fmla="*/ 448766 w 697719"/>
                <a:gd name="connsiteY15" fmla="*/ 122710 h 963032"/>
                <a:gd name="connsiteX16" fmla="*/ 305679 w 697719"/>
                <a:gd name="connsiteY16" fmla="*/ 203446 h 963032"/>
                <a:gd name="connsiteX17" fmla="*/ 305679 w 697719"/>
                <a:gd name="connsiteY17" fmla="*/ 792257 h 963032"/>
                <a:gd name="connsiteX18" fmla="*/ 353281 w 697719"/>
                <a:gd name="connsiteY18" fmla="*/ 887725 h 963032"/>
                <a:gd name="connsiteX19" fmla="*/ 446922 w 697719"/>
                <a:gd name="connsiteY19" fmla="*/ 907838 h 963032"/>
                <a:gd name="connsiteX20" fmla="*/ 446922 w 697719"/>
                <a:gd name="connsiteY20" fmla="*/ 962796 h 963032"/>
                <a:gd name="connsiteX21" fmla="*/ -2593 w 697719"/>
                <a:gd name="connsiteY21" fmla="*/ 962796 h 96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719" h="963032">
                  <a:moveTo>
                    <a:pt x="-1600" y="908405"/>
                  </a:moveTo>
                  <a:lnTo>
                    <a:pt x="73627" y="888291"/>
                  </a:lnTo>
                  <a:cubicBezTo>
                    <a:pt x="110317" y="879085"/>
                    <a:pt x="123211" y="864354"/>
                    <a:pt x="123211" y="792824"/>
                  </a:cubicBezTo>
                  <a:lnTo>
                    <a:pt x="123211" y="224268"/>
                  </a:lnTo>
                  <a:cubicBezTo>
                    <a:pt x="123211" y="150897"/>
                    <a:pt x="114000" y="147214"/>
                    <a:pt x="68100" y="125118"/>
                  </a:cubicBezTo>
                  <a:lnTo>
                    <a:pt x="-1600" y="90273"/>
                  </a:lnTo>
                  <a:lnTo>
                    <a:pt x="-1600" y="42540"/>
                  </a:lnTo>
                  <a:lnTo>
                    <a:pt x="288254" y="4013"/>
                  </a:lnTo>
                  <a:lnTo>
                    <a:pt x="306672" y="18177"/>
                  </a:lnTo>
                  <a:lnTo>
                    <a:pt x="297461" y="124551"/>
                  </a:lnTo>
                  <a:lnTo>
                    <a:pt x="304828" y="124551"/>
                  </a:lnTo>
                  <a:cubicBezTo>
                    <a:pt x="369005" y="60387"/>
                    <a:pt x="482765" y="-237"/>
                    <a:pt x="573999" y="-237"/>
                  </a:cubicBezTo>
                  <a:cubicBezTo>
                    <a:pt x="649226" y="-237"/>
                    <a:pt x="695127" y="40132"/>
                    <a:pt x="695127" y="109820"/>
                  </a:cubicBezTo>
                  <a:cubicBezTo>
                    <a:pt x="695127" y="179509"/>
                    <a:pt x="649226" y="212512"/>
                    <a:pt x="595958" y="212512"/>
                  </a:cubicBezTo>
                  <a:cubicBezTo>
                    <a:pt x="527957" y="212512"/>
                    <a:pt x="507841" y="194240"/>
                    <a:pt x="491267" y="153871"/>
                  </a:cubicBezTo>
                  <a:cubicBezTo>
                    <a:pt x="480358" y="128234"/>
                    <a:pt x="467464" y="122710"/>
                    <a:pt x="448766" y="122710"/>
                  </a:cubicBezTo>
                  <a:cubicBezTo>
                    <a:pt x="412072" y="122710"/>
                    <a:pt x="338689" y="166761"/>
                    <a:pt x="305679" y="203446"/>
                  </a:cubicBezTo>
                  <a:lnTo>
                    <a:pt x="305679" y="792257"/>
                  </a:lnTo>
                  <a:cubicBezTo>
                    <a:pt x="305679" y="869311"/>
                    <a:pt x="316588" y="880359"/>
                    <a:pt x="353281" y="887725"/>
                  </a:cubicBezTo>
                  <a:lnTo>
                    <a:pt x="446922" y="907838"/>
                  </a:lnTo>
                  <a:lnTo>
                    <a:pt x="446922" y="962796"/>
                  </a:lnTo>
                  <a:lnTo>
                    <a:pt x="-2593" y="962796"/>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3" name="Freeform: Shape 12">
              <a:extLst>
                <a:ext uri="{FF2B5EF4-FFF2-40B4-BE49-F238E27FC236}">
                  <a16:creationId xmlns:a16="http://schemas.microsoft.com/office/drawing/2014/main" id="{588BD3B2-4F0C-4865-B0C2-18264B05F1DD}"/>
                </a:ext>
              </a:extLst>
            </p:cNvPr>
            <p:cNvSpPr/>
            <p:nvPr/>
          </p:nvSpPr>
          <p:spPr>
            <a:xfrm>
              <a:off x="6218809" y="1164181"/>
              <a:ext cx="1561616" cy="961757"/>
            </a:xfrm>
            <a:custGeom>
              <a:avLst/>
              <a:gdLst>
                <a:gd name="connsiteX0" fmla="*/ -2167 w 1561616"/>
                <a:gd name="connsiteY0" fmla="*/ 906422 h 961757"/>
                <a:gd name="connsiteX1" fmla="*/ 73060 w 1561616"/>
                <a:gd name="connsiteY1" fmla="*/ 886308 h 961757"/>
                <a:gd name="connsiteX2" fmla="*/ 122502 w 1561616"/>
                <a:gd name="connsiteY2" fmla="*/ 790841 h 961757"/>
                <a:gd name="connsiteX3" fmla="*/ 122502 w 1561616"/>
                <a:gd name="connsiteY3" fmla="*/ 222285 h 961757"/>
                <a:gd name="connsiteX4" fmla="*/ 67533 w 1561616"/>
                <a:gd name="connsiteY4" fmla="*/ 123134 h 961757"/>
                <a:gd name="connsiteX5" fmla="*/ -2167 w 1561616"/>
                <a:gd name="connsiteY5" fmla="*/ 88290 h 961757"/>
                <a:gd name="connsiteX6" fmla="*/ -2167 w 1561616"/>
                <a:gd name="connsiteY6" fmla="*/ 40557 h 961757"/>
                <a:gd name="connsiteX7" fmla="*/ 287687 w 1561616"/>
                <a:gd name="connsiteY7" fmla="*/ 2030 h 961757"/>
                <a:gd name="connsiteX8" fmla="*/ 305963 w 1561616"/>
                <a:gd name="connsiteY8" fmla="*/ 16194 h 961757"/>
                <a:gd name="connsiteX9" fmla="*/ 296894 w 1561616"/>
                <a:gd name="connsiteY9" fmla="*/ 115344 h 961757"/>
                <a:gd name="connsiteX10" fmla="*/ 304261 w 1561616"/>
                <a:gd name="connsiteY10" fmla="*/ 115344 h 961757"/>
                <a:gd name="connsiteX11" fmla="*/ 634350 w 1561616"/>
                <a:gd name="connsiteY11" fmla="*/ -237 h 961757"/>
                <a:gd name="connsiteX12" fmla="*/ 856348 w 1561616"/>
                <a:gd name="connsiteY12" fmla="*/ 119027 h 961757"/>
                <a:gd name="connsiteX13" fmla="*/ 863711 w 1561616"/>
                <a:gd name="connsiteY13" fmla="*/ 119027 h 961757"/>
                <a:gd name="connsiteX14" fmla="*/ 1212218 w 1561616"/>
                <a:gd name="connsiteY14" fmla="*/ -237 h 961757"/>
                <a:gd name="connsiteX15" fmla="*/ 1436056 w 1561616"/>
                <a:gd name="connsiteY15" fmla="*/ 245514 h 961757"/>
                <a:gd name="connsiteX16" fmla="*/ 1436056 w 1561616"/>
                <a:gd name="connsiteY16" fmla="*/ 790274 h 961757"/>
                <a:gd name="connsiteX17" fmla="*/ 1483797 w 1561616"/>
                <a:gd name="connsiteY17" fmla="*/ 885742 h 961757"/>
                <a:gd name="connsiteX18" fmla="*/ 1559024 w 1561616"/>
                <a:gd name="connsiteY18" fmla="*/ 905855 h 961757"/>
                <a:gd name="connsiteX19" fmla="*/ 1559024 w 1561616"/>
                <a:gd name="connsiteY19" fmla="*/ 960813 h 961757"/>
                <a:gd name="connsiteX20" fmla="*/ 1127359 w 1561616"/>
                <a:gd name="connsiteY20" fmla="*/ 960813 h 961757"/>
                <a:gd name="connsiteX21" fmla="*/ 1127359 w 1561616"/>
                <a:gd name="connsiteY21" fmla="*/ 906422 h 961757"/>
                <a:gd name="connsiteX22" fmla="*/ 1202586 w 1561616"/>
                <a:gd name="connsiteY22" fmla="*/ 886308 h 961757"/>
                <a:gd name="connsiteX23" fmla="*/ 1252170 w 1561616"/>
                <a:gd name="connsiteY23" fmla="*/ 790841 h 961757"/>
                <a:gd name="connsiteX24" fmla="*/ 1252170 w 1561616"/>
                <a:gd name="connsiteY24" fmla="*/ 297497 h 961757"/>
                <a:gd name="connsiteX25" fmla="*/ 1109083 w 1561616"/>
                <a:gd name="connsiteY25" fmla="*/ 121435 h 961757"/>
                <a:gd name="connsiteX26" fmla="*/ 870653 w 1561616"/>
                <a:gd name="connsiteY26" fmla="*/ 181916 h 961757"/>
                <a:gd name="connsiteX27" fmla="*/ 870653 w 1561616"/>
                <a:gd name="connsiteY27" fmla="*/ 790982 h 961757"/>
                <a:gd name="connsiteX28" fmla="*/ 918255 w 1561616"/>
                <a:gd name="connsiteY28" fmla="*/ 886450 h 961757"/>
                <a:gd name="connsiteX29" fmla="*/ 993482 w 1561616"/>
                <a:gd name="connsiteY29" fmla="*/ 906563 h 961757"/>
                <a:gd name="connsiteX30" fmla="*/ 993482 w 1561616"/>
                <a:gd name="connsiteY30" fmla="*/ 961521 h 961757"/>
                <a:gd name="connsiteX31" fmla="*/ 562385 w 1561616"/>
                <a:gd name="connsiteY31" fmla="*/ 961521 h 961757"/>
                <a:gd name="connsiteX32" fmla="*/ 562385 w 1561616"/>
                <a:gd name="connsiteY32" fmla="*/ 906422 h 961757"/>
                <a:gd name="connsiteX33" fmla="*/ 637608 w 1561616"/>
                <a:gd name="connsiteY33" fmla="*/ 886308 h 961757"/>
                <a:gd name="connsiteX34" fmla="*/ 687192 w 1561616"/>
                <a:gd name="connsiteY34" fmla="*/ 790841 h 961757"/>
                <a:gd name="connsiteX35" fmla="*/ 687192 w 1561616"/>
                <a:gd name="connsiteY35" fmla="*/ 297497 h 961757"/>
                <a:gd name="connsiteX36" fmla="*/ 544109 w 1561616"/>
                <a:gd name="connsiteY36" fmla="*/ 121435 h 961757"/>
                <a:gd name="connsiteX37" fmla="*/ 305537 w 1561616"/>
                <a:gd name="connsiteY37" fmla="*/ 178092 h 961757"/>
                <a:gd name="connsiteX38" fmla="*/ 305537 w 1561616"/>
                <a:gd name="connsiteY38" fmla="*/ 790274 h 961757"/>
                <a:gd name="connsiteX39" fmla="*/ 353281 w 1561616"/>
                <a:gd name="connsiteY39" fmla="*/ 885742 h 961757"/>
                <a:gd name="connsiteX40" fmla="*/ 428505 w 1561616"/>
                <a:gd name="connsiteY40" fmla="*/ 905855 h 961757"/>
                <a:gd name="connsiteX41" fmla="*/ 428505 w 1561616"/>
                <a:gd name="connsiteY41" fmla="*/ 960813 h 961757"/>
                <a:gd name="connsiteX42" fmla="*/ -2593 w 1561616"/>
                <a:gd name="connsiteY42" fmla="*/ 960813 h 96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616" h="961757">
                  <a:moveTo>
                    <a:pt x="-2167" y="906422"/>
                  </a:moveTo>
                  <a:lnTo>
                    <a:pt x="73060" y="886308"/>
                  </a:lnTo>
                  <a:cubicBezTo>
                    <a:pt x="109750" y="877101"/>
                    <a:pt x="122502" y="862370"/>
                    <a:pt x="122502" y="790841"/>
                  </a:cubicBezTo>
                  <a:lnTo>
                    <a:pt x="122502" y="222285"/>
                  </a:lnTo>
                  <a:cubicBezTo>
                    <a:pt x="122502" y="148914"/>
                    <a:pt x="113433" y="145231"/>
                    <a:pt x="67533" y="123134"/>
                  </a:cubicBezTo>
                  <a:lnTo>
                    <a:pt x="-2167" y="88290"/>
                  </a:lnTo>
                  <a:lnTo>
                    <a:pt x="-2167" y="40557"/>
                  </a:lnTo>
                  <a:lnTo>
                    <a:pt x="287687" y="2030"/>
                  </a:lnTo>
                  <a:lnTo>
                    <a:pt x="305963" y="16194"/>
                  </a:lnTo>
                  <a:lnTo>
                    <a:pt x="296894" y="115344"/>
                  </a:lnTo>
                  <a:lnTo>
                    <a:pt x="304261" y="115344"/>
                  </a:lnTo>
                  <a:cubicBezTo>
                    <a:pt x="395924" y="56704"/>
                    <a:pt x="520590" y="-237"/>
                    <a:pt x="634350" y="-237"/>
                  </a:cubicBezTo>
                  <a:cubicBezTo>
                    <a:pt x="768368" y="-237"/>
                    <a:pt x="823338" y="43814"/>
                    <a:pt x="856348" y="119027"/>
                  </a:cubicBezTo>
                  <a:lnTo>
                    <a:pt x="863711" y="119027"/>
                  </a:lnTo>
                  <a:cubicBezTo>
                    <a:pt x="964581" y="60387"/>
                    <a:pt x="1076215" y="-237"/>
                    <a:pt x="1212218" y="-237"/>
                  </a:cubicBezTo>
                  <a:cubicBezTo>
                    <a:pt x="1373720" y="-237"/>
                    <a:pt x="1436056" y="80500"/>
                    <a:pt x="1436056" y="245514"/>
                  </a:cubicBezTo>
                  <a:lnTo>
                    <a:pt x="1436056" y="790274"/>
                  </a:lnTo>
                  <a:cubicBezTo>
                    <a:pt x="1436056" y="861096"/>
                    <a:pt x="1450223" y="876535"/>
                    <a:pt x="1483797" y="885742"/>
                  </a:cubicBezTo>
                  <a:lnTo>
                    <a:pt x="1559024" y="905855"/>
                  </a:lnTo>
                  <a:lnTo>
                    <a:pt x="1559024" y="960813"/>
                  </a:lnTo>
                  <a:lnTo>
                    <a:pt x="1127359" y="960813"/>
                  </a:lnTo>
                  <a:lnTo>
                    <a:pt x="1127359" y="906422"/>
                  </a:lnTo>
                  <a:lnTo>
                    <a:pt x="1202586" y="886308"/>
                  </a:lnTo>
                  <a:cubicBezTo>
                    <a:pt x="1241119" y="877101"/>
                    <a:pt x="1252170" y="867895"/>
                    <a:pt x="1252170" y="790841"/>
                  </a:cubicBezTo>
                  <a:lnTo>
                    <a:pt x="1252170" y="297497"/>
                  </a:lnTo>
                  <a:cubicBezTo>
                    <a:pt x="1252170" y="174551"/>
                    <a:pt x="1221004" y="121435"/>
                    <a:pt x="1109083" y="121435"/>
                  </a:cubicBezTo>
                  <a:cubicBezTo>
                    <a:pt x="1019267" y="121435"/>
                    <a:pt x="925622" y="156279"/>
                    <a:pt x="870653" y="181916"/>
                  </a:cubicBezTo>
                  <a:lnTo>
                    <a:pt x="870653" y="790982"/>
                  </a:lnTo>
                  <a:cubicBezTo>
                    <a:pt x="870653" y="861804"/>
                    <a:pt x="884820" y="877243"/>
                    <a:pt x="918255" y="886450"/>
                  </a:cubicBezTo>
                  <a:lnTo>
                    <a:pt x="993482" y="906563"/>
                  </a:lnTo>
                  <a:lnTo>
                    <a:pt x="993482" y="961521"/>
                  </a:lnTo>
                  <a:lnTo>
                    <a:pt x="562385" y="961521"/>
                  </a:lnTo>
                  <a:lnTo>
                    <a:pt x="562385" y="906422"/>
                  </a:lnTo>
                  <a:lnTo>
                    <a:pt x="637608" y="886308"/>
                  </a:lnTo>
                  <a:cubicBezTo>
                    <a:pt x="676142" y="877101"/>
                    <a:pt x="687192" y="867895"/>
                    <a:pt x="687192" y="790841"/>
                  </a:cubicBezTo>
                  <a:lnTo>
                    <a:pt x="687192" y="297497"/>
                  </a:lnTo>
                  <a:cubicBezTo>
                    <a:pt x="687192" y="176392"/>
                    <a:pt x="656026" y="121435"/>
                    <a:pt x="544109" y="121435"/>
                  </a:cubicBezTo>
                  <a:cubicBezTo>
                    <a:pt x="454148" y="121435"/>
                    <a:pt x="358805" y="156279"/>
                    <a:pt x="305537" y="178092"/>
                  </a:cubicBezTo>
                  <a:lnTo>
                    <a:pt x="305537" y="790274"/>
                  </a:lnTo>
                  <a:cubicBezTo>
                    <a:pt x="305537" y="867328"/>
                    <a:pt x="316588" y="876535"/>
                    <a:pt x="353281" y="885742"/>
                  </a:cubicBezTo>
                  <a:lnTo>
                    <a:pt x="428505" y="905855"/>
                  </a:lnTo>
                  <a:lnTo>
                    <a:pt x="428505" y="960813"/>
                  </a:lnTo>
                  <a:lnTo>
                    <a:pt x="-2593" y="960813"/>
                  </a:lnTo>
                  <a:close/>
                </a:path>
              </a:pathLst>
            </a:custGeom>
            <a:solidFill>
              <a:schemeClr val="tx1"/>
            </a:solidFill>
            <a:ln w="14153" cap="flat">
              <a:noFill/>
              <a:prstDash val="solid"/>
              <a:miter/>
            </a:ln>
          </p:spPr>
          <p:txBody>
            <a:bodyPr rtlCol="0" anchor="ctr"/>
            <a:lstStyle/>
            <a:p>
              <a:endParaRPr lang="en-GB" dirty="0">
                <a:solidFill>
                  <a:schemeClr val="tx1"/>
                </a:solidFill>
              </a:endParaRPr>
            </a:p>
          </p:txBody>
        </p:sp>
        <p:sp>
          <p:nvSpPr>
            <p:cNvPr id="14" name="Freeform: Shape 13">
              <a:extLst>
                <a:ext uri="{FF2B5EF4-FFF2-40B4-BE49-F238E27FC236}">
                  <a16:creationId xmlns:a16="http://schemas.microsoft.com/office/drawing/2014/main" id="{BFF832B6-3402-4CD7-8CD9-DBF06FA7A041}"/>
                </a:ext>
              </a:extLst>
            </p:cNvPr>
            <p:cNvSpPr/>
            <p:nvPr userDrawn="1"/>
          </p:nvSpPr>
          <p:spPr>
            <a:xfrm>
              <a:off x="7853110" y="1875449"/>
              <a:ext cx="266363" cy="266347"/>
            </a:xfrm>
            <a:custGeom>
              <a:avLst/>
              <a:gdLst>
                <a:gd name="connsiteX0" fmla="*/ -2527 w 230343"/>
                <a:gd name="connsiteY0" fmla="*/ 118884 h 230329"/>
                <a:gd name="connsiteX1" fmla="*/ 108684 w 230343"/>
                <a:gd name="connsiteY1" fmla="*/ -167 h 230329"/>
                <a:gd name="connsiteX2" fmla="*/ 227685 w 230343"/>
                <a:gd name="connsiteY2" fmla="*/ 110952 h 230329"/>
                <a:gd name="connsiteX3" fmla="*/ 116477 w 230343"/>
                <a:gd name="connsiteY3" fmla="*/ 230003 h 230329"/>
                <a:gd name="connsiteX4" fmla="*/ 111801 w 230343"/>
                <a:gd name="connsiteY4" fmla="*/ 230074 h 230329"/>
                <a:gd name="connsiteX5" fmla="*/ -2527 w 230343"/>
                <a:gd name="connsiteY5" fmla="*/ 119762 h 230329"/>
                <a:gd name="connsiteX6" fmla="*/ -2527 w 230343"/>
                <a:gd name="connsiteY6" fmla="*/ 118884 h 23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43" h="230329">
                  <a:moveTo>
                    <a:pt x="-2527" y="118884"/>
                  </a:moveTo>
                  <a:cubicBezTo>
                    <a:pt x="-4651" y="55329"/>
                    <a:pt x="45075" y="2029"/>
                    <a:pt x="108684" y="-167"/>
                  </a:cubicBezTo>
                  <a:cubicBezTo>
                    <a:pt x="172152" y="-2362"/>
                    <a:pt x="225561" y="47397"/>
                    <a:pt x="227685" y="110952"/>
                  </a:cubicBezTo>
                  <a:cubicBezTo>
                    <a:pt x="229812" y="174522"/>
                    <a:pt x="180086" y="227822"/>
                    <a:pt x="116477" y="230003"/>
                  </a:cubicBezTo>
                  <a:cubicBezTo>
                    <a:pt x="114917" y="230060"/>
                    <a:pt x="113360" y="230088"/>
                    <a:pt x="111801" y="230074"/>
                  </a:cubicBezTo>
                  <a:cubicBezTo>
                    <a:pt x="49748" y="231179"/>
                    <a:pt x="-1393" y="181788"/>
                    <a:pt x="-2527" y="119762"/>
                  </a:cubicBezTo>
                  <a:cubicBezTo>
                    <a:pt x="-2527" y="119465"/>
                    <a:pt x="-2527" y="119182"/>
                    <a:pt x="-2527" y="118884"/>
                  </a:cubicBezTo>
                </a:path>
              </a:pathLst>
            </a:custGeom>
            <a:solidFill>
              <a:schemeClr val="tx1"/>
            </a:solidFill>
            <a:ln w="14153" cap="flat">
              <a:noFill/>
              <a:prstDash val="solid"/>
              <a:miter/>
            </a:ln>
          </p:spPr>
          <p:txBody>
            <a:bodyPr rtlCol="0" anchor="ctr"/>
            <a:lstStyle/>
            <a:p>
              <a:endParaRPr lang="en-GB">
                <a:solidFill>
                  <a:schemeClr val="tx1"/>
                </a:solidFill>
              </a:endParaRPr>
            </a:p>
          </p:txBody>
        </p:sp>
      </p:grpSp>
      <p:grpSp>
        <p:nvGrpSpPr>
          <p:cNvPr id="2" name="Group 1">
            <a:extLst>
              <a:ext uri="{FF2B5EF4-FFF2-40B4-BE49-F238E27FC236}">
                <a16:creationId xmlns:a16="http://schemas.microsoft.com/office/drawing/2014/main" id="{FF6A65B9-ADDA-482F-9F23-565796B0C61B}"/>
              </a:ext>
            </a:extLst>
          </p:cNvPr>
          <p:cNvGrpSpPr/>
          <p:nvPr userDrawn="1"/>
        </p:nvGrpSpPr>
        <p:grpSpPr>
          <a:xfrm>
            <a:off x="709879" y="4058926"/>
            <a:ext cx="8016437" cy="1431305"/>
            <a:chOff x="709879" y="2561771"/>
            <a:chExt cx="8016437" cy="1431305"/>
          </a:xfrm>
        </p:grpSpPr>
        <p:sp>
          <p:nvSpPr>
            <p:cNvPr id="15" name="Freeform: Shape 14">
              <a:extLst>
                <a:ext uri="{FF2B5EF4-FFF2-40B4-BE49-F238E27FC236}">
                  <a16:creationId xmlns:a16="http://schemas.microsoft.com/office/drawing/2014/main" id="{2842B283-E38F-4698-A84D-EFA2E277B030}"/>
                </a:ext>
              </a:extLst>
            </p:cNvPr>
            <p:cNvSpPr/>
            <p:nvPr/>
          </p:nvSpPr>
          <p:spPr>
            <a:xfrm>
              <a:off x="709879" y="2697323"/>
              <a:ext cx="1139300" cy="1271389"/>
            </a:xfrm>
            <a:custGeom>
              <a:avLst/>
              <a:gdLst>
                <a:gd name="connsiteX0" fmla="*/ 329762 w 1139300"/>
                <a:gd name="connsiteY0" fmla="*/ 1214071 h 1271389"/>
                <a:gd name="connsiteX1" fmla="*/ 419581 w 1139300"/>
                <a:gd name="connsiteY1" fmla="*/ 1197499 h 1271389"/>
                <a:gd name="connsiteX2" fmla="*/ 476249 w 1139300"/>
                <a:gd name="connsiteY2" fmla="*/ 1087442 h 1271389"/>
                <a:gd name="connsiteX3" fmla="*/ 476249 w 1139300"/>
                <a:gd name="connsiteY3" fmla="*/ 757271 h 1271389"/>
                <a:gd name="connsiteX4" fmla="*/ 188235 w 1139300"/>
                <a:gd name="connsiteY4" fmla="*/ 230925 h 1271389"/>
                <a:gd name="connsiteX5" fmla="*/ 43308 w 1139300"/>
                <a:gd name="connsiteY5" fmla="*/ 67752 h 1271389"/>
                <a:gd name="connsiteX6" fmla="*/ -2593 w 1139300"/>
                <a:gd name="connsiteY6" fmla="*/ 54863 h 1271389"/>
                <a:gd name="connsiteX7" fmla="*/ -2593 w 1139300"/>
                <a:gd name="connsiteY7" fmla="*/ -237 h 1271389"/>
                <a:gd name="connsiteX8" fmla="*/ 479932 w 1139300"/>
                <a:gd name="connsiteY8" fmla="*/ -237 h 1271389"/>
                <a:gd name="connsiteX9" fmla="*/ 479932 w 1139300"/>
                <a:gd name="connsiteY9" fmla="*/ 54863 h 1271389"/>
                <a:gd name="connsiteX10" fmla="*/ 434032 w 1139300"/>
                <a:gd name="connsiteY10" fmla="*/ 65911 h 1271389"/>
                <a:gd name="connsiteX11" fmla="*/ 356961 w 1139300"/>
                <a:gd name="connsiteY11" fmla="*/ 131917 h 1271389"/>
                <a:gd name="connsiteX12" fmla="*/ 397338 w 1139300"/>
                <a:gd name="connsiteY12" fmla="*/ 231067 h 1271389"/>
                <a:gd name="connsiteX13" fmla="*/ 617776 w 1139300"/>
                <a:gd name="connsiteY13" fmla="*/ 653305 h 1271389"/>
                <a:gd name="connsiteX14" fmla="*/ 625143 w 1139300"/>
                <a:gd name="connsiteY14" fmla="*/ 653305 h 1271389"/>
                <a:gd name="connsiteX15" fmla="*/ 837647 w 1139300"/>
                <a:gd name="connsiteY15" fmla="*/ 231492 h 1271389"/>
                <a:gd name="connsiteX16" fmla="*/ 868813 w 1139300"/>
                <a:gd name="connsiteY16" fmla="*/ 132342 h 1271389"/>
                <a:gd name="connsiteX17" fmla="*/ 802793 w 1139300"/>
                <a:gd name="connsiteY17" fmla="*/ 68177 h 1271389"/>
                <a:gd name="connsiteX18" fmla="*/ 744002 w 1139300"/>
                <a:gd name="connsiteY18" fmla="*/ 55288 h 1271389"/>
                <a:gd name="connsiteX19" fmla="*/ 744002 w 1139300"/>
                <a:gd name="connsiteY19" fmla="*/ 189 h 1271389"/>
                <a:gd name="connsiteX20" fmla="*/ 1136708 w 1139300"/>
                <a:gd name="connsiteY20" fmla="*/ 189 h 1271389"/>
                <a:gd name="connsiteX21" fmla="*/ 1136708 w 1139300"/>
                <a:gd name="connsiteY21" fmla="*/ 55288 h 1271389"/>
                <a:gd name="connsiteX22" fmla="*/ 1096334 w 1139300"/>
                <a:gd name="connsiteY22" fmla="*/ 68177 h 1271389"/>
                <a:gd name="connsiteX23" fmla="*/ 931146 w 1139300"/>
                <a:gd name="connsiteY23" fmla="*/ 256987 h 1271389"/>
                <a:gd name="connsiteX24" fmla="*/ 676142 w 1139300"/>
                <a:gd name="connsiteY24" fmla="*/ 743107 h 1271389"/>
                <a:gd name="connsiteX25" fmla="*/ 676142 w 1139300"/>
                <a:gd name="connsiteY25" fmla="*/ 1087867 h 1271389"/>
                <a:gd name="connsiteX26" fmla="*/ 734937 w 1139300"/>
                <a:gd name="connsiteY26" fmla="*/ 1197924 h 1271389"/>
                <a:gd name="connsiteX27" fmla="*/ 824752 w 1139300"/>
                <a:gd name="connsiteY27" fmla="*/ 1214496 h 1271389"/>
                <a:gd name="connsiteX28" fmla="*/ 824752 w 1139300"/>
                <a:gd name="connsiteY28" fmla="*/ 1271153 h 1271389"/>
                <a:gd name="connsiteX29" fmla="*/ 328911 w 1139300"/>
                <a:gd name="connsiteY29" fmla="*/ 1271153 h 127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39300" h="1271389">
                  <a:moveTo>
                    <a:pt x="329762" y="1214071"/>
                  </a:moveTo>
                  <a:lnTo>
                    <a:pt x="419581" y="1197499"/>
                  </a:lnTo>
                  <a:cubicBezTo>
                    <a:pt x="463638" y="1188292"/>
                    <a:pt x="476249" y="1179227"/>
                    <a:pt x="476249" y="1087442"/>
                  </a:cubicBezTo>
                  <a:lnTo>
                    <a:pt x="476249" y="757271"/>
                  </a:lnTo>
                  <a:lnTo>
                    <a:pt x="188235" y="230925"/>
                  </a:lnTo>
                  <a:cubicBezTo>
                    <a:pt x="122218" y="113503"/>
                    <a:pt x="94590" y="82341"/>
                    <a:pt x="43308" y="67752"/>
                  </a:cubicBezTo>
                  <a:lnTo>
                    <a:pt x="-2593" y="54863"/>
                  </a:lnTo>
                  <a:lnTo>
                    <a:pt x="-2593" y="-237"/>
                  </a:lnTo>
                  <a:lnTo>
                    <a:pt x="479932" y="-237"/>
                  </a:lnTo>
                  <a:lnTo>
                    <a:pt x="479932" y="54863"/>
                  </a:lnTo>
                  <a:lnTo>
                    <a:pt x="434032" y="65911"/>
                  </a:lnTo>
                  <a:cubicBezTo>
                    <a:pt x="375379" y="78659"/>
                    <a:pt x="356961" y="98913"/>
                    <a:pt x="356961" y="131917"/>
                  </a:cubicBezTo>
                  <a:cubicBezTo>
                    <a:pt x="356961" y="155713"/>
                    <a:pt x="373539" y="185033"/>
                    <a:pt x="397338" y="231067"/>
                  </a:cubicBezTo>
                  <a:lnTo>
                    <a:pt x="617776" y="653305"/>
                  </a:lnTo>
                  <a:lnTo>
                    <a:pt x="625143" y="653305"/>
                  </a:lnTo>
                  <a:lnTo>
                    <a:pt x="837647" y="231492"/>
                  </a:lnTo>
                  <a:cubicBezTo>
                    <a:pt x="859602" y="185600"/>
                    <a:pt x="868813" y="156279"/>
                    <a:pt x="868813" y="132342"/>
                  </a:cubicBezTo>
                  <a:cubicBezTo>
                    <a:pt x="868813" y="97497"/>
                    <a:pt x="848694" y="79084"/>
                    <a:pt x="802793" y="68177"/>
                  </a:cubicBezTo>
                  <a:lnTo>
                    <a:pt x="744002" y="55288"/>
                  </a:lnTo>
                  <a:lnTo>
                    <a:pt x="744002" y="189"/>
                  </a:lnTo>
                  <a:lnTo>
                    <a:pt x="1136708" y="189"/>
                  </a:lnTo>
                  <a:lnTo>
                    <a:pt x="1136708" y="55288"/>
                  </a:lnTo>
                  <a:lnTo>
                    <a:pt x="1096334" y="68177"/>
                  </a:lnTo>
                  <a:cubicBezTo>
                    <a:pt x="1033856" y="88290"/>
                    <a:pt x="1002689" y="113928"/>
                    <a:pt x="931146" y="256987"/>
                  </a:cubicBezTo>
                  <a:lnTo>
                    <a:pt x="676142" y="743107"/>
                  </a:lnTo>
                  <a:lnTo>
                    <a:pt x="676142" y="1087867"/>
                  </a:lnTo>
                  <a:cubicBezTo>
                    <a:pt x="676142" y="1179652"/>
                    <a:pt x="683509" y="1188717"/>
                    <a:pt x="734937" y="1197924"/>
                  </a:cubicBezTo>
                  <a:lnTo>
                    <a:pt x="824752" y="1214496"/>
                  </a:lnTo>
                  <a:lnTo>
                    <a:pt x="824752" y="1271153"/>
                  </a:lnTo>
                  <a:lnTo>
                    <a:pt x="328911" y="1271153"/>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6" name="Freeform: Shape 15">
              <a:extLst>
                <a:ext uri="{FF2B5EF4-FFF2-40B4-BE49-F238E27FC236}">
                  <a16:creationId xmlns:a16="http://schemas.microsoft.com/office/drawing/2014/main" id="{536ADBA9-BD5E-4F5B-B3C6-6727491B57EA}"/>
                </a:ext>
              </a:extLst>
            </p:cNvPr>
            <p:cNvSpPr/>
            <p:nvPr/>
          </p:nvSpPr>
          <p:spPr>
            <a:xfrm>
              <a:off x="1721900" y="3006248"/>
              <a:ext cx="926375" cy="986828"/>
            </a:xfrm>
            <a:custGeom>
              <a:avLst/>
              <a:gdLst>
                <a:gd name="connsiteX0" fmla="*/ 722610 w 926375"/>
                <a:gd name="connsiteY0" fmla="*/ 508970 h 986828"/>
                <a:gd name="connsiteX1" fmla="*/ 454715 w 926375"/>
                <a:gd name="connsiteY1" fmla="*/ 76109 h 986828"/>
                <a:gd name="connsiteX2" fmla="*/ 199711 w 926375"/>
                <a:gd name="connsiteY2" fmla="*/ 468602 h 986828"/>
                <a:gd name="connsiteX3" fmla="*/ 468882 w 926375"/>
                <a:gd name="connsiteY3" fmla="*/ 907696 h 986828"/>
                <a:gd name="connsiteX4" fmla="*/ 722046 w 926375"/>
                <a:gd name="connsiteY4" fmla="*/ 509679 h 986828"/>
                <a:gd name="connsiteX5" fmla="*/ -2593 w 926375"/>
                <a:gd name="connsiteY5" fmla="*/ 495515 h 986828"/>
                <a:gd name="connsiteX6" fmla="*/ 461515 w 926375"/>
                <a:gd name="connsiteY6" fmla="*/ -237 h 986828"/>
                <a:gd name="connsiteX7" fmla="*/ 923782 w 926375"/>
                <a:gd name="connsiteY7" fmla="*/ 483900 h 986828"/>
                <a:gd name="connsiteX8" fmla="*/ 461515 w 926375"/>
                <a:gd name="connsiteY8" fmla="*/ 986591 h 986828"/>
                <a:gd name="connsiteX9" fmla="*/ -2593 w 926375"/>
                <a:gd name="connsiteY9" fmla="*/ 494948 h 98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375" h="986828">
                  <a:moveTo>
                    <a:pt x="722610" y="508970"/>
                  </a:moveTo>
                  <a:cubicBezTo>
                    <a:pt x="722610" y="197355"/>
                    <a:pt x="634492" y="76109"/>
                    <a:pt x="454715" y="76109"/>
                  </a:cubicBezTo>
                  <a:cubicBezTo>
                    <a:pt x="289672" y="76109"/>
                    <a:pt x="199711" y="193531"/>
                    <a:pt x="199711" y="468602"/>
                  </a:cubicBezTo>
                  <a:cubicBezTo>
                    <a:pt x="199711" y="780217"/>
                    <a:pt x="289672" y="907696"/>
                    <a:pt x="468882" y="907696"/>
                  </a:cubicBezTo>
                  <a:cubicBezTo>
                    <a:pt x="633925" y="907696"/>
                    <a:pt x="722046" y="784750"/>
                    <a:pt x="722046" y="509679"/>
                  </a:cubicBezTo>
                  <a:moveTo>
                    <a:pt x="-2593" y="495515"/>
                  </a:moveTo>
                  <a:cubicBezTo>
                    <a:pt x="-2593" y="174551"/>
                    <a:pt x="221245" y="-237"/>
                    <a:pt x="461515" y="-237"/>
                  </a:cubicBezTo>
                  <a:cubicBezTo>
                    <a:pt x="722046" y="-237"/>
                    <a:pt x="923782" y="159253"/>
                    <a:pt x="923782" y="483900"/>
                  </a:cubicBezTo>
                  <a:cubicBezTo>
                    <a:pt x="923782" y="805005"/>
                    <a:pt x="699945" y="986591"/>
                    <a:pt x="461515" y="986591"/>
                  </a:cubicBezTo>
                  <a:cubicBezTo>
                    <a:pt x="199144" y="986591"/>
                    <a:pt x="-2593" y="819594"/>
                    <a:pt x="-2593" y="494948"/>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7" name="Freeform: Shape 16">
              <a:extLst>
                <a:ext uri="{FF2B5EF4-FFF2-40B4-BE49-F238E27FC236}">
                  <a16:creationId xmlns:a16="http://schemas.microsoft.com/office/drawing/2014/main" id="{D5AA8B4A-9A21-4C86-ABC7-8AD2968130E6}"/>
                </a:ext>
              </a:extLst>
            </p:cNvPr>
            <p:cNvSpPr/>
            <p:nvPr/>
          </p:nvSpPr>
          <p:spPr>
            <a:xfrm>
              <a:off x="2689950" y="3009222"/>
              <a:ext cx="1025401" cy="981446"/>
            </a:xfrm>
            <a:custGeom>
              <a:avLst/>
              <a:gdLst>
                <a:gd name="connsiteX0" fmla="*/ 122077 w 1025401"/>
                <a:gd name="connsiteY0" fmla="*/ 740699 h 981446"/>
                <a:gd name="connsiteX1" fmla="*/ 122077 w 1025401"/>
                <a:gd name="connsiteY1" fmla="*/ 201463 h 981446"/>
                <a:gd name="connsiteX2" fmla="*/ 72634 w 1025401"/>
                <a:gd name="connsiteY2" fmla="*/ 113503 h 981446"/>
                <a:gd name="connsiteX3" fmla="*/ -2593 w 1025401"/>
                <a:gd name="connsiteY3" fmla="*/ 80500 h 981446"/>
                <a:gd name="connsiteX4" fmla="*/ -2593 w 1025401"/>
                <a:gd name="connsiteY4" fmla="*/ 30924 h 981446"/>
                <a:gd name="connsiteX5" fmla="*/ 278054 w 1025401"/>
                <a:gd name="connsiteY5" fmla="*/ -237 h 981446"/>
                <a:gd name="connsiteX6" fmla="*/ 305537 w 1025401"/>
                <a:gd name="connsiteY6" fmla="*/ 18035 h 981446"/>
                <a:gd name="connsiteX7" fmla="*/ 305537 w 1025401"/>
                <a:gd name="connsiteY7" fmla="*/ 697923 h 981446"/>
                <a:gd name="connsiteX8" fmla="*/ 463358 w 1025401"/>
                <a:gd name="connsiteY8" fmla="*/ 861238 h 981446"/>
                <a:gd name="connsiteX9" fmla="*/ 716519 w 1025401"/>
                <a:gd name="connsiteY9" fmla="*/ 793390 h 981446"/>
                <a:gd name="connsiteX10" fmla="*/ 716519 w 1025401"/>
                <a:gd name="connsiteY10" fmla="*/ 201463 h 981446"/>
                <a:gd name="connsiteX11" fmla="*/ 666935 w 1025401"/>
                <a:gd name="connsiteY11" fmla="*/ 113503 h 981446"/>
                <a:gd name="connsiteX12" fmla="*/ 593551 w 1025401"/>
                <a:gd name="connsiteY12" fmla="*/ 80500 h 981446"/>
                <a:gd name="connsiteX13" fmla="*/ 593551 w 1025401"/>
                <a:gd name="connsiteY13" fmla="*/ 30924 h 981446"/>
                <a:gd name="connsiteX14" fmla="*/ 874337 w 1025401"/>
                <a:gd name="connsiteY14" fmla="*/ -237 h 981446"/>
                <a:gd name="connsiteX15" fmla="*/ 899979 w 1025401"/>
                <a:gd name="connsiteY15" fmla="*/ 18035 h 981446"/>
                <a:gd name="connsiteX16" fmla="*/ 899979 w 1025401"/>
                <a:gd name="connsiteY16" fmla="*/ 748064 h 981446"/>
                <a:gd name="connsiteX17" fmla="*/ 954949 w 1025401"/>
                <a:gd name="connsiteY17" fmla="*/ 861379 h 981446"/>
                <a:gd name="connsiteX18" fmla="*/ 1022809 w 1025401"/>
                <a:gd name="connsiteY18" fmla="*/ 892541 h 981446"/>
                <a:gd name="connsiteX19" fmla="*/ 1022809 w 1025401"/>
                <a:gd name="connsiteY19" fmla="*/ 942116 h 981446"/>
                <a:gd name="connsiteX20" fmla="*/ 736635 w 1025401"/>
                <a:gd name="connsiteY20" fmla="*/ 980643 h 981446"/>
                <a:gd name="connsiteX21" fmla="*/ 716519 w 1025401"/>
                <a:gd name="connsiteY21" fmla="*/ 966478 h 981446"/>
                <a:gd name="connsiteX22" fmla="*/ 725726 w 1025401"/>
                <a:gd name="connsiteY22" fmla="*/ 856421 h 981446"/>
                <a:gd name="connsiteX23" fmla="*/ 718362 w 1025401"/>
                <a:gd name="connsiteY23" fmla="*/ 856421 h 981446"/>
                <a:gd name="connsiteX24" fmla="*/ 369855 w 1025401"/>
                <a:gd name="connsiteY24" fmla="*/ 981209 h 981446"/>
                <a:gd name="connsiteX25" fmla="*/ 122077 w 1025401"/>
                <a:gd name="connsiteY25" fmla="*/ 740416 h 98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25401" h="981446">
                  <a:moveTo>
                    <a:pt x="122077" y="740699"/>
                  </a:moveTo>
                  <a:lnTo>
                    <a:pt x="122077" y="201463"/>
                  </a:lnTo>
                  <a:cubicBezTo>
                    <a:pt x="122077" y="133616"/>
                    <a:pt x="114851" y="131775"/>
                    <a:pt x="72634" y="113503"/>
                  </a:cubicBezTo>
                  <a:lnTo>
                    <a:pt x="-2593" y="80500"/>
                  </a:lnTo>
                  <a:lnTo>
                    <a:pt x="-2593" y="30924"/>
                  </a:lnTo>
                  <a:lnTo>
                    <a:pt x="278054" y="-237"/>
                  </a:lnTo>
                  <a:lnTo>
                    <a:pt x="305537" y="18035"/>
                  </a:lnTo>
                  <a:lnTo>
                    <a:pt x="305537" y="697923"/>
                  </a:lnTo>
                  <a:cubicBezTo>
                    <a:pt x="305537" y="804297"/>
                    <a:pt x="353281" y="861238"/>
                    <a:pt x="463358" y="861238"/>
                  </a:cubicBezTo>
                  <a:cubicBezTo>
                    <a:pt x="553174" y="861238"/>
                    <a:pt x="648659" y="822711"/>
                    <a:pt x="716519" y="793390"/>
                  </a:cubicBezTo>
                  <a:lnTo>
                    <a:pt x="716519" y="201463"/>
                  </a:lnTo>
                  <a:cubicBezTo>
                    <a:pt x="716519" y="133616"/>
                    <a:pt x="710995" y="131775"/>
                    <a:pt x="666935" y="113503"/>
                  </a:cubicBezTo>
                  <a:lnTo>
                    <a:pt x="593551" y="80500"/>
                  </a:lnTo>
                  <a:lnTo>
                    <a:pt x="593551" y="30924"/>
                  </a:lnTo>
                  <a:lnTo>
                    <a:pt x="874337" y="-237"/>
                  </a:lnTo>
                  <a:lnTo>
                    <a:pt x="899979" y="18035"/>
                  </a:lnTo>
                  <a:lnTo>
                    <a:pt x="899979" y="748064"/>
                  </a:lnTo>
                  <a:cubicBezTo>
                    <a:pt x="899979" y="830643"/>
                    <a:pt x="911030" y="841549"/>
                    <a:pt x="954949" y="861379"/>
                  </a:cubicBezTo>
                  <a:lnTo>
                    <a:pt x="1022809" y="892541"/>
                  </a:lnTo>
                  <a:lnTo>
                    <a:pt x="1022809" y="942116"/>
                  </a:lnTo>
                  <a:lnTo>
                    <a:pt x="736635" y="980643"/>
                  </a:lnTo>
                  <a:lnTo>
                    <a:pt x="716519" y="966478"/>
                  </a:lnTo>
                  <a:lnTo>
                    <a:pt x="725726" y="856421"/>
                  </a:lnTo>
                  <a:lnTo>
                    <a:pt x="718362" y="856421"/>
                  </a:lnTo>
                  <a:cubicBezTo>
                    <a:pt x="621176" y="920586"/>
                    <a:pt x="498208" y="981209"/>
                    <a:pt x="369855" y="981209"/>
                  </a:cubicBezTo>
                  <a:cubicBezTo>
                    <a:pt x="215718" y="981209"/>
                    <a:pt x="122077" y="896223"/>
                    <a:pt x="122077" y="740416"/>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8" name="Freeform: Shape 17">
              <a:extLst>
                <a:ext uri="{FF2B5EF4-FFF2-40B4-BE49-F238E27FC236}">
                  <a16:creationId xmlns:a16="http://schemas.microsoft.com/office/drawing/2014/main" id="{946FCCF5-48EF-48E2-87BE-2AD683778623}"/>
                </a:ext>
              </a:extLst>
            </p:cNvPr>
            <p:cNvSpPr/>
            <p:nvPr/>
          </p:nvSpPr>
          <p:spPr>
            <a:xfrm>
              <a:off x="3797828" y="3005114"/>
              <a:ext cx="697435" cy="962890"/>
            </a:xfrm>
            <a:custGeom>
              <a:avLst/>
              <a:gdLst>
                <a:gd name="connsiteX0" fmla="*/ -1745 w 697435"/>
                <a:gd name="connsiteY0" fmla="*/ 908121 h 962890"/>
                <a:gd name="connsiteX1" fmla="*/ 73482 w 697435"/>
                <a:gd name="connsiteY1" fmla="*/ 887867 h 962890"/>
                <a:gd name="connsiteX2" fmla="*/ 122924 w 697435"/>
                <a:gd name="connsiteY2" fmla="*/ 792540 h 962890"/>
                <a:gd name="connsiteX3" fmla="*/ 122924 w 697435"/>
                <a:gd name="connsiteY3" fmla="*/ 223985 h 962890"/>
                <a:gd name="connsiteX4" fmla="*/ 67958 w 697435"/>
                <a:gd name="connsiteY4" fmla="*/ 124834 h 962890"/>
                <a:gd name="connsiteX5" fmla="*/ -1745 w 697435"/>
                <a:gd name="connsiteY5" fmla="*/ 89990 h 962890"/>
                <a:gd name="connsiteX6" fmla="*/ -1745 w 697435"/>
                <a:gd name="connsiteY6" fmla="*/ 42398 h 962890"/>
                <a:gd name="connsiteX7" fmla="*/ 288109 w 697435"/>
                <a:gd name="connsiteY7" fmla="*/ 3871 h 962890"/>
                <a:gd name="connsiteX8" fmla="*/ 306385 w 697435"/>
                <a:gd name="connsiteY8" fmla="*/ 18035 h 962890"/>
                <a:gd name="connsiteX9" fmla="*/ 297319 w 697435"/>
                <a:gd name="connsiteY9" fmla="*/ 124410 h 962890"/>
                <a:gd name="connsiteX10" fmla="*/ 304544 w 697435"/>
                <a:gd name="connsiteY10" fmla="*/ 124410 h 962890"/>
                <a:gd name="connsiteX11" fmla="*/ 573716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745" y="908121"/>
                  </a:moveTo>
                  <a:lnTo>
                    <a:pt x="73482" y="887867"/>
                  </a:lnTo>
                  <a:cubicBezTo>
                    <a:pt x="110175" y="878660"/>
                    <a:pt x="122924" y="864070"/>
                    <a:pt x="122924" y="792540"/>
                  </a:cubicBezTo>
                  <a:lnTo>
                    <a:pt x="122924" y="223985"/>
                  </a:lnTo>
                  <a:cubicBezTo>
                    <a:pt x="122924" y="150613"/>
                    <a:pt x="113859" y="146931"/>
                    <a:pt x="67958" y="124834"/>
                  </a:cubicBezTo>
                  <a:lnTo>
                    <a:pt x="-1745" y="89990"/>
                  </a:lnTo>
                  <a:lnTo>
                    <a:pt x="-1745" y="42398"/>
                  </a:lnTo>
                  <a:lnTo>
                    <a:pt x="288109" y="3871"/>
                  </a:lnTo>
                  <a:lnTo>
                    <a:pt x="306385" y="18035"/>
                  </a:lnTo>
                  <a:lnTo>
                    <a:pt x="297319" y="124410"/>
                  </a:lnTo>
                  <a:lnTo>
                    <a:pt x="304544" y="124410"/>
                  </a:lnTo>
                  <a:cubicBezTo>
                    <a:pt x="368863" y="60245"/>
                    <a:pt x="482482" y="-237"/>
                    <a:pt x="573716" y="-237"/>
                  </a:cubicBezTo>
                  <a:cubicBezTo>
                    <a:pt x="648943" y="-237"/>
                    <a:pt x="694843" y="40132"/>
                    <a:pt x="694843" y="109820"/>
                  </a:cubicBezTo>
                  <a:cubicBezTo>
                    <a:pt x="694843" y="179509"/>
                    <a:pt x="648943" y="212511"/>
                    <a:pt x="595675" y="212511"/>
                  </a:cubicBezTo>
                  <a:cubicBezTo>
                    <a:pt x="527815" y="212511"/>
                    <a:pt x="507696" y="194098"/>
                    <a:pt x="491121" y="153871"/>
                  </a:cubicBezTo>
                  <a:cubicBezTo>
                    <a:pt x="480213" y="128092"/>
                    <a:pt x="467322" y="122568"/>
                    <a:pt x="448621" y="122568"/>
                  </a:cubicBezTo>
                  <a:cubicBezTo>
                    <a:pt x="411927"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9" name="Freeform: Shape 18">
              <a:extLst>
                <a:ext uri="{FF2B5EF4-FFF2-40B4-BE49-F238E27FC236}">
                  <a16:creationId xmlns:a16="http://schemas.microsoft.com/office/drawing/2014/main" id="{E6C9BFD1-C9BB-438B-AD5A-1A227956C157}"/>
                </a:ext>
              </a:extLst>
            </p:cNvPr>
            <p:cNvSpPr/>
            <p:nvPr/>
          </p:nvSpPr>
          <p:spPr>
            <a:xfrm>
              <a:off x="4980338" y="2561771"/>
              <a:ext cx="982613" cy="1406800"/>
            </a:xfrm>
            <a:custGeom>
              <a:avLst/>
              <a:gdLst>
                <a:gd name="connsiteX0" fmla="*/ 310777 w 982613"/>
                <a:gd name="connsiteY0" fmla="*/ 472852 h 1406800"/>
                <a:gd name="connsiteX1" fmla="*/ 647808 w 982613"/>
                <a:gd name="connsiteY1" fmla="*/ 472852 h 1406800"/>
                <a:gd name="connsiteX2" fmla="*/ 846145 w 982613"/>
                <a:gd name="connsiteY2" fmla="*/ 447214 h 1406800"/>
                <a:gd name="connsiteX3" fmla="*/ 866260 w 982613"/>
                <a:gd name="connsiteY3" fmla="*/ 458121 h 1406800"/>
                <a:gd name="connsiteX4" fmla="*/ 857195 w 982613"/>
                <a:gd name="connsiteY4" fmla="*/ 626959 h 1406800"/>
                <a:gd name="connsiteX5" fmla="*/ 857195 w 982613"/>
                <a:gd name="connsiteY5" fmla="*/ 1236025 h 1406800"/>
                <a:gd name="connsiteX6" fmla="*/ 904794 w 982613"/>
                <a:gd name="connsiteY6" fmla="*/ 1331351 h 1406800"/>
                <a:gd name="connsiteX7" fmla="*/ 980021 w 982613"/>
                <a:gd name="connsiteY7" fmla="*/ 1351606 h 1406800"/>
                <a:gd name="connsiteX8" fmla="*/ 980021 w 982613"/>
                <a:gd name="connsiteY8" fmla="*/ 1406564 h 1406800"/>
                <a:gd name="connsiteX9" fmla="*/ 555014 w 982613"/>
                <a:gd name="connsiteY9" fmla="*/ 1406564 h 1406800"/>
                <a:gd name="connsiteX10" fmla="*/ 555014 w 982613"/>
                <a:gd name="connsiteY10" fmla="*/ 1351606 h 1406800"/>
                <a:gd name="connsiteX11" fmla="*/ 624718 w 982613"/>
                <a:gd name="connsiteY11" fmla="*/ 1331351 h 1406800"/>
                <a:gd name="connsiteX12" fmla="*/ 674302 w 982613"/>
                <a:gd name="connsiteY12" fmla="*/ 1236025 h 1406800"/>
                <a:gd name="connsiteX13" fmla="*/ 674302 w 982613"/>
                <a:gd name="connsiteY13" fmla="*/ 667328 h 1406800"/>
                <a:gd name="connsiteX14" fmla="*/ 600915 w 982613"/>
                <a:gd name="connsiteY14" fmla="*/ 570019 h 1406800"/>
                <a:gd name="connsiteX15" fmla="*/ 311061 w 982613"/>
                <a:gd name="connsiteY15" fmla="*/ 570019 h 1406800"/>
                <a:gd name="connsiteX16" fmla="*/ 311061 w 982613"/>
                <a:gd name="connsiteY16" fmla="*/ 1226677 h 1406800"/>
                <a:gd name="connsiteX17" fmla="*/ 358805 w 982613"/>
                <a:gd name="connsiteY17" fmla="*/ 1331210 h 1406800"/>
                <a:gd name="connsiteX18" fmla="*/ 434028 w 982613"/>
                <a:gd name="connsiteY18" fmla="*/ 1351465 h 1406800"/>
                <a:gd name="connsiteX19" fmla="*/ 434028 w 982613"/>
                <a:gd name="connsiteY19" fmla="*/ 1406422 h 1406800"/>
                <a:gd name="connsiteX20" fmla="*/ 2789 w 982613"/>
                <a:gd name="connsiteY20" fmla="*/ 1406422 h 1406800"/>
                <a:gd name="connsiteX21" fmla="*/ 2789 w 982613"/>
                <a:gd name="connsiteY21" fmla="*/ 1351465 h 1406800"/>
                <a:gd name="connsiteX22" fmla="*/ 78016 w 982613"/>
                <a:gd name="connsiteY22" fmla="*/ 1331210 h 1406800"/>
                <a:gd name="connsiteX23" fmla="*/ 127600 w 982613"/>
                <a:gd name="connsiteY23" fmla="*/ 1235884 h 1406800"/>
                <a:gd name="connsiteX24" fmla="*/ 127600 w 982613"/>
                <a:gd name="connsiteY24" fmla="*/ 570160 h 1406800"/>
                <a:gd name="connsiteX25" fmla="*/ -2593 w 982613"/>
                <a:gd name="connsiteY25" fmla="*/ 570160 h 1406800"/>
                <a:gd name="connsiteX26" fmla="*/ -2593 w 982613"/>
                <a:gd name="connsiteY26" fmla="*/ 515203 h 1406800"/>
                <a:gd name="connsiteX27" fmla="*/ 127600 w 982613"/>
                <a:gd name="connsiteY27" fmla="*/ 471152 h 1406800"/>
                <a:gd name="connsiteX28" fmla="*/ 127600 w 982613"/>
                <a:gd name="connsiteY28" fmla="*/ 397781 h 1406800"/>
                <a:gd name="connsiteX29" fmla="*/ 567908 w 982613"/>
                <a:gd name="connsiteY29" fmla="*/ -237 h 1406800"/>
                <a:gd name="connsiteX30" fmla="*/ 778852 w 982613"/>
                <a:gd name="connsiteY30" fmla="*/ 115344 h 1406800"/>
                <a:gd name="connsiteX31" fmla="*/ 679684 w 982613"/>
                <a:gd name="connsiteY31" fmla="*/ 216194 h 1406800"/>
                <a:gd name="connsiteX32" fmla="*/ 566348 w 982613"/>
                <a:gd name="connsiteY32" fmla="*/ 113503 h 1406800"/>
                <a:gd name="connsiteX33" fmla="*/ 514924 w 982613"/>
                <a:gd name="connsiteY33" fmla="*/ 65769 h 1406800"/>
                <a:gd name="connsiteX34" fmla="*/ 311344 w 982613"/>
                <a:gd name="connsiteY34" fmla="*/ 300613 h 140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613" h="1406800">
                  <a:moveTo>
                    <a:pt x="310777" y="472852"/>
                  </a:moveTo>
                  <a:lnTo>
                    <a:pt x="647808" y="472852"/>
                  </a:lnTo>
                  <a:lnTo>
                    <a:pt x="846145" y="447214"/>
                  </a:lnTo>
                  <a:lnTo>
                    <a:pt x="866260" y="458121"/>
                  </a:lnTo>
                  <a:cubicBezTo>
                    <a:pt x="860170" y="514197"/>
                    <a:pt x="857195" y="570557"/>
                    <a:pt x="857195" y="626959"/>
                  </a:cubicBezTo>
                  <a:lnTo>
                    <a:pt x="857195" y="1236025"/>
                  </a:lnTo>
                  <a:cubicBezTo>
                    <a:pt x="857195" y="1313079"/>
                    <a:pt x="868104" y="1322286"/>
                    <a:pt x="904794" y="1331351"/>
                  </a:cubicBezTo>
                  <a:lnTo>
                    <a:pt x="980021" y="1351606"/>
                  </a:lnTo>
                  <a:lnTo>
                    <a:pt x="980021" y="1406564"/>
                  </a:lnTo>
                  <a:lnTo>
                    <a:pt x="555014" y="1406564"/>
                  </a:lnTo>
                  <a:lnTo>
                    <a:pt x="555014" y="1351606"/>
                  </a:lnTo>
                  <a:lnTo>
                    <a:pt x="624718" y="1331351"/>
                  </a:lnTo>
                  <a:cubicBezTo>
                    <a:pt x="659568" y="1322286"/>
                    <a:pt x="674302" y="1307555"/>
                    <a:pt x="674302" y="1236025"/>
                  </a:cubicBezTo>
                  <a:lnTo>
                    <a:pt x="674302" y="667328"/>
                  </a:lnTo>
                  <a:cubicBezTo>
                    <a:pt x="674302" y="593956"/>
                    <a:pt x="648517" y="570019"/>
                    <a:pt x="600915" y="570019"/>
                  </a:cubicBezTo>
                  <a:lnTo>
                    <a:pt x="311061" y="570019"/>
                  </a:lnTo>
                  <a:lnTo>
                    <a:pt x="311061" y="1226677"/>
                  </a:lnTo>
                  <a:cubicBezTo>
                    <a:pt x="311061" y="1312938"/>
                    <a:pt x="318428" y="1320303"/>
                    <a:pt x="358805" y="1331210"/>
                  </a:cubicBezTo>
                  <a:lnTo>
                    <a:pt x="434028" y="1351465"/>
                  </a:lnTo>
                  <a:lnTo>
                    <a:pt x="434028" y="1406422"/>
                  </a:lnTo>
                  <a:lnTo>
                    <a:pt x="2789" y="1406422"/>
                  </a:lnTo>
                  <a:lnTo>
                    <a:pt x="2789" y="1351465"/>
                  </a:lnTo>
                  <a:lnTo>
                    <a:pt x="78016" y="1331210"/>
                  </a:lnTo>
                  <a:cubicBezTo>
                    <a:pt x="114709" y="1322144"/>
                    <a:pt x="127600" y="1307413"/>
                    <a:pt x="127600" y="1235884"/>
                  </a:cubicBezTo>
                  <a:lnTo>
                    <a:pt x="127600" y="570160"/>
                  </a:lnTo>
                  <a:lnTo>
                    <a:pt x="-2593" y="570160"/>
                  </a:lnTo>
                  <a:lnTo>
                    <a:pt x="-2593" y="515203"/>
                  </a:lnTo>
                  <a:lnTo>
                    <a:pt x="127600" y="471152"/>
                  </a:lnTo>
                  <a:lnTo>
                    <a:pt x="127600" y="397781"/>
                  </a:lnTo>
                  <a:cubicBezTo>
                    <a:pt x="127600" y="142823"/>
                    <a:pt x="305537" y="-237"/>
                    <a:pt x="567908" y="-237"/>
                  </a:cubicBezTo>
                  <a:cubicBezTo>
                    <a:pt x="714675" y="-237"/>
                    <a:pt x="778852" y="51180"/>
                    <a:pt x="778852" y="115344"/>
                  </a:cubicBezTo>
                  <a:cubicBezTo>
                    <a:pt x="778852" y="185032"/>
                    <a:pt x="738475" y="216194"/>
                    <a:pt x="679684" y="216194"/>
                  </a:cubicBezTo>
                  <a:cubicBezTo>
                    <a:pt x="608849" y="216194"/>
                    <a:pt x="574992" y="175826"/>
                    <a:pt x="566348" y="113503"/>
                  </a:cubicBezTo>
                  <a:cubicBezTo>
                    <a:pt x="562665" y="84182"/>
                    <a:pt x="549774" y="65769"/>
                    <a:pt x="514924" y="65769"/>
                  </a:cubicBezTo>
                  <a:cubicBezTo>
                    <a:pt x="406687" y="65769"/>
                    <a:pt x="311344" y="109820"/>
                    <a:pt x="311344" y="300613"/>
                  </a:cubicBez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0" name="Freeform: Shape 19">
              <a:extLst>
                <a:ext uri="{FF2B5EF4-FFF2-40B4-BE49-F238E27FC236}">
                  <a16:creationId xmlns:a16="http://schemas.microsoft.com/office/drawing/2014/main" id="{46279AA3-3300-4D7C-937A-A489B7CA46EA}"/>
                </a:ext>
              </a:extLst>
            </p:cNvPr>
            <p:cNvSpPr/>
            <p:nvPr/>
          </p:nvSpPr>
          <p:spPr>
            <a:xfrm>
              <a:off x="6051098" y="3005114"/>
              <a:ext cx="697435" cy="962890"/>
            </a:xfrm>
            <a:custGeom>
              <a:avLst/>
              <a:gdLst>
                <a:gd name="connsiteX0" fmla="*/ -1604 w 697435"/>
                <a:gd name="connsiteY0" fmla="*/ 908121 h 962890"/>
                <a:gd name="connsiteX1" fmla="*/ 73623 w 697435"/>
                <a:gd name="connsiteY1" fmla="*/ 887867 h 962890"/>
                <a:gd name="connsiteX2" fmla="*/ 123066 w 697435"/>
                <a:gd name="connsiteY2" fmla="*/ 792540 h 962890"/>
                <a:gd name="connsiteX3" fmla="*/ 123066 w 697435"/>
                <a:gd name="connsiteY3" fmla="*/ 223985 h 962890"/>
                <a:gd name="connsiteX4" fmla="*/ 68100 w 697435"/>
                <a:gd name="connsiteY4" fmla="*/ 124834 h 962890"/>
                <a:gd name="connsiteX5" fmla="*/ -1604 w 697435"/>
                <a:gd name="connsiteY5" fmla="*/ 89990 h 962890"/>
                <a:gd name="connsiteX6" fmla="*/ -1604 w 697435"/>
                <a:gd name="connsiteY6" fmla="*/ 42398 h 962890"/>
                <a:gd name="connsiteX7" fmla="*/ 288250 w 697435"/>
                <a:gd name="connsiteY7" fmla="*/ 3871 h 962890"/>
                <a:gd name="connsiteX8" fmla="*/ 306526 w 697435"/>
                <a:gd name="connsiteY8" fmla="*/ 18035 h 962890"/>
                <a:gd name="connsiteX9" fmla="*/ 297319 w 697435"/>
                <a:gd name="connsiteY9" fmla="*/ 124410 h 962890"/>
                <a:gd name="connsiteX10" fmla="*/ 304686 w 697435"/>
                <a:gd name="connsiteY10" fmla="*/ 124410 h 962890"/>
                <a:gd name="connsiteX11" fmla="*/ 573857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604" y="908121"/>
                  </a:moveTo>
                  <a:lnTo>
                    <a:pt x="73623" y="887867"/>
                  </a:lnTo>
                  <a:cubicBezTo>
                    <a:pt x="110317" y="878660"/>
                    <a:pt x="123066" y="864070"/>
                    <a:pt x="123066" y="792540"/>
                  </a:cubicBezTo>
                  <a:lnTo>
                    <a:pt x="123066" y="223985"/>
                  </a:lnTo>
                  <a:cubicBezTo>
                    <a:pt x="123066" y="150613"/>
                    <a:pt x="113859" y="146931"/>
                    <a:pt x="68100" y="124834"/>
                  </a:cubicBezTo>
                  <a:lnTo>
                    <a:pt x="-1604" y="89990"/>
                  </a:lnTo>
                  <a:lnTo>
                    <a:pt x="-1604" y="42398"/>
                  </a:lnTo>
                  <a:lnTo>
                    <a:pt x="288250" y="3871"/>
                  </a:lnTo>
                  <a:lnTo>
                    <a:pt x="306526" y="18035"/>
                  </a:lnTo>
                  <a:lnTo>
                    <a:pt x="297319" y="124410"/>
                  </a:lnTo>
                  <a:lnTo>
                    <a:pt x="304686" y="124410"/>
                  </a:lnTo>
                  <a:cubicBezTo>
                    <a:pt x="368863" y="60245"/>
                    <a:pt x="482623" y="-237"/>
                    <a:pt x="573857" y="-237"/>
                  </a:cubicBezTo>
                  <a:cubicBezTo>
                    <a:pt x="649084" y="-237"/>
                    <a:pt x="694843" y="40132"/>
                    <a:pt x="694843" y="109820"/>
                  </a:cubicBezTo>
                  <a:cubicBezTo>
                    <a:pt x="694843" y="179509"/>
                    <a:pt x="649084" y="212511"/>
                    <a:pt x="595675" y="212511"/>
                  </a:cubicBezTo>
                  <a:cubicBezTo>
                    <a:pt x="527815" y="212511"/>
                    <a:pt x="507696" y="194098"/>
                    <a:pt x="491121" y="153871"/>
                  </a:cubicBezTo>
                  <a:cubicBezTo>
                    <a:pt x="480071" y="128092"/>
                    <a:pt x="467322" y="122568"/>
                    <a:pt x="448621" y="122568"/>
                  </a:cubicBezTo>
                  <a:cubicBezTo>
                    <a:pt x="411931"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1" name="Freeform: Shape 20">
              <a:extLst>
                <a:ext uri="{FF2B5EF4-FFF2-40B4-BE49-F238E27FC236}">
                  <a16:creationId xmlns:a16="http://schemas.microsoft.com/office/drawing/2014/main" id="{B5E217A5-A8A8-44A5-ACCB-4BA33AF862DA}"/>
                </a:ext>
              </a:extLst>
            </p:cNvPr>
            <p:cNvSpPr/>
            <p:nvPr/>
          </p:nvSpPr>
          <p:spPr>
            <a:xfrm>
              <a:off x="6823717" y="3006956"/>
              <a:ext cx="1561052" cy="961615"/>
            </a:xfrm>
            <a:custGeom>
              <a:avLst/>
              <a:gdLst>
                <a:gd name="connsiteX0" fmla="*/ -2593 w 1561052"/>
                <a:gd name="connsiteY0" fmla="*/ 906280 h 961615"/>
                <a:gd name="connsiteX1" fmla="*/ 72492 w 1561052"/>
                <a:gd name="connsiteY1" fmla="*/ 886025 h 961615"/>
                <a:gd name="connsiteX2" fmla="*/ 122077 w 1561052"/>
                <a:gd name="connsiteY2" fmla="*/ 790699 h 961615"/>
                <a:gd name="connsiteX3" fmla="*/ 122077 w 1561052"/>
                <a:gd name="connsiteY3" fmla="*/ 222143 h 961615"/>
                <a:gd name="connsiteX4" fmla="*/ 66969 w 1561052"/>
                <a:gd name="connsiteY4" fmla="*/ 122993 h 961615"/>
                <a:gd name="connsiteX5" fmla="*/ -2593 w 1561052"/>
                <a:gd name="connsiteY5" fmla="*/ 88148 h 961615"/>
                <a:gd name="connsiteX6" fmla="*/ -2593 w 1561052"/>
                <a:gd name="connsiteY6" fmla="*/ 40557 h 961615"/>
                <a:gd name="connsiteX7" fmla="*/ 287123 w 1561052"/>
                <a:gd name="connsiteY7" fmla="*/ 2030 h 961615"/>
                <a:gd name="connsiteX8" fmla="*/ 305537 w 1561052"/>
                <a:gd name="connsiteY8" fmla="*/ 16194 h 961615"/>
                <a:gd name="connsiteX9" fmla="*/ 296330 w 1561052"/>
                <a:gd name="connsiteY9" fmla="*/ 115344 h 961615"/>
                <a:gd name="connsiteX10" fmla="*/ 303697 w 1561052"/>
                <a:gd name="connsiteY10" fmla="*/ 115344 h 961615"/>
                <a:gd name="connsiteX11" fmla="*/ 633928 w 1561052"/>
                <a:gd name="connsiteY11" fmla="*/ -237 h 961615"/>
                <a:gd name="connsiteX12" fmla="*/ 855922 w 1561052"/>
                <a:gd name="connsiteY12" fmla="*/ 118885 h 961615"/>
                <a:gd name="connsiteX13" fmla="*/ 863148 w 1561052"/>
                <a:gd name="connsiteY13" fmla="*/ 118885 h 961615"/>
                <a:gd name="connsiteX14" fmla="*/ 1211796 w 1561052"/>
                <a:gd name="connsiteY14" fmla="*/ -237 h 961615"/>
                <a:gd name="connsiteX15" fmla="*/ 1435489 w 1561052"/>
                <a:gd name="connsiteY15" fmla="*/ 245514 h 961615"/>
                <a:gd name="connsiteX16" fmla="*/ 1435489 w 1561052"/>
                <a:gd name="connsiteY16" fmla="*/ 790274 h 961615"/>
                <a:gd name="connsiteX17" fmla="*/ 1483233 w 1561052"/>
                <a:gd name="connsiteY17" fmla="*/ 885600 h 961615"/>
                <a:gd name="connsiteX18" fmla="*/ 1558460 w 1561052"/>
                <a:gd name="connsiteY18" fmla="*/ 905855 h 961615"/>
                <a:gd name="connsiteX19" fmla="*/ 1558460 w 1561052"/>
                <a:gd name="connsiteY19" fmla="*/ 960813 h 961615"/>
                <a:gd name="connsiteX20" fmla="*/ 1127359 w 1561052"/>
                <a:gd name="connsiteY20" fmla="*/ 960813 h 961615"/>
                <a:gd name="connsiteX21" fmla="*/ 1127359 w 1561052"/>
                <a:gd name="connsiteY21" fmla="*/ 905855 h 961615"/>
                <a:gd name="connsiteX22" fmla="*/ 1202586 w 1561052"/>
                <a:gd name="connsiteY22" fmla="*/ 885600 h 961615"/>
                <a:gd name="connsiteX23" fmla="*/ 1252170 w 1561052"/>
                <a:gd name="connsiteY23" fmla="*/ 790274 h 961615"/>
                <a:gd name="connsiteX24" fmla="*/ 1252170 w 1561052"/>
                <a:gd name="connsiteY24" fmla="*/ 297356 h 961615"/>
                <a:gd name="connsiteX25" fmla="*/ 1109086 w 1561052"/>
                <a:gd name="connsiteY25" fmla="*/ 121152 h 961615"/>
                <a:gd name="connsiteX26" fmla="*/ 870515 w 1561052"/>
                <a:gd name="connsiteY26" fmla="*/ 181775 h 961615"/>
                <a:gd name="connsiteX27" fmla="*/ 870515 w 1561052"/>
                <a:gd name="connsiteY27" fmla="*/ 790841 h 961615"/>
                <a:gd name="connsiteX28" fmla="*/ 918255 w 1561052"/>
                <a:gd name="connsiteY28" fmla="*/ 886166 h 961615"/>
                <a:gd name="connsiteX29" fmla="*/ 993482 w 1561052"/>
                <a:gd name="connsiteY29" fmla="*/ 906422 h 961615"/>
                <a:gd name="connsiteX30" fmla="*/ 993482 w 1561052"/>
                <a:gd name="connsiteY30" fmla="*/ 961379 h 961615"/>
                <a:gd name="connsiteX31" fmla="*/ 562385 w 1561052"/>
                <a:gd name="connsiteY31" fmla="*/ 961379 h 961615"/>
                <a:gd name="connsiteX32" fmla="*/ 562385 w 1561052"/>
                <a:gd name="connsiteY32" fmla="*/ 906422 h 961615"/>
                <a:gd name="connsiteX33" fmla="*/ 637612 w 1561052"/>
                <a:gd name="connsiteY33" fmla="*/ 886166 h 961615"/>
                <a:gd name="connsiteX34" fmla="*/ 687054 w 1561052"/>
                <a:gd name="connsiteY34" fmla="*/ 790841 h 961615"/>
                <a:gd name="connsiteX35" fmla="*/ 687054 w 1561052"/>
                <a:gd name="connsiteY35" fmla="*/ 297356 h 961615"/>
                <a:gd name="connsiteX36" fmla="*/ 543967 w 1561052"/>
                <a:gd name="connsiteY36" fmla="*/ 121152 h 961615"/>
                <a:gd name="connsiteX37" fmla="*/ 305537 w 1561052"/>
                <a:gd name="connsiteY37" fmla="*/ 177809 h 961615"/>
                <a:gd name="connsiteX38" fmla="*/ 305537 w 1561052"/>
                <a:gd name="connsiteY38" fmla="*/ 790416 h 961615"/>
                <a:gd name="connsiteX39" fmla="*/ 353281 w 1561052"/>
                <a:gd name="connsiteY39" fmla="*/ 885742 h 961615"/>
                <a:gd name="connsiteX40" fmla="*/ 428366 w 1561052"/>
                <a:gd name="connsiteY40" fmla="*/ 905997 h 961615"/>
                <a:gd name="connsiteX41" fmla="*/ 428366 w 1561052"/>
                <a:gd name="connsiteY41" fmla="*/ 960954 h 961615"/>
                <a:gd name="connsiteX42" fmla="*/ -2593 w 1561052"/>
                <a:gd name="connsiteY42" fmla="*/ 960954 h 96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052" h="961615">
                  <a:moveTo>
                    <a:pt x="-2593" y="906280"/>
                  </a:moveTo>
                  <a:lnTo>
                    <a:pt x="72492" y="886025"/>
                  </a:lnTo>
                  <a:cubicBezTo>
                    <a:pt x="109186" y="876818"/>
                    <a:pt x="122077" y="862229"/>
                    <a:pt x="122077" y="790699"/>
                  </a:cubicBezTo>
                  <a:lnTo>
                    <a:pt x="122077" y="222143"/>
                  </a:lnTo>
                  <a:cubicBezTo>
                    <a:pt x="122077" y="148772"/>
                    <a:pt x="112869" y="145089"/>
                    <a:pt x="66969" y="122993"/>
                  </a:cubicBezTo>
                  <a:lnTo>
                    <a:pt x="-2593" y="88148"/>
                  </a:lnTo>
                  <a:lnTo>
                    <a:pt x="-2593" y="40557"/>
                  </a:lnTo>
                  <a:lnTo>
                    <a:pt x="287123" y="2030"/>
                  </a:lnTo>
                  <a:lnTo>
                    <a:pt x="305537" y="16194"/>
                  </a:lnTo>
                  <a:lnTo>
                    <a:pt x="296330" y="115344"/>
                  </a:lnTo>
                  <a:lnTo>
                    <a:pt x="303697" y="115344"/>
                  </a:lnTo>
                  <a:cubicBezTo>
                    <a:pt x="395357" y="56562"/>
                    <a:pt x="520168" y="-237"/>
                    <a:pt x="633928" y="-237"/>
                  </a:cubicBezTo>
                  <a:cubicBezTo>
                    <a:pt x="767805" y="-237"/>
                    <a:pt x="822912" y="43814"/>
                    <a:pt x="855922" y="118885"/>
                  </a:cubicBezTo>
                  <a:lnTo>
                    <a:pt x="863148" y="118885"/>
                  </a:lnTo>
                  <a:cubicBezTo>
                    <a:pt x="964156" y="60245"/>
                    <a:pt x="1075651" y="-237"/>
                    <a:pt x="1211796" y="-237"/>
                  </a:cubicBezTo>
                  <a:cubicBezTo>
                    <a:pt x="1373156" y="-237"/>
                    <a:pt x="1435489" y="80500"/>
                    <a:pt x="1435489" y="245514"/>
                  </a:cubicBezTo>
                  <a:lnTo>
                    <a:pt x="1435489" y="790274"/>
                  </a:lnTo>
                  <a:cubicBezTo>
                    <a:pt x="1435489" y="861804"/>
                    <a:pt x="1449656" y="876393"/>
                    <a:pt x="1483233" y="885600"/>
                  </a:cubicBezTo>
                  <a:lnTo>
                    <a:pt x="1558460" y="905855"/>
                  </a:lnTo>
                  <a:lnTo>
                    <a:pt x="1558460" y="960813"/>
                  </a:lnTo>
                  <a:lnTo>
                    <a:pt x="1127359" y="960813"/>
                  </a:lnTo>
                  <a:lnTo>
                    <a:pt x="1127359" y="905855"/>
                  </a:lnTo>
                  <a:lnTo>
                    <a:pt x="1202586" y="885600"/>
                  </a:lnTo>
                  <a:cubicBezTo>
                    <a:pt x="1241119" y="876393"/>
                    <a:pt x="1252170" y="867328"/>
                    <a:pt x="1252170" y="790274"/>
                  </a:cubicBezTo>
                  <a:lnTo>
                    <a:pt x="1252170" y="297356"/>
                  </a:lnTo>
                  <a:cubicBezTo>
                    <a:pt x="1252170" y="174409"/>
                    <a:pt x="1220862" y="121152"/>
                    <a:pt x="1109086" y="121152"/>
                  </a:cubicBezTo>
                  <a:cubicBezTo>
                    <a:pt x="1019125" y="121152"/>
                    <a:pt x="925622" y="155996"/>
                    <a:pt x="870515" y="181775"/>
                  </a:cubicBezTo>
                  <a:lnTo>
                    <a:pt x="870515" y="790841"/>
                  </a:lnTo>
                  <a:cubicBezTo>
                    <a:pt x="870515" y="862370"/>
                    <a:pt x="884682" y="876960"/>
                    <a:pt x="918255" y="886166"/>
                  </a:cubicBezTo>
                  <a:lnTo>
                    <a:pt x="993482" y="906422"/>
                  </a:lnTo>
                  <a:lnTo>
                    <a:pt x="993482" y="961379"/>
                  </a:lnTo>
                  <a:lnTo>
                    <a:pt x="562385" y="961379"/>
                  </a:lnTo>
                  <a:lnTo>
                    <a:pt x="562385" y="906422"/>
                  </a:lnTo>
                  <a:lnTo>
                    <a:pt x="637612" y="886166"/>
                  </a:lnTo>
                  <a:cubicBezTo>
                    <a:pt x="676145" y="876960"/>
                    <a:pt x="687054" y="867895"/>
                    <a:pt x="687054" y="790841"/>
                  </a:cubicBezTo>
                  <a:lnTo>
                    <a:pt x="687054" y="297356"/>
                  </a:lnTo>
                  <a:cubicBezTo>
                    <a:pt x="687054" y="176251"/>
                    <a:pt x="655884" y="121152"/>
                    <a:pt x="543967" y="121152"/>
                  </a:cubicBezTo>
                  <a:cubicBezTo>
                    <a:pt x="454148" y="121152"/>
                    <a:pt x="358663" y="155996"/>
                    <a:pt x="305537" y="177809"/>
                  </a:cubicBezTo>
                  <a:lnTo>
                    <a:pt x="305537" y="790416"/>
                  </a:lnTo>
                  <a:cubicBezTo>
                    <a:pt x="305537" y="867470"/>
                    <a:pt x="316588" y="876535"/>
                    <a:pt x="353281" y="885742"/>
                  </a:cubicBezTo>
                  <a:lnTo>
                    <a:pt x="428366" y="905997"/>
                  </a:lnTo>
                  <a:lnTo>
                    <a:pt x="428366" y="960954"/>
                  </a:lnTo>
                  <a:lnTo>
                    <a:pt x="-2593" y="960954"/>
                  </a:lnTo>
                  <a:close/>
                </a:path>
              </a:pathLst>
            </a:custGeom>
            <a:solidFill>
              <a:schemeClr val="tx1"/>
            </a:solidFill>
            <a:ln w="14153" cap="flat">
              <a:noFill/>
              <a:prstDash val="solid"/>
              <a:miter/>
            </a:ln>
          </p:spPr>
          <p:txBody>
            <a:bodyPr rtlCol="0" anchor="ctr"/>
            <a:lstStyle/>
            <a:p>
              <a:endParaRPr lang="en-GB" dirty="0">
                <a:solidFill>
                  <a:schemeClr val="tx1">
                    <a:alpha val="47000"/>
                  </a:schemeClr>
                </a:solidFill>
              </a:endParaRPr>
            </a:p>
          </p:txBody>
        </p:sp>
        <p:sp>
          <p:nvSpPr>
            <p:cNvPr id="22" name="Freeform: Shape 21">
              <a:extLst>
                <a:ext uri="{FF2B5EF4-FFF2-40B4-BE49-F238E27FC236}">
                  <a16:creationId xmlns:a16="http://schemas.microsoft.com/office/drawing/2014/main" id="{71F2EC77-E8CE-465C-896A-E7D0576B4689}"/>
                </a:ext>
              </a:extLst>
            </p:cNvPr>
            <p:cNvSpPr/>
            <p:nvPr/>
          </p:nvSpPr>
          <p:spPr>
            <a:xfrm>
              <a:off x="8459953" y="3722418"/>
              <a:ext cx="266363" cy="266339"/>
            </a:xfrm>
            <a:custGeom>
              <a:avLst/>
              <a:gdLst>
                <a:gd name="connsiteX0" fmla="*/ -2527 w 230352"/>
                <a:gd name="connsiteY0" fmla="*/ 118884 h 230331"/>
                <a:gd name="connsiteX1" fmla="*/ 108681 w 230352"/>
                <a:gd name="connsiteY1" fmla="*/ -167 h 230331"/>
                <a:gd name="connsiteX2" fmla="*/ 227685 w 230352"/>
                <a:gd name="connsiteY2" fmla="*/ 110952 h 230331"/>
                <a:gd name="connsiteX3" fmla="*/ 116615 w 230352"/>
                <a:gd name="connsiteY3" fmla="*/ 230003 h 230331"/>
                <a:gd name="connsiteX4" fmla="*/ 111797 w 230352"/>
                <a:gd name="connsiteY4" fmla="*/ 230074 h 230331"/>
                <a:gd name="connsiteX5" fmla="*/ -2527 w 230352"/>
                <a:gd name="connsiteY5" fmla="*/ 120046 h 230331"/>
                <a:gd name="connsiteX6" fmla="*/ -2527 w 230352"/>
                <a:gd name="connsiteY6" fmla="*/ 118884 h 2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52" h="230331">
                  <a:moveTo>
                    <a:pt x="-2527" y="118884"/>
                  </a:moveTo>
                  <a:cubicBezTo>
                    <a:pt x="-4654" y="55329"/>
                    <a:pt x="45072" y="2029"/>
                    <a:pt x="108681" y="-167"/>
                  </a:cubicBezTo>
                  <a:cubicBezTo>
                    <a:pt x="172148" y="-2363"/>
                    <a:pt x="225558" y="47397"/>
                    <a:pt x="227685" y="110952"/>
                  </a:cubicBezTo>
                  <a:cubicBezTo>
                    <a:pt x="229950" y="174521"/>
                    <a:pt x="180083" y="227822"/>
                    <a:pt x="116615" y="230003"/>
                  </a:cubicBezTo>
                  <a:cubicBezTo>
                    <a:pt x="114917" y="230060"/>
                    <a:pt x="113357" y="230088"/>
                    <a:pt x="111797" y="230074"/>
                  </a:cubicBezTo>
                  <a:cubicBezTo>
                    <a:pt x="49890" y="231250"/>
                    <a:pt x="-1396" y="181986"/>
                    <a:pt x="-2527" y="120046"/>
                  </a:cubicBezTo>
                  <a:cubicBezTo>
                    <a:pt x="-2527" y="119649"/>
                    <a:pt x="-2527" y="119266"/>
                    <a:pt x="-2527" y="118884"/>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grpSp>
      <p:sp>
        <p:nvSpPr>
          <p:cNvPr id="23" name="TextBox 22">
            <a:extLst>
              <a:ext uri="{FF2B5EF4-FFF2-40B4-BE49-F238E27FC236}">
                <a16:creationId xmlns:a16="http://schemas.microsoft.com/office/drawing/2014/main" id="{B66A4CE8-02C5-492B-8875-F35E4A96973E}"/>
              </a:ext>
            </a:extLst>
          </p:cNvPr>
          <p:cNvSpPr txBox="1"/>
          <p:nvPr userDrawn="1"/>
        </p:nvSpPr>
        <p:spPr>
          <a:xfrm>
            <a:off x="719137" y="685241"/>
            <a:ext cx="9356847" cy="794765"/>
          </a:xfrm>
          <a:prstGeom prst="rect">
            <a:avLst/>
          </a:prstGeom>
          <a:noFill/>
        </p:spPr>
        <p:txBody>
          <a:bodyPr wrap="square">
            <a:spAutoFit/>
          </a:bodyPr>
          <a:lstStyle/>
          <a:p>
            <a:pPr>
              <a:spcBef>
                <a:spcPts val="1200"/>
              </a:spcBef>
            </a:pPr>
            <a:r>
              <a:rPr lang="en-GB" sz="2400" i="1" dirty="0">
                <a:latin typeface="+mj-lt"/>
              </a:rPr>
              <a:t>We'll work as one seamless international team across our business and yours. Giving you access to a whole world of expertise. </a:t>
            </a:r>
          </a:p>
        </p:txBody>
      </p:sp>
    </p:spTree>
    <p:extLst>
      <p:ext uri="{BB962C8B-B14F-4D97-AF65-F5344CB8AC3E}">
        <p14:creationId xmlns:p14="http://schemas.microsoft.com/office/powerpoint/2010/main" val="3992394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1500"/>
                                        <p:tgtEl>
                                          <p:spTgt spid="23"/>
                                        </p:tgtEl>
                                      </p:cBhvr>
                                    </p:animEffect>
                                  </p:childTnLst>
                                </p:cTn>
                              </p:par>
                            </p:childTnLst>
                          </p:cTn>
                        </p:par>
                        <p:par>
                          <p:cTn id="8" fill="hold">
                            <p:stCondLst>
                              <p:cond delay="1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125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s 2">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78C42CE-F3F9-40D1-BE5C-F5C6570708AD}"/>
              </a:ext>
            </a:extLst>
          </p:cNvPr>
          <p:cNvGrpSpPr/>
          <p:nvPr userDrawn="1"/>
        </p:nvGrpSpPr>
        <p:grpSpPr>
          <a:xfrm>
            <a:off x="3855100" y="2056861"/>
            <a:ext cx="8398510" cy="4801139"/>
            <a:chOff x="3794125" y="2056860"/>
            <a:chExt cx="8398510" cy="4801139"/>
          </a:xfrm>
        </p:grpSpPr>
        <p:sp>
          <p:nvSpPr>
            <p:cNvPr id="18" name="Freeform: Shape 17">
              <a:extLst>
                <a:ext uri="{FF2B5EF4-FFF2-40B4-BE49-F238E27FC236}">
                  <a16:creationId xmlns:a16="http://schemas.microsoft.com/office/drawing/2014/main" id="{8818C944-C96E-4346-8A1F-E2402D380083}"/>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chemeClr val="accent5"/>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7DA10CC-F106-4584-AEE9-7CB25C96D758}"/>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chemeClr val="tx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6" name="Rectangle">
            <a:extLst>
              <a:ext uri="{FF2B5EF4-FFF2-40B4-BE49-F238E27FC236}">
                <a16:creationId xmlns:a16="http://schemas.microsoft.com/office/drawing/2014/main" id="{E5FF33AD-31C0-4DA6-9424-1CBFD3123C45}"/>
              </a:ext>
            </a:extLst>
          </p:cNvPr>
          <p:cNvSpPr/>
          <p:nvPr userDrawn="1"/>
        </p:nvSpPr>
        <p:spPr>
          <a:xfrm>
            <a:off x="-374" y="1799990"/>
            <a:ext cx="6005888" cy="39766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16" name="Text Placeholder 1">
            <a:extLst>
              <a:ext uri="{FF2B5EF4-FFF2-40B4-BE49-F238E27FC236}">
                <a16:creationId xmlns:a16="http://schemas.microsoft.com/office/drawing/2014/main" id="{95D91B36-D041-4B27-916C-CC12250E85AE}"/>
              </a:ext>
            </a:extLst>
          </p:cNvPr>
          <p:cNvSpPr>
            <a:spLocks noGrp="1"/>
          </p:cNvSpPr>
          <p:nvPr>
            <p:ph type="body" sz="quarter" idx="12"/>
          </p:nvPr>
        </p:nvSpPr>
        <p:spPr>
          <a:xfrm>
            <a:off x="719139" y="2060197"/>
            <a:ext cx="4554536" cy="3455231"/>
          </a:xfrm>
        </p:spPr>
        <p:txBody>
          <a:bodyPr/>
          <a:lstStyle>
            <a:lvl1pPr>
              <a:tabLst>
                <a:tab pos="4572000" algn="r"/>
              </a:tabLs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349906860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s 3">
    <p:bg>
      <p:bgPr>
        <a:solidFill>
          <a:schemeClr val="accent1"/>
        </a:soli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6E084A6F-7A75-4748-B44C-74FFAF511EDA}"/>
              </a:ext>
            </a:extLst>
          </p:cNvPr>
          <p:cNvGrpSpPr/>
          <p:nvPr userDrawn="1"/>
        </p:nvGrpSpPr>
        <p:grpSpPr>
          <a:xfrm>
            <a:off x="0" y="844422"/>
            <a:ext cx="12193016" cy="5257927"/>
            <a:chOff x="0" y="844422"/>
            <a:chExt cx="12193016" cy="5257927"/>
          </a:xfrm>
        </p:grpSpPr>
        <p:sp>
          <p:nvSpPr>
            <p:cNvPr id="11" name="Freeform: Shape 10">
              <a:extLst>
                <a:ext uri="{FF2B5EF4-FFF2-40B4-BE49-F238E27FC236}">
                  <a16:creationId xmlns:a16="http://schemas.microsoft.com/office/drawing/2014/main" id="{A95B30E7-1427-4658-BA4F-8B7A9A18D4A7}"/>
                </a:ext>
              </a:extLst>
            </p:cNvPr>
            <p:cNvSpPr/>
            <p:nvPr/>
          </p:nvSpPr>
          <p:spPr>
            <a:xfrm>
              <a:off x="8381116" y="844422"/>
              <a:ext cx="3811900" cy="962438"/>
            </a:xfrm>
            <a:custGeom>
              <a:avLst/>
              <a:gdLst>
                <a:gd name="connsiteX0" fmla="*/ 7742 w 3811900"/>
                <a:gd name="connsiteY0" fmla="*/ 873887 h 962438"/>
                <a:gd name="connsiteX1" fmla="*/ 178596 w 3811900"/>
                <a:gd name="connsiteY1" fmla="*/ 954563 h 962438"/>
                <a:gd name="connsiteX2" fmla="*/ 178683 w 3811900"/>
                <a:gd name="connsiteY2" fmla="*/ 954532 h 962438"/>
                <a:gd name="connsiteX3" fmla="*/ 3811900 w 3811900"/>
                <a:gd name="connsiteY3" fmla="*/ 266700 h 962438"/>
                <a:gd name="connsiteX4" fmla="*/ 3811900 w 3811900"/>
                <a:gd name="connsiteY4" fmla="*/ 0 h 962438"/>
                <a:gd name="connsiteX5" fmla="*/ 88641 w 3811900"/>
                <a:gd name="connsiteY5" fmla="*/ 703707 h 962438"/>
                <a:gd name="connsiteX6" fmla="*/ 7730 w 3811900"/>
                <a:gd name="connsiteY6" fmla="*/ 873855 h 962438"/>
                <a:gd name="connsiteX7" fmla="*/ 7742 w 3811900"/>
                <a:gd name="connsiteY7" fmla="*/ 873887 h 96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1900" h="962438">
                  <a:moveTo>
                    <a:pt x="7742" y="873887"/>
                  </a:moveTo>
                  <a:cubicBezTo>
                    <a:pt x="32644" y="943345"/>
                    <a:pt x="109138" y="979466"/>
                    <a:pt x="178596" y="954563"/>
                  </a:cubicBezTo>
                  <a:cubicBezTo>
                    <a:pt x="178625" y="954553"/>
                    <a:pt x="178655" y="954543"/>
                    <a:pt x="178683" y="954532"/>
                  </a:cubicBezTo>
                  <a:cubicBezTo>
                    <a:pt x="1219449" y="581406"/>
                    <a:pt x="2435728" y="351536"/>
                    <a:pt x="3811900" y="266700"/>
                  </a:cubicBezTo>
                  <a:lnTo>
                    <a:pt x="3811900" y="0"/>
                  </a:lnTo>
                  <a:cubicBezTo>
                    <a:pt x="2403597" y="85598"/>
                    <a:pt x="1157600" y="320802"/>
                    <a:pt x="88641" y="703707"/>
                  </a:cubicBezTo>
                  <a:cubicBezTo>
                    <a:pt x="19313" y="728349"/>
                    <a:pt x="-16912" y="804527"/>
                    <a:pt x="7730" y="873855"/>
                  </a:cubicBezTo>
                  <a:cubicBezTo>
                    <a:pt x="7734" y="873866"/>
                    <a:pt x="7738" y="873876"/>
                    <a:pt x="7742" y="873887"/>
                  </a:cubicBezTo>
                  <a:close/>
                </a:path>
              </a:pathLst>
            </a:custGeom>
            <a:solidFill>
              <a:srgbClr val="FFFFFF"/>
            </a:solidFill>
            <a:ln w="12700"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C1265EEA-DFE0-4DC3-AE64-4FEBF9E0EC70}"/>
                </a:ext>
              </a:extLst>
            </p:cNvPr>
            <p:cNvSpPr/>
            <p:nvPr/>
          </p:nvSpPr>
          <p:spPr>
            <a:xfrm>
              <a:off x="6143713" y="1545414"/>
              <a:ext cx="2505521" cy="1500553"/>
            </a:xfrm>
            <a:custGeom>
              <a:avLst/>
              <a:gdLst>
                <a:gd name="connsiteX0" fmla="*/ 133261 w 2505521"/>
                <a:gd name="connsiteY0" fmla="*/ 1500554 h 1500553"/>
                <a:gd name="connsiteX1" fmla="*/ 0 w 2505521"/>
                <a:gd name="connsiteY1" fmla="*/ 1367115 h 1500553"/>
                <a:gd name="connsiteX2" fmla="*/ 48806 w 2505521"/>
                <a:gd name="connsiteY2" fmla="*/ 1264080 h 1500553"/>
                <a:gd name="connsiteX3" fmla="*/ 2323249 w 2505521"/>
                <a:gd name="connsiteY3" fmla="*/ 9320 h 1500553"/>
                <a:gd name="connsiteX4" fmla="*/ 2496202 w 2505521"/>
                <a:gd name="connsiteY4" fmla="*/ 84500 h 1500553"/>
                <a:gd name="connsiteX5" fmla="*/ 2421022 w 2505521"/>
                <a:gd name="connsiteY5" fmla="*/ 257452 h 1500553"/>
                <a:gd name="connsiteX6" fmla="*/ 2413928 w 2505521"/>
                <a:gd name="connsiteY6" fmla="*/ 260017 h 1500553"/>
                <a:gd name="connsiteX7" fmla="*/ 217716 w 2505521"/>
                <a:gd name="connsiteY7" fmla="*/ 1470455 h 1500553"/>
                <a:gd name="connsiteX8" fmla="*/ 133261 w 2505521"/>
                <a:gd name="connsiteY8" fmla="*/ 1500554 h 150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521" h="1500553">
                  <a:moveTo>
                    <a:pt x="133261" y="1500554"/>
                  </a:moveTo>
                  <a:cubicBezTo>
                    <a:pt x="59614" y="1500505"/>
                    <a:pt x="-49" y="1440762"/>
                    <a:pt x="0" y="1367115"/>
                  </a:cubicBezTo>
                  <a:cubicBezTo>
                    <a:pt x="27" y="1327196"/>
                    <a:pt x="17935" y="1289388"/>
                    <a:pt x="48806" y="1264080"/>
                  </a:cubicBezTo>
                  <a:cubicBezTo>
                    <a:pt x="677964" y="749730"/>
                    <a:pt x="1443140" y="327582"/>
                    <a:pt x="2323249" y="9320"/>
                  </a:cubicBezTo>
                  <a:cubicBezTo>
                    <a:pt x="2391769" y="-17679"/>
                    <a:pt x="2469203" y="15980"/>
                    <a:pt x="2496202" y="84500"/>
                  </a:cubicBezTo>
                  <a:cubicBezTo>
                    <a:pt x="2523201" y="153020"/>
                    <a:pt x="2489541" y="230453"/>
                    <a:pt x="2421022" y="257452"/>
                  </a:cubicBezTo>
                  <a:cubicBezTo>
                    <a:pt x="2418682" y="258374"/>
                    <a:pt x="2416317" y="259229"/>
                    <a:pt x="2413928" y="260017"/>
                  </a:cubicBezTo>
                  <a:cubicBezTo>
                    <a:pt x="1562266" y="568120"/>
                    <a:pt x="823253" y="975282"/>
                    <a:pt x="217716" y="1470455"/>
                  </a:cubicBezTo>
                  <a:cubicBezTo>
                    <a:pt x="193898" y="1489962"/>
                    <a:pt x="164049" y="1500601"/>
                    <a:pt x="133261" y="1500554"/>
                  </a:cubicBezTo>
                  <a:close/>
                </a:path>
              </a:pathLst>
            </a:custGeom>
            <a:solidFill>
              <a:schemeClr val="accent2"/>
            </a:solid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A2B590BA-1EDF-4937-BB2F-0CB0F6F6A74C}"/>
                </a:ext>
              </a:extLst>
            </p:cNvPr>
            <p:cNvSpPr/>
            <p:nvPr/>
          </p:nvSpPr>
          <p:spPr>
            <a:xfrm>
              <a:off x="0" y="2778450"/>
              <a:ext cx="6411400" cy="3323899"/>
            </a:xfrm>
            <a:custGeom>
              <a:avLst/>
              <a:gdLst>
                <a:gd name="connsiteX0" fmla="*/ 4562475 w 6411400"/>
                <a:gd name="connsiteY0" fmla="*/ 3200329 h 3323899"/>
                <a:gd name="connsiteX1" fmla="*/ 4834890 w 6411400"/>
                <a:gd name="connsiteY1" fmla="*/ 2230557 h 3323899"/>
                <a:gd name="connsiteX2" fmla="*/ 6361430 w 6411400"/>
                <a:gd name="connsiteY2" fmla="*/ 237419 h 3323899"/>
                <a:gd name="connsiteX3" fmla="*/ 6382110 w 6411400"/>
                <a:gd name="connsiteY3" fmla="*/ 49971 h 3323899"/>
                <a:gd name="connsiteX4" fmla="*/ 6194662 w 6411400"/>
                <a:gd name="connsiteY4" fmla="*/ 29291 h 3323899"/>
                <a:gd name="connsiteX5" fmla="*/ 6192520 w 6411400"/>
                <a:gd name="connsiteY5" fmla="*/ 31044 h 3323899"/>
                <a:gd name="connsiteX6" fmla="*/ 4584192 w 6411400"/>
                <a:gd name="connsiteY6" fmla="*/ 2139244 h 3323899"/>
                <a:gd name="connsiteX7" fmla="*/ 4312285 w 6411400"/>
                <a:gd name="connsiteY7" fmla="*/ 3057200 h 3323899"/>
                <a:gd name="connsiteX8" fmla="*/ 0 w 6411400"/>
                <a:gd name="connsiteY8" fmla="*/ 3057200 h 3323899"/>
                <a:gd name="connsiteX9" fmla="*/ 0 w 6411400"/>
                <a:gd name="connsiteY9" fmla="*/ 3323900 h 3323899"/>
                <a:gd name="connsiteX10" fmla="*/ 4429506 w 6411400"/>
                <a:gd name="connsiteY10" fmla="*/ 3323900 h 3323899"/>
                <a:gd name="connsiteX11" fmla="*/ 4562475 w 6411400"/>
                <a:gd name="connsiteY11" fmla="*/ 3200329 h 332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11400" h="3323899">
                  <a:moveTo>
                    <a:pt x="4562475" y="3200329"/>
                  </a:moveTo>
                  <a:cubicBezTo>
                    <a:pt x="4562475" y="3196265"/>
                    <a:pt x="4596765" y="2793929"/>
                    <a:pt x="4834890" y="2230557"/>
                  </a:cubicBezTo>
                  <a:cubicBezTo>
                    <a:pt x="5054346" y="1711254"/>
                    <a:pt x="5497322" y="944047"/>
                    <a:pt x="6361430" y="237419"/>
                  </a:cubicBezTo>
                  <a:cubicBezTo>
                    <a:pt x="6418903" y="191367"/>
                    <a:pt x="6428162" y="107444"/>
                    <a:pt x="6382110" y="49971"/>
                  </a:cubicBezTo>
                  <a:cubicBezTo>
                    <a:pt x="6336058" y="-7502"/>
                    <a:pt x="6252135" y="-16761"/>
                    <a:pt x="6194662" y="29291"/>
                  </a:cubicBezTo>
                  <a:cubicBezTo>
                    <a:pt x="6193942" y="29868"/>
                    <a:pt x="6193228" y="30452"/>
                    <a:pt x="6192520" y="31044"/>
                  </a:cubicBezTo>
                  <a:cubicBezTo>
                    <a:pt x="5281295" y="776026"/>
                    <a:pt x="4814951" y="1588445"/>
                    <a:pt x="4584192" y="2139244"/>
                  </a:cubicBezTo>
                  <a:cubicBezTo>
                    <a:pt x="4409186" y="2556439"/>
                    <a:pt x="4339209" y="2887655"/>
                    <a:pt x="4312285" y="3057200"/>
                  </a:cubicBezTo>
                  <a:lnTo>
                    <a:pt x="0" y="3057200"/>
                  </a:lnTo>
                  <a:lnTo>
                    <a:pt x="0" y="3323900"/>
                  </a:lnTo>
                  <a:lnTo>
                    <a:pt x="4429506" y="3323900"/>
                  </a:lnTo>
                  <a:cubicBezTo>
                    <a:pt x="4499302" y="3323766"/>
                    <a:pt x="4557234" y="3269928"/>
                    <a:pt x="4562475" y="3200329"/>
                  </a:cubicBezTo>
                  <a:close/>
                </a:path>
              </a:pathLst>
            </a:custGeom>
            <a:solidFill>
              <a:schemeClr val="tx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20" name="Rectangle">
            <a:extLst>
              <a:ext uri="{FF2B5EF4-FFF2-40B4-BE49-F238E27FC236}">
                <a16:creationId xmlns:a16="http://schemas.microsoft.com/office/drawing/2014/main" id="{EBB36A23-9562-4079-AE73-EDA22851B3F8}"/>
              </a:ext>
            </a:extLst>
          </p:cNvPr>
          <p:cNvSpPr/>
          <p:nvPr userDrawn="1"/>
        </p:nvSpPr>
        <p:spPr>
          <a:xfrm>
            <a:off x="-375" y="1799991"/>
            <a:ext cx="6005887" cy="37154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21" name="Text Placeholder 1">
            <a:extLst>
              <a:ext uri="{FF2B5EF4-FFF2-40B4-BE49-F238E27FC236}">
                <a16:creationId xmlns:a16="http://schemas.microsoft.com/office/drawing/2014/main" id="{D0BCB2A8-A2F1-424B-ACCE-1CDDC0263C06}"/>
              </a:ext>
            </a:extLst>
          </p:cNvPr>
          <p:cNvSpPr>
            <a:spLocks noGrp="1"/>
          </p:cNvSpPr>
          <p:nvPr>
            <p:ph type="body" sz="quarter" idx="12"/>
          </p:nvPr>
        </p:nvSpPr>
        <p:spPr>
          <a:xfrm>
            <a:off x="719139" y="2060197"/>
            <a:ext cx="4554536" cy="3199959"/>
          </a:xfrm>
        </p:spPr>
        <p:txBody>
          <a:bodyPr/>
          <a:lstStyle>
            <a:lvl1pPr>
              <a:tabLst>
                <a:tab pos="4572000" algn="r"/>
              </a:tabLs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7108826" cy="720000"/>
          </a:xfrm>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i="0">
                <a:solidFill>
                  <a:schemeClr val="bg1"/>
                </a:solidFill>
              </a:defRPr>
            </a:lvl5pPr>
            <a:lvl6pPr>
              <a:defRPr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83961439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accent6"/>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703F501-5AF0-4B2D-B2B2-F826C468E6DA}"/>
              </a:ext>
            </a:extLst>
          </p:cNvPr>
          <p:cNvSpPr/>
          <p:nvPr/>
        </p:nvSpPr>
        <p:spPr>
          <a:xfrm>
            <a:off x="0" y="0"/>
            <a:ext cx="12191625" cy="6857146"/>
          </a:xfrm>
          <a:custGeom>
            <a:avLst/>
            <a:gdLst>
              <a:gd name="connsiteX0" fmla="*/ 0 w 1920180"/>
              <a:gd name="connsiteY0" fmla="*/ 0 h 1080000"/>
              <a:gd name="connsiteX1" fmla="*/ 1920180 w 1920180"/>
              <a:gd name="connsiteY1" fmla="*/ 0 h 1080000"/>
              <a:gd name="connsiteX2" fmla="*/ 1920180 w 1920180"/>
              <a:gd name="connsiteY2" fmla="*/ 1080000 h 1080000"/>
              <a:gd name="connsiteX3" fmla="*/ 0 w 1920180"/>
              <a:gd name="connsiteY3" fmla="*/ 1080000 h 1080000"/>
            </a:gdLst>
            <a:ahLst/>
            <a:cxnLst>
              <a:cxn ang="0">
                <a:pos x="connsiteX0" y="connsiteY0"/>
              </a:cxn>
              <a:cxn ang="0">
                <a:pos x="connsiteX1" y="connsiteY1"/>
              </a:cxn>
              <a:cxn ang="0">
                <a:pos x="connsiteX2" y="connsiteY2"/>
              </a:cxn>
              <a:cxn ang="0">
                <a:pos x="connsiteX3" y="connsiteY3"/>
              </a:cxn>
            </a:cxnLst>
            <a:rect l="l" t="t" r="r" b="b"/>
            <a:pathLst>
              <a:path w="1920180" h="1080000">
                <a:moveTo>
                  <a:pt x="0" y="0"/>
                </a:moveTo>
                <a:lnTo>
                  <a:pt x="1920180" y="0"/>
                </a:lnTo>
                <a:lnTo>
                  <a:pt x="1920180" y="1080000"/>
                </a:lnTo>
                <a:lnTo>
                  <a:pt x="0" y="1080000"/>
                </a:lnTo>
                <a:close/>
              </a:path>
            </a:pathLst>
          </a:custGeom>
          <a:noFill/>
          <a:ln w="1994" cap="flat">
            <a:noFill/>
            <a:prstDash val="solid"/>
            <a:miter/>
          </a:ln>
        </p:spPr>
        <p:txBody>
          <a:bodyPr rtlCol="0" anchor="ctr"/>
          <a:lstStyle/>
          <a:p>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hasCustomPrompt="1"/>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GB" dirty="0"/>
              <a:t>Contents</a:t>
            </a:r>
          </a:p>
        </p:txBody>
      </p:sp>
      <p:grpSp>
        <p:nvGrpSpPr>
          <p:cNvPr id="15" name="Group 14">
            <a:extLst>
              <a:ext uri="{FF2B5EF4-FFF2-40B4-BE49-F238E27FC236}">
                <a16:creationId xmlns:a16="http://schemas.microsoft.com/office/drawing/2014/main" id="{59843ED0-6A19-4339-BF6B-1592DEE61674}"/>
              </a:ext>
            </a:extLst>
          </p:cNvPr>
          <p:cNvGrpSpPr/>
          <p:nvPr userDrawn="1"/>
        </p:nvGrpSpPr>
        <p:grpSpPr>
          <a:xfrm>
            <a:off x="3794125" y="2056860"/>
            <a:ext cx="8398510" cy="4801139"/>
            <a:chOff x="3794125" y="2056860"/>
            <a:chExt cx="8398510" cy="4801139"/>
          </a:xfrm>
        </p:grpSpPr>
        <p:sp>
          <p:nvSpPr>
            <p:cNvPr id="16" name="Freeform: Shape 15">
              <a:extLst>
                <a:ext uri="{FF2B5EF4-FFF2-40B4-BE49-F238E27FC236}">
                  <a16:creationId xmlns:a16="http://schemas.microsoft.com/office/drawing/2014/main" id="{DFEFA15E-E50A-4FB6-B766-516D84D7356B}"/>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chemeClr val="accent5"/>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BEF742D8-191B-4073-81D4-16A1900062D6}"/>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chemeClr val="tx2"/>
            </a:solidFill>
            <a:ln w="12700" cap="flat">
              <a:noFill/>
              <a:prstDash val="solid"/>
              <a:miter/>
            </a:ln>
          </p:spPr>
          <p:txBody>
            <a:bodyPr rtlCol="0" anchor="ctr"/>
            <a:lstStyle/>
            <a:p>
              <a:endParaRPr lang="en-GB"/>
            </a:p>
          </p:txBody>
        </p:sp>
      </p:grpSp>
      <p:sp>
        <p:nvSpPr>
          <p:cNvPr id="18" name="Rectangle">
            <a:extLst>
              <a:ext uri="{FF2B5EF4-FFF2-40B4-BE49-F238E27FC236}">
                <a16:creationId xmlns:a16="http://schemas.microsoft.com/office/drawing/2014/main" id="{21C6EBF0-A7A4-413E-A7FD-E4F028820495}"/>
              </a:ext>
            </a:extLst>
          </p:cNvPr>
          <p:cNvSpPr/>
          <p:nvPr userDrawn="1"/>
        </p:nvSpPr>
        <p:spPr>
          <a:xfrm>
            <a:off x="-374" y="1584000"/>
            <a:ext cx="7020000" cy="4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graphicFrame>
        <p:nvGraphicFramePr>
          <p:cNvPr id="17" name="TOCTable" hidden="1">
            <a:extLst>
              <a:ext uri="{FF2B5EF4-FFF2-40B4-BE49-F238E27FC236}">
                <a16:creationId xmlns:a16="http://schemas.microsoft.com/office/drawing/2014/main" id="{3433996D-9DBF-4897-BF4F-CD9B1AFE9DB8}"/>
              </a:ext>
            </a:extLst>
          </p:cNvPr>
          <p:cNvGraphicFramePr>
            <a:graphicFrameLocks/>
          </p:cNvGraphicFramePr>
          <p:nvPr userDrawn="1">
            <p:extLst>
              <p:ext uri="{D42A27DB-BD31-4B8C-83A1-F6EECF244321}">
                <p14:modId xmlns:p14="http://schemas.microsoft.com/office/powerpoint/2010/main" val="3892057374"/>
              </p:ext>
            </p:extLst>
          </p:nvPr>
        </p:nvGraphicFramePr>
        <p:xfrm>
          <a:off x="724372" y="1692275"/>
          <a:ext cx="6139008" cy="3775248"/>
        </p:xfrm>
        <a:graphic>
          <a:graphicData uri="http://schemas.openxmlformats.org/drawingml/2006/table">
            <a:tbl>
              <a:tblPr bandRow="1">
                <a:tableStyleId>{2D5ABB26-0587-4C30-8999-92F81FD0307C}</a:tableStyleId>
              </a:tblPr>
              <a:tblGrid>
                <a:gridCol w="706395">
                  <a:extLst>
                    <a:ext uri="{9D8B030D-6E8A-4147-A177-3AD203B41FA5}">
                      <a16:colId xmlns:a16="http://schemas.microsoft.com/office/drawing/2014/main" val="623472955"/>
                    </a:ext>
                  </a:extLst>
                </a:gridCol>
                <a:gridCol w="4892920">
                  <a:extLst>
                    <a:ext uri="{9D8B030D-6E8A-4147-A177-3AD203B41FA5}">
                      <a16:colId xmlns:a16="http://schemas.microsoft.com/office/drawing/2014/main" val="3016899469"/>
                    </a:ext>
                  </a:extLst>
                </a:gridCol>
                <a:gridCol w="539693">
                  <a:extLst>
                    <a:ext uri="{9D8B030D-6E8A-4147-A177-3AD203B41FA5}">
                      <a16:colId xmlns:a16="http://schemas.microsoft.com/office/drawing/2014/main" val="4199035927"/>
                    </a:ext>
                  </a:extLst>
                </a:gridCol>
              </a:tblGrid>
              <a:tr h="370840">
                <a:tc>
                  <a:txBody>
                    <a:bodyPr/>
                    <a:lstStyle/>
                    <a:p>
                      <a:pPr algn="l"/>
                      <a:r>
                        <a:rPr lang="en-GB" sz="2400" b="0" baseline="0" dirty="0">
                          <a:solidFill>
                            <a:schemeClr val="tx1"/>
                          </a:solidFill>
                          <a:latin typeface="+mj-lt"/>
                        </a:rPr>
                        <a:t>01</a:t>
                      </a:r>
                      <a:endParaRPr lang="en-GB" sz="2400" b="0" baseline="0" dirty="0">
                        <a:solidFill>
                          <a:schemeClr val="tx1"/>
                        </a:solidFill>
                        <a:latin typeface="+mj-lt"/>
                        <a:cs typeface="Arial" panose="020B0604020202020204" pitchFamily="34" charset="0"/>
                      </a:endParaRPr>
                    </a:p>
                  </a:txBody>
                  <a:tcPr marL="0" marR="181010"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irst item</a:t>
                      </a:r>
                    </a:p>
                  </a:txBody>
                  <a:tcPr marL="90505" marR="90505"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9912683"/>
                  </a:ext>
                </a:extLst>
              </a:tr>
              <a:tr h="370840">
                <a:tc>
                  <a:txBody>
                    <a:bodyPr/>
                    <a:lstStyle/>
                    <a:p>
                      <a:pPr algn="l"/>
                      <a:r>
                        <a:rPr lang="en-GB" sz="2400" b="0" baseline="0" dirty="0">
                          <a:solidFill>
                            <a:schemeClr val="tx1"/>
                          </a:solidFill>
                          <a:latin typeface="+mj-lt"/>
                        </a:rPr>
                        <a:t>02</a:t>
                      </a:r>
                      <a:endParaRPr lang="en-GB" sz="2400" b="0" baseline="0" dirty="0">
                        <a:solidFill>
                          <a:schemeClr val="tx1"/>
                        </a:solidFill>
                        <a:latin typeface="+mj-lt"/>
                        <a:cs typeface="Arial" panose="020B0604020202020204" pitchFamily="34" charset="0"/>
                      </a:endParaRP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econd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5655236"/>
                  </a:ext>
                </a:extLst>
              </a:tr>
              <a:tr h="370840">
                <a:tc>
                  <a:txBody>
                    <a:bodyPr/>
                    <a:lstStyle/>
                    <a:p>
                      <a:pPr algn="l"/>
                      <a:r>
                        <a:rPr lang="en-GB" sz="2400" b="0" baseline="0" dirty="0">
                          <a:solidFill>
                            <a:schemeClr val="tx1"/>
                          </a:solidFill>
                          <a:latin typeface="+mj-lt"/>
                          <a:cs typeface="Arial" panose="020B0604020202020204" pitchFamily="34" charset="0"/>
                        </a:rPr>
                        <a:t>03</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third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5243760"/>
                  </a:ext>
                </a:extLst>
              </a:tr>
              <a:tr h="370840">
                <a:tc>
                  <a:txBody>
                    <a:bodyPr/>
                    <a:lstStyle/>
                    <a:p>
                      <a:pPr algn="l"/>
                      <a:r>
                        <a:rPr lang="en-GB" sz="2400" b="0" baseline="0" dirty="0">
                          <a:solidFill>
                            <a:schemeClr val="tx1"/>
                          </a:solidFill>
                          <a:latin typeface="+mj-lt"/>
                          <a:cs typeface="Arial" panose="020B0604020202020204" pitchFamily="34" charset="0"/>
                        </a:rPr>
                        <a:t>04</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our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84242470"/>
                  </a:ext>
                </a:extLst>
              </a:tr>
              <a:tr h="370840">
                <a:tc>
                  <a:txBody>
                    <a:bodyPr/>
                    <a:lstStyle/>
                    <a:p>
                      <a:pPr algn="l"/>
                      <a:r>
                        <a:rPr lang="en-GB" sz="2400" b="0" baseline="0" dirty="0">
                          <a:solidFill>
                            <a:schemeClr val="tx1"/>
                          </a:solidFill>
                          <a:latin typeface="+mj-lt"/>
                          <a:cs typeface="Arial" panose="020B0604020202020204" pitchFamily="34" charset="0"/>
                        </a:rPr>
                        <a:t>05</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if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5255728"/>
                  </a:ext>
                </a:extLst>
              </a:tr>
              <a:tr h="370840">
                <a:tc>
                  <a:txBody>
                    <a:bodyPr/>
                    <a:lstStyle/>
                    <a:p>
                      <a:pPr algn="l"/>
                      <a:r>
                        <a:rPr lang="en-GB" sz="2400" b="0" baseline="0" dirty="0">
                          <a:solidFill>
                            <a:schemeClr val="tx1"/>
                          </a:solidFill>
                          <a:latin typeface="+mj-lt"/>
                          <a:cs typeface="Arial" panose="020B0604020202020204" pitchFamily="34" charset="0"/>
                        </a:rPr>
                        <a:t>06</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ix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50849912"/>
                  </a:ext>
                </a:extLst>
              </a:tr>
              <a:tr h="370840">
                <a:tc>
                  <a:txBody>
                    <a:bodyPr/>
                    <a:lstStyle/>
                    <a:p>
                      <a:pPr algn="l"/>
                      <a:r>
                        <a:rPr lang="en-GB" sz="2400" b="0" baseline="0" dirty="0">
                          <a:solidFill>
                            <a:schemeClr val="tx1"/>
                          </a:solidFill>
                          <a:latin typeface="+mj-lt"/>
                          <a:cs typeface="Arial" panose="020B0604020202020204" pitchFamily="34" charset="0"/>
                        </a:rPr>
                        <a:t>07</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even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1721349"/>
                  </a:ext>
                </a:extLst>
              </a:tr>
              <a:tr h="370840">
                <a:tc>
                  <a:txBody>
                    <a:bodyPr/>
                    <a:lstStyle/>
                    <a:p>
                      <a:pPr algn="l"/>
                      <a:r>
                        <a:rPr lang="en-GB" sz="2400" b="0" baseline="0" dirty="0">
                          <a:solidFill>
                            <a:schemeClr val="tx1"/>
                          </a:solidFill>
                          <a:latin typeface="+mj-lt"/>
                          <a:cs typeface="Arial" panose="020B0604020202020204" pitchFamily="34" charset="0"/>
                        </a:rPr>
                        <a:t>08</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eigh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232822"/>
                  </a:ext>
                </a:extLst>
              </a:tr>
              <a:tr h="370840">
                <a:tc>
                  <a:txBody>
                    <a:bodyPr/>
                    <a:lstStyle/>
                    <a:p>
                      <a:pPr algn="l"/>
                      <a:r>
                        <a:rPr lang="en-GB" sz="2400" b="0" baseline="0" dirty="0">
                          <a:solidFill>
                            <a:schemeClr val="tx1"/>
                          </a:solidFill>
                          <a:latin typeface="+mj-lt"/>
                          <a:cs typeface="Arial" panose="020B0604020202020204" pitchFamily="34" charset="0"/>
                        </a:rPr>
                        <a:t>09</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nin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5438890"/>
                  </a:ext>
                </a:extLst>
              </a:tr>
            </a:tbl>
          </a:graphicData>
        </a:graphic>
      </p:graphicFrame>
      <p:sp>
        <p:nvSpPr>
          <p:cNvPr id="11" name="Date Placeholder 1">
            <a:extLst>
              <a:ext uri="{FF2B5EF4-FFF2-40B4-BE49-F238E27FC236}">
                <a16:creationId xmlns:a16="http://schemas.microsoft.com/office/drawing/2014/main" id="{4F6F76B9-DAD1-484C-8E58-5BBD98067DA0}"/>
              </a:ext>
            </a:extLst>
          </p:cNvPr>
          <p:cNvSpPr>
            <a:spLocks noGrp="1"/>
          </p:cNvSpPr>
          <p:nvPr>
            <p:ph type="dt" sz="half" idx="10"/>
          </p:nvPr>
        </p:nvSpPr>
        <p:spPr>
          <a:xfrm>
            <a:off x="1630362" y="6393422"/>
            <a:ext cx="2224738" cy="144000"/>
          </a:xfrm>
        </p:spPr>
        <p:txBody>
          <a:bodyPr/>
          <a:lstStyle>
            <a:lvl1pPr algn="ctr">
              <a:defRPr/>
            </a:lvl1pPr>
          </a:lstStyle>
          <a:p>
            <a:r>
              <a:rPr lang="en-US"/>
              <a:t>dd Month 2021</a:t>
            </a:r>
            <a:endParaRPr lang="en-GB" dirty="0"/>
          </a:p>
        </p:txBody>
      </p:sp>
      <p:sp>
        <p:nvSpPr>
          <p:cNvPr id="12" name="Footer Placeholder 1">
            <a:extLst>
              <a:ext uri="{FF2B5EF4-FFF2-40B4-BE49-F238E27FC236}">
                <a16:creationId xmlns:a16="http://schemas.microsoft.com/office/drawing/2014/main" id="{833386ED-5215-4108-A918-8171A0BF7BBC}"/>
              </a:ext>
            </a:extLst>
          </p:cNvPr>
          <p:cNvSpPr>
            <a:spLocks noGrp="1"/>
          </p:cNvSpPr>
          <p:nvPr>
            <p:ph type="ftr" sz="quarter" idx="11"/>
          </p:nvPr>
        </p:nvSpPr>
        <p:spPr>
          <a:xfrm>
            <a:off x="7096125" y="6393422"/>
            <a:ext cx="4058158" cy="144000"/>
          </a:xfrm>
        </p:spPr>
        <p:txBody>
          <a:bodyPr/>
          <a:lstStyle/>
          <a:p>
            <a:r>
              <a:rPr lang="en-GB"/>
              <a:t>Update Footer to add the Document title</a:t>
            </a:r>
            <a:endParaRPr lang="en-GB" dirty="0"/>
          </a:p>
        </p:txBody>
      </p:sp>
    </p:spTree>
    <p:extLst>
      <p:ext uri="{BB962C8B-B14F-4D97-AF65-F5344CB8AC3E}">
        <p14:creationId xmlns:p14="http://schemas.microsoft.com/office/powerpoint/2010/main" val="295561542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78C42CE-F3F9-40D1-BE5C-F5C6570708AD}"/>
              </a:ext>
            </a:extLst>
          </p:cNvPr>
          <p:cNvGrpSpPr/>
          <p:nvPr userDrawn="1"/>
        </p:nvGrpSpPr>
        <p:grpSpPr>
          <a:xfrm>
            <a:off x="3794125" y="2056860"/>
            <a:ext cx="8398510" cy="4801139"/>
            <a:chOff x="3794125" y="2056860"/>
            <a:chExt cx="8398510" cy="4801139"/>
          </a:xfrm>
        </p:grpSpPr>
        <p:sp>
          <p:nvSpPr>
            <p:cNvPr id="18" name="Freeform: Shape 17">
              <a:extLst>
                <a:ext uri="{FF2B5EF4-FFF2-40B4-BE49-F238E27FC236}">
                  <a16:creationId xmlns:a16="http://schemas.microsoft.com/office/drawing/2014/main" id="{8818C944-C96E-4346-8A1F-E2402D380083}"/>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chemeClr val="accent5"/>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7DA10CC-F106-4584-AEE9-7CB25C96D758}"/>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chemeClr val="tx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6" name="Rectangle">
            <a:extLst>
              <a:ext uri="{FF2B5EF4-FFF2-40B4-BE49-F238E27FC236}">
                <a16:creationId xmlns:a16="http://schemas.microsoft.com/office/drawing/2014/main" id="{E5FF33AD-31C0-4DA6-9424-1CBFD3123C45}"/>
              </a:ext>
            </a:extLst>
          </p:cNvPr>
          <p:cNvSpPr/>
          <p:nvPr userDrawn="1"/>
        </p:nvSpPr>
        <p:spPr>
          <a:xfrm>
            <a:off x="-374" y="1584000"/>
            <a:ext cx="9360000" cy="4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hasCustomPrompt="1"/>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dirty="0"/>
              <a:t>Agenda 1</a:t>
            </a:r>
            <a:endParaRPr lang="en-GB" dirty="0"/>
          </a:p>
        </p:txBody>
      </p:sp>
      <p:graphicFrame>
        <p:nvGraphicFramePr>
          <p:cNvPr id="10" name="NewSlide_TimeTable" hidden="1">
            <a:extLst>
              <a:ext uri="{FF2B5EF4-FFF2-40B4-BE49-F238E27FC236}">
                <a16:creationId xmlns:a16="http://schemas.microsoft.com/office/drawing/2014/main" id="{949403AE-1064-4981-A893-BF19F302959C}"/>
              </a:ext>
            </a:extLst>
          </p:cNvPr>
          <p:cNvGraphicFramePr>
            <a:graphicFrameLocks noGrp="1"/>
          </p:cNvGraphicFramePr>
          <p:nvPr userDrawn="1">
            <p:extLst>
              <p:ext uri="{D42A27DB-BD31-4B8C-83A1-F6EECF244321}">
                <p14:modId xmlns:p14="http://schemas.microsoft.com/office/powerpoint/2010/main" val="2869790275"/>
              </p:ext>
            </p:extLst>
          </p:nvPr>
        </p:nvGraphicFramePr>
        <p:xfrm>
          <a:off x="209549" y="1806860"/>
          <a:ext cx="8757030" cy="2225040"/>
        </p:xfrm>
        <a:graphic>
          <a:graphicData uri="http://schemas.openxmlformats.org/drawingml/2006/table">
            <a:tbl>
              <a:tblPr>
                <a:tableStyleId>{2D5ABB26-0587-4C30-8999-92F81FD0307C}</a:tableStyleId>
              </a:tblPr>
              <a:tblGrid>
                <a:gridCol w="1414535">
                  <a:extLst>
                    <a:ext uri="{9D8B030D-6E8A-4147-A177-3AD203B41FA5}">
                      <a16:colId xmlns:a16="http://schemas.microsoft.com/office/drawing/2014/main" val="1617866694"/>
                    </a:ext>
                  </a:extLst>
                </a:gridCol>
                <a:gridCol w="5227092">
                  <a:extLst>
                    <a:ext uri="{9D8B030D-6E8A-4147-A177-3AD203B41FA5}">
                      <a16:colId xmlns:a16="http://schemas.microsoft.com/office/drawing/2014/main" val="3951319875"/>
                    </a:ext>
                  </a:extLst>
                </a:gridCol>
                <a:gridCol w="2115403">
                  <a:extLst>
                    <a:ext uri="{9D8B030D-6E8A-4147-A177-3AD203B41FA5}">
                      <a16:colId xmlns:a16="http://schemas.microsoft.com/office/drawing/2014/main" val="2268267403"/>
                    </a:ext>
                  </a:extLst>
                </a:gridCol>
              </a:tblGrid>
              <a:tr h="370840">
                <a:tc>
                  <a:txBody>
                    <a:bodyPr/>
                    <a:lstStyle/>
                    <a:p>
                      <a:r>
                        <a:rPr lang="en-GB" b="1" dirty="0"/>
                        <a:t>Time</a:t>
                      </a:r>
                    </a:p>
                  </a:txBody>
                  <a:tcPr/>
                </a:tc>
                <a:tc>
                  <a:txBody>
                    <a:bodyPr/>
                    <a:lstStyle/>
                    <a:p>
                      <a:r>
                        <a:rPr lang="en-GB" b="1" dirty="0"/>
                        <a:t>Session</a:t>
                      </a:r>
                    </a:p>
                  </a:txBody>
                  <a:tcPr/>
                </a:tc>
                <a:tc>
                  <a:txBody>
                    <a:bodyPr/>
                    <a:lstStyle/>
                    <a:p>
                      <a:r>
                        <a:rPr lang="en-GB" b="1" dirty="0"/>
                        <a:t>Speaker</a:t>
                      </a:r>
                    </a:p>
                  </a:txBody>
                  <a:tcPr/>
                </a:tc>
                <a:extLst>
                  <a:ext uri="{0D108BD9-81ED-4DB2-BD59-A6C34878D82A}">
                    <a16:rowId xmlns:a16="http://schemas.microsoft.com/office/drawing/2014/main" val="4117633094"/>
                  </a:ext>
                </a:extLst>
              </a:tr>
              <a:tr h="370840">
                <a:tc>
                  <a:txBody>
                    <a:bodyPr/>
                    <a:lstStyle/>
                    <a:p>
                      <a:r>
                        <a:rPr lang="en-GB" dirty="0"/>
                        <a:t>12.00-12.30</a:t>
                      </a:r>
                    </a:p>
                  </a:txBody>
                  <a:tcPr/>
                </a:tc>
                <a:tc>
                  <a:txBody>
                    <a:bodyPr/>
                    <a:lstStyle/>
                    <a:p>
                      <a:r>
                        <a:rPr lang="en-GB" dirty="0"/>
                        <a:t>[Session Description]</a:t>
                      </a:r>
                    </a:p>
                  </a:txBody>
                  <a:tcPr/>
                </a:tc>
                <a:tc>
                  <a:txBody>
                    <a:bodyPr/>
                    <a:lstStyle/>
                    <a:p>
                      <a:r>
                        <a:rPr lang="en-GB" dirty="0"/>
                        <a:t>[Name 1]</a:t>
                      </a:r>
                    </a:p>
                  </a:txBody>
                  <a:tcPr/>
                </a:tc>
                <a:extLst>
                  <a:ext uri="{0D108BD9-81ED-4DB2-BD59-A6C34878D82A}">
                    <a16:rowId xmlns:a16="http://schemas.microsoft.com/office/drawing/2014/main" val="3822474379"/>
                  </a:ext>
                </a:extLst>
              </a:tr>
              <a:tr h="370840">
                <a:tc>
                  <a:txBody>
                    <a:bodyPr/>
                    <a:lstStyle/>
                    <a:p>
                      <a:r>
                        <a:rPr lang="en-GB" dirty="0"/>
                        <a:t>[Time]</a:t>
                      </a:r>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r>
                        <a:rPr lang="en-GB" dirty="0"/>
                        <a:t>[Session Description]</a:t>
                      </a:r>
                    </a:p>
                  </a:txBody>
                  <a:tcPr/>
                </a:tc>
                <a:tc>
                  <a:txBody>
                    <a:bodyPr/>
                    <a:lstStyle/>
                    <a:p>
                      <a:r>
                        <a:rPr lang="en-GB" dirty="0"/>
                        <a:t>[Name 1]</a:t>
                      </a:r>
                    </a:p>
                  </a:txBody>
                  <a:tcPr/>
                </a:tc>
                <a:extLst>
                  <a:ext uri="{0D108BD9-81ED-4DB2-BD59-A6C34878D82A}">
                    <a16:rowId xmlns:a16="http://schemas.microsoft.com/office/drawing/2014/main" val="616345027"/>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3545059334"/>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2834895056"/>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1831207383"/>
                  </a:ext>
                </a:extLst>
              </a:tr>
            </a:tbl>
          </a:graphicData>
        </a:graphic>
      </p:graphicFrame>
    </p:spTree>
    <p:extLst>
      <p:ext uri="{BB962C8B-B14F-4D97-AF65-F5344CB8AC3E}">
        <p14:creationId xmlns:p14="http://schemas.microsoft.com/office/powerpoint/2010/main" val="19743139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our Content  (No subhead)">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1627188"/>
            <a:ext cx="2551111" cy="4508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1627189"/>
            <a:ext cx="2551111" cy="4508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1627189"/>
            <a:ext cx="2552699" cy="4508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1627189"/>
            <a:ext cx="2552700" cy="4508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4283931222"/>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accent1"/>
        </a:soli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6E084A6F-7A75-4748-B44C-74FFAF511EDA}"/>
              </a:ext>
            </a:extLst>
          </p:cNvPr>
          <p:cNvGrpSpPr/>
          <p:nvPr userDrawn="1"/>
        </p:nvGrpSpPr>
        <p:grpSpPr>
          <a:xfrm>
            <a:off x="0" y="844422"/>
            <a:ext cx="12193016" cy="5257927"/>
            <a:chOff x="0" y="844422"/>
            <a:chExt cx="12193016" cy="5257927"/>
          </a:xfrm>
        </p:grpSpPr>
        <p:sp>
          <p:nvSpPr>
            <p:cNvPr id="11" name="Freeform: Shape 10">
              <a:extLst>
                <a:ext uri="{FF2B5EF4-FFF2-40B4-BE49-F238E27FC236}">
                  <a16:creationId xmlns:a16="http://schemas.microsoft.com/office/drawing/2014/main" id="{A95B30E7-1427-4658-BA4F-8B7A9A18D4A7}"/>
                </a:ext>
              </a:extLst>
            </p:cNvPr>
            <p:cNvSpPr/>
            <p:nvPr/>
          </p:nvSpPr>
          <p:spPr>
            <a:xfrm>
              <a:off x="8381116" y="844422"/>
              <a:ext cx="3811900" cy="962438"/>
            </a:xfrm>
            <a:custGeom>
              <a:avLst/>
              <a:gdLst>
                <a:gd name="connsiteX0" fmla="*/ 7742 w 3811900"/>
                <a:gd name="connsiteY0" fmla="*/ 873887 h 962438"/>
                <a:gd name="connsiteX1" fmla="*/ 178596 w 3811900"/>
                <a:gd name="connsiteY1" fmla="*/ 954563 h 962438"/>
                <a:gd name="connsiteX2" fmla="*/ 178683 w 3811900"/>
                <a:gd name="connsiteY2" fmla="*/ 954532 h 962438"/>
                <a:gd name="connsiteX3" fmla="*/ 3811900 w 3811900"/>
                <a:gd name="connsiteY3" fmla="*/ 266700 h 962438"/>
                <a:gd name="connsiteX4" fmla="*/ 3811900 w 3811900"/>
                <a:gd name="connsiteY4" fmla="*/ 0 h 962438"/>
                <a:gd name="connsiteX5" fmla="*/ 88641 w 3811900"/>
                <a:gd name="connsiteY5" fmla="*/ 703707 h 962438"/>
                <a:gd name="connsiteX6" fmla="*/ 7730 w 3811900"/>
                <a:gd name="connsiteY6" fmla="*/ 873855 h 962438"/>
                <a:gd name="connsiteX7" fmla="*/ 7742 w 3811900"/>
                <a:gd name="connsiteY7" fmla="*/ 873887 h 96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1900" h="962438">
                  <a:moveTo>
                    <a:pt x="7742" y="873887"/>
                  </a:moveTo>
                  <a:cubicBezTo>
                    <a:pt x="32644" y="943345"/>
                    <a:pt x="109138" y="979466"/>
                    <a:pt x="178596" y="954563"/>
                  </a:cubicBezTo>
                  <a:cubicBezTo>
                    <a:pt x="178625" y="954553"/>
                    <a:pt x="178655" y="954543"/>
                    <a:pt x="178683" y="954532"/>
                  </a:cubicBezTo>
                  <a:cubicBezTo>
                    <a:pt x="1219449" y="581406"/>
                    <a:pt x="2435728" y="351536"/>
                    <a:pt x="3811900" y="266700"/>
                  </a:cubicBezTo>
                  <a:lnTo>
                    <a:pt x="3811900" y="0"/>
                  </a:lnTo>
                  <a:cubicBezTo>
                    <a:pt x="2403597" y="85598"/>
                    <a:pt x="1157600" y="320802"/>
                    <a:pt x="88641" y="703707"/>
                  </a:cubicBezTo>
                  <a:cubicBezTo>
                    <a:pt x="19313" y="728349"/>
                    <a:pt x="-16912" y="804527"/>
                    <a:pt x="7730" y="873855"/>
                  </a:cubicBezTo>
                  <a:cubicBezTo>
                    <a:pt x="7734" y="873866"/>
                    <a:pt x="7738" y="873876"/>
                    <a:pt x="7742" y="873887"/>
                  </a:cubicBezTo>
                  <a:close/>
                </a:path>
              </a:pathLst>
            </a:custGeom>
            <a:solidFill>
              <a:srgbClr val="FFFFFF"/>
            </a:solidFill>
            <a:ln w="12700"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C1265EEA-DFE0-4DC3-AE64-4FEBF9E0EC70}"/>
                </a:ext>
              </a:extLst>
            </p:cNvPr>
            <p:cNvSpPr/>
            <p:nvPr/>
          </p:nvSpPr>
          <p:spPr>
            <a:xfrm>
              <a:off x="6143713" y="1545414"/>
              <a:ext cx="2505521" cy="1500553"/>
            </a:xfrm>
            <a:custGeom>
              <a:avLst/>
              <a:gdLst>
                <a:gd name="connsiteX0" fmla="*/ 133261 w 2505521"/>
                <a:gd name="connsiteY0" fmla="*/ 1500554 h 1500553"/>
                <a:gd name="connsiteX1" fmla="*/ 0 w 2505521"/>
                <a:gd name="connsiteY1" fmla="*/ 1367115 h 1500553"/>
                <a:gd name="connsiteX2" fmla="*/ 48806 w 2505521"/>
                <a:gd name="connsiteY2" fmla="*/ 1264080 h 1500553"/>
                <a:gd name="connsiteX3" fmla="*/ 2323249 w 2505521"/>
                <a:gd name="connsiteY3" fmla="*/ 9320 h 1500553"/>
                <a:gd name="connsiteX4" fmla="*/ 2496202 w 2505521"/>
                <a:gd name="connsiteY4" fmla="*/ 84500 h 1500553"/>
                <a:gd name="connsiteX5" fmla="*/ 2421022 w 2505521"/>
                <a:gd name="connsiteY5" fmla="*/ 257452 h 1500553"/>
                <a:gd name="connsiteX6" fmla="*/ 2413928 w 2505521"/>
                <a:gd name="connsiteY6" fmla="*/ 260017 h 1500553"/>
                <a:gd name="connsiteX7" fmla="*/ 217716 w 2505521"/>
                <a:gd name="connsiteY7" fmla="*/ 1470455 h 1500553"/>
                <a:gd name="connsiteX8" fmla="*/ 133261 w 2505521"/>
                <a:gd name="connsiteY8" fmla="*/ 1500554 h 150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521" h="1500553">
                  <a:moveTo>
                    <a:pt x="133261" y="1500554"/>
                  </a:moveTo>
                  <a:cubicBezTo>
                    <a:pt x="59614" y="1500505"/>
                    <a:pt x="-49" y="1440762"/>
                    <a:pt x="0" y="1367115"/>
                  </a:cubicBezTo>
                  <a:cubicBezTo>
                    <a:pt x="27" y="1327196"/>
                    <a:pt x="17935" y="1289388"/>
                    <a:pt x="48806" y="1264080"/>
                  </a:cubicBezTo>
                  <a:cubicBezTo>
                    <a:pt x="677964" y="749730"/>
                    <a:pt x="1443140" y="327582"/>
                    <a:pt x="2323249" y="9320"/>
                  </a:cubicBezTo>
                  <a:cubicBezTo>
                    <a:pt x="2391769" y="-17679"/>
                    <a:pt x="2469203" y="15980"/>
                    <a:pt x="2496202" y="84500"/>
                  </a:cubicBezTo>
                  <a:cubicBezTo>
                    <a:pt x="2523201" y="153020"/>
                    <a:pt x="2489541" y="230453"/>
                    <a:pt x="2421022" y="257452"/>
                  </a:cubicBezTo>
                  <a:cubicBezTo>
                    <a:pt x="2418682" y="258374"/>
                    <a:pt x="2416317" y="259229"/>
                    <a:pt x="2413928" y="260017"/>
                  </a:cubicBezTo>
                  <a:cubicBezTo>
                    <a:pt x="1562266" y="568120"/>
                    <a:pt x="823253" y="975282"/>
                    <a:pt x="217716" y="1470455"/>
                  </a:cubicBezTo>
                  <a:cubicBezTo>
                    <a:pt x="193898" y="1489962"/>
                    <a:pt x="164049" y="1500601"/>
                    <a:pt x="133261" y="1500554"/>
                  </a:cubicBezTo>
                  <a:close/>
                </a:path>
              </a:pathLst>
            </a:custGeom>
            <a:solidFill>
              <a:schemeClr val="accent2"/>
            </a:solid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A2B590BA-1EDF-4937-BB2F-0CB0F6F6A74C}"/>
                </a:ext>
              </a:extLst>
            </p:cNvPr>
            <p:cNvSpPr/>
            <p:nvPr/>
          </p:nvSpPr>
          <p:spPr>
            <a:xfrm>
              <a:off x="0" y="2778450"/>
              <a:ext cx="6411400" cy="3323899"/>
            </a:xfrm>
            <a:custGeom>
              <a:avLst/>
              <a:gdLst>
                <a:gd name="connsiteX0" fmla="*/ 4562475 w 6411400"/>
                <a:gd name="connsiteY0" fmla="*/ 3200329 h 3323899"/>
                <a:gd name="connsiteX1" fmla="*/ 4834890 w 6411400"/>
                <a:gd name="connsiteY1" fmla="*/ 2230557 h 3323899"/>
                <a:gd name="connsiteX2" fmla="*/ 6361430 w 6411400"/>
                <a:gd name="connsiteY2" fmla="*/ 237419 h 3323899"/>
                <a:gd name="connsiteX3" fmla="*/ 6382110 w 6411400"/>
                <a:gd name="connsiteY3" fmla="*/ 49971 h 3323899"/>
                <a:gd name="connsiteX4" fmla="*/ 6194662 w 6411400"/>
                <a:gd name="connsiteY4" fmla="*/ 29291 h 3323899"/>
                <a:gd name="connsiteX5" fmla="*/ 6192520 w 6411400"/>
                <a:gd name="connsiteY5" fmla="*/ 31044 h 3323899"/>
                <a:gd name="connsiteX6" fmla="*/ 4584192 w 6411400"/>
                <a:gd name="connsiteY6" fmla="*/ 2139244 h 3323899"/>
                <a:gd name="connsiteX7" fmla="*/ 4312285 w 6411400"/>
                <a:gd name="connsiteY7" fmla="*/ 3057200 h 3323899"/>
                <a:gd name="connsiteX8" fmla="*/ 0 w 6411400"/>
                <a:gd name="connsiteY8" fmla="*/ 3057200 h 3323899"/>
                <a:gd name="connsiteX9" fmla="*/ 0 w 6411400"/>
                <a:gd name="connsiteY9" fmla="*/ 3323900 h 3323899"/>
                <a:gd name="connsiteX10" fmla="*/ 4429506 w 6411400"/>
                <a:gd name="connsiteY10" fmla="*/ 3323900 h 3323899"/>
                <a:gd name="connsiteX11" fmla="*/ 4562475 w 6411400"/>
                <a:gd name="connsiteY11" fmla="*/ 3200329 h 332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11400" h="3323899">
                  <a:moveTo>
                    <a:pt x="4562475" y="3200329"/>
                  </a:moveTo>
                  <a:cubicBezTo>
                    <a:pt x="4562475" y="3196265"/>
                    <a:pt x="4596765" y="2793929"/>
                    <a:pt x="4834890" y="2230557"/>
                  </a:cubicBezTo>
                  <a:cubicBezTo>
                    <a:pt x="5054346" y="1711254"/>
                    <a:pt x="5497322" y="944047"/>
                    <a:pt x="6361430" y="237419"/>
                  </a:cubicBezTo>
                  <a:cubicBezTo>
                    <a:pt x="6418903" y="191367"/>
                    <a:pt x="6428162" y="107444"/>
                    <a:pt x="6382110" y="49971"/>
                  </a:cubicBezTo>
                  <a:cubicBezTo>
                    <a:pt x="6336058" y="-7502"/>
                    <a:pt x="6252135" y="-16761"/>
                    <a:pt x="6194662" y="29291"/>
                  </a:cubicBezTo>
                  <a:cubicBezTo>
                    <a:pt x="6193942" y="29868"/>
                    <a:pt x="6193228" y="30452"/>
                    <a:pt x="6192520" y="31044"/>
                  </a:cubicBezTo>
                  <a:cubicBezTo>
                    <a:pt x="5281295" y="776026"/>
                    <a:pt x="4814951" y="1588445"/>
                    <a:pt x="4584192" y="2139244"/>
                  </a:cubicBezTo>
                  <a:cubicBezTo>
                    <a:pt x="4409186" y="2556439"/>
                    <a:pt x="4339209" y="2887655"/>
                    <a:pt x="4312285" y="3057200"/>
                  </a:cubicBezTo>
                  <a:lnTo>
                    <a:pt x="0" y="3057200"/>
                  </a:lnTo>
                  <a:lnTo>
                    <a:pt x="0" y="3323900"/>
                  </a:lnTo>
                  <a:lnTo>
                    <a:pt x="4429506" y="3323900"/>
                  </a:lnTo>
                  <a:cubicBezTo>
                    <a:pt x="4499302" y="3323766"/>
                    <a:pt x="4557234" y="3269928"/>
                    <a:pt x="4562475" y="3200329"/>
                  </a:cubicBezTo>
                  <a:close/>
                </a:path>
              </a:pathLst>
            </a:custGeom>
            <a:solidFill>
              <a:schemeClr val="tx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lvl1pPr algn="ctr">
              <a:defRPr/>
            </a:lvl1p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20" name="Rectangle">
            <a:extLst>
              <a:ext uri="{FF2B5EF4-FFF2-40B4-BE49-F238E27FC236}">
                <a16:creationId xmlns:a16="http://schemas.microsoft.com/office/drawing/2014/main" id="{EBB36A23-9562-4079-AE73-EDA22851B3F8}"/>
              </a:ext>
            </a:extLst>
          </p:cNvPr>
          <p:cNvSpPr/>
          <p:nvPr userDrawn="1"/>
        </p:nvSpPr>
        <p:spPr>
          <a:xfrm>
            <a:off x="-376" y="1584000"/>
            <a:ext cx="9360000" cy="4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hasCustomPrompt="1"/>
          </p:nvPr>
        </p:nvSpPr>
        <p:spPr>
          <a:xfrm>
            <a:off x="719137" y="666745"/>
            <a:ext cx="7108826" cy="720000"/>
          </a:xfrm>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i="0">
                <a:solidFill>
                  <a:schemeClr val="bg1"/>
                </a:solidFill>
              </a:defRPr>
            </a:lvl5pPr>
            <a:lvl6pPr>
              <a:defRPr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dirty="0"/>
              <a:t>Agenda 2</a:t>
            </a:r>
            <a:endParaRPr lang="en-GB" dirty="0"/>
          </a:p>
        </p:txBody>
      </p:sp>
      <p:graphicFrame>
        <p:nvGraphicFramePr>
          <p:cNvPr id="2" name="NewSlide_TimeTable" hidden="1">
            <a:extLst>
              <a:ext uri="{FF2B5EF4-FFF2-40B4-BE49-F238E27FC236}">
                <a16:creationId xmlns:a16="http://schemas.microsoft.com/office/drawing/2014/main" id="{381B1669-406C-4682-BB7D-2A73E646FD83}"/>
              </a:ext>
            </a:extLst>
          </p:cNvPr>
          <p:cNvGraphicFramePr>
            <a:graphicFrameLocks noGrp="1"/>
          </p:cNvGraphicFramePr>
          <p:nvPr userDrawn="1">
            <p:extLst>
              <p:ext uri="{D42A27DB-BD31-4B8C-83A1-F6EECF244321}">
                <p14:modId xmlns:p14="http://schemas.microsoft.com/office/powerpoint/2010/main" val="3186519092"/>
              </p:ext>
            </p:extLst>
          </p:nvPr>
        </p:nvGraphicFramePr>
        <p:xfrm>
          <a:off x="209549" y="1806860"/>
          <a:ext cx="8757030" cy="2225040"/>
        </p:xfrm>
        <a:graphic>
          <a:graphicData uri="http://schemas.openxmlformats.org/drawingml/2006/table">
            <a:tbl>
              <a:tblPr>
                <a:tableStyleId>{2D5ABB26-0587-4C30-8999-92F81FD0307C}</a:tableStyleId>
              </a:tblPr>
              <a:tblGrid>
                <a:gridCol w="1414535">
                  <a:extLst>
                    <a:ext uri="{9D8B030D-6E8A-4147-A177-3AD203B41FA5}">
                      <a16:colId xmlns:a16="http://schemas.microsoft.com/office/drawing/2014/main" val="1617866694"/>
                    </a:ext>
                  </a:extLst>
                </a:gridCol>
                <a:gridCol w="5227092">
                  <a:extLst>
                    <a:ext uri="{9D8B030D-6E8A-4147-A177-3AD203B41FA5}">
                      <a16:colId xmlns:a16="http://schemas.microsoft.com/office/drawing/2014/main" val="3951319875"/>
                    </a:ext>
                  </a:extLst>
                </a:gridCol>
                <a:gridCol w="2115403">
                  <a:extLst>
                    <a:ext uri="{9D8B030D-6E8A-4147-A177-3AD203B41FA5}">
                      <a16:colId xmlns:a16="http://schemas.microsoft.com/office/drawing/2014/main" val="2268267403"/>
                    </a:ext>
                  </a:extLst>
                </a:gridCol>
              </a:tblGrid>
              <a:tr h="370840">
                <a:tc>
                  <a:txBody>
                    <a:bodyPr/>
                    <a:lstStyle/>
                    <a:p>
                      <a:r>
                        <a:rPr lang="en-GB" b="1" dirty="0"/>
                        <a:t>Time</a:t>
                      </a:r>
                    </a:p>
                  </a:txBody>
                  <a:tcPr/>
                </a:tc>
                <a:tc>
                  <a:txBody>
                    <a:bodyPr/>
                    <a:lstStyle/>
                    <a:p>
                      <a:r>
                        <a:rPr lang="en-GB" b="1" dirty="0"/>
                        <a:t>Session</a:t>
                      </a:r>
                    </a:p>
                  </a:txBody>
                  <a:tcPr/>
                </a:tc>
                <a:tc>
                  <a:txBody>
                    <a:bodyPr/>
                    <a:lstStyle/>
                    <a:p>
                      <a:r>
                        <a:rPr lang="en-GB" b="1" dirty="0"/>
                        <a:t>Speaker</a:t>
                      </a:r>
                    </a:p>
                  </a:txBody>
                  <a:tcPr/>
                </a:tc>
                <a:extLst>
                  <a:ext uri="{0D108BD9-81ED-4DB2-BD59-A6C34878D82A}">
                    <a16:rowId xmlns:a16="http://schemas.microsoft.com/office/drawing/2014/main" val="4117633094"/>
                  </a:ext>
                </a:extLst>
              </a:tr>
              <a:tr h="370840">
                <a:tc>
                  <a:txBody>
                    <a:bodyPr/>
                    <a:lstStyle/>
                    <a:p>
                      <a:r>
                        <a:rPr lang="en-GB" dirty="0"/>
                        <a:t>12.00-12.30</a:t>
                      </a:r>
                    </a:p>
                  </a:txBody>
                  <a:tcPr/>
                </a:tc>
                <a:tc>
                  <a:txBody>
                    <a:bodyPr/>
                    <a:lstStyle/>
                    <a:p>
                      <a:r>
                        <a:rPr lang="en-GB" dirty="0"/>
                        <a:t>[Session Description]</a:t>
                      </a:r>
                    </a:p>
                  </a:txBody>
                  <a:tcPr/>
                </a:tc>
                <a:tc>
                  <a:txBody>
                    <a:bodyPr/>
                    <a:lstStyle/>
                    <a:p>
                      <a:r>
                        <a:rPr lang="en-GB" dirty="0"/>
                        <a:t>[Name 1]</a:t>
                      </a:r>
                    </a:p>
                  </a:txBody>
                  <a:tcPr/>
                </a:tc>
                <a:extLst>
                  <a:ext uri="{0D108BD9-81ED-4DB2-BD59-A6C34878D82A}">
                    <a16:rowId xmlns:a16="http://schemas.microsoft.com/office/drawing/2014/main" val="3822474379"/>
                  </a:ext>
                </a:extLst>
              </a:tr>
              <a:tr h="370840">
                <a:tc>
                  <a:txBody>
                    <a:bodyPr/>
                    <a:lstStyle/>
                    <a:p>
                      <a:r>
                        <a:rPr lang="en-GB" dirty="0"/>
                        <a:t>[Time]</a:t>
                      </a:r>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r>
                        <a:rPr lang="en-GB" dirty="0"/>
                        <a:t>[Session Description]</a:t>
                      </a:r>
                    </a:p>
                  </a:txBody>
                  <a:tcPr/>
                </a:tc>
                <a:tc>
                  <a:txBody>
                    <a:bodyPr/>
                    <a:lstStyle/>
                    <a:p>
                      <a:r>
                        <a:rPr lang="en-GB" dirty="0"/>
                        <a:t>[Name 1]</a:t>
                      </a:r>
                    </a:p>
                  </a:txBody>
                  <a:tcPr/>
                </a:tc>
                <a:extLst>
                  <a:ext uri="{0D108BD9-81ED-4DB2-BD59-A6C34878D82A}">
                    <a16:rowId xmlns:a16="http://schemas.microsoft.com/office/drawing/2014/main" val="616345027"/>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3545059334"/>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2834895056"/>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1831207383"/>
                  </a:ext>
                </a:extLst>
              </a:tr>
            </a:tbl>
          </a:graphicData>
        </a:graphic>
      </p:graphicFrame>
    </p:spTree>
    <p:extLst>
      <p:ext uri="{BB962C8B-B14F-4D97-AF65-F5344CB8AC3E}">
        <p14:creationId xmlns:p14="http://schemas.microsoft.com/office/powerpoint/2010/main" val="167820281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ackpage 1">
    <p:bg>
      <p:bgPr>
        <a:solidFill>
          <a:schemeClr val="accent1"/>
        </a:solidFill>
        <a:effectLst/>
      </p:bgPr>
    </p:bg>
    <p:spTree>
      <p:nvGrpSpPr>
        <p:cNvPr id="1" name=""/>
        <p:cNvGrpSpPr/>
        <p:nvPr/>
      </p:nvGrpSpPr>
      <p:grpSpPr>
        <a:xfrm>
          <a:off x="0" y="0"/>
          <a:ext cx="0" cy="0"/>
          <a:chOff x="0" y="0"/>
          <a:chExt cx="0" cy="0"/>
        </a:xfrm>
      </p:grpSpPr>
      <p:sp>
        <p:nvSpPr>
          <p:cNvPr id="3" name="Company string">
            <a:extLst>
              <a:ext uri="{FF2B5EF4-FFF2-40B4-BE49-F238E27FC236}">
                <a16:creationId xmlns:a16="http://schemas.microsoft.com/office/drawing/2014/main" id="{EA41C69A-8F66-4841-BB68-FAF02F0649F5}"/>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nl-NL" altLang="zh-CN" i="0"/>
              <a:t>twobirds.com</a:t>
            </a:r>
          </a:p>
          <a:p>
            <a:pPr lvl="1">
              <a:spcAft>
                <a:spcPts val="1800"/>
              </a:spcAft>
            </a:pPr>
            <a:r>
              <a:rPr lang="zh-CN" altLang="nl-NL" i="0"/>
              <a:t>阿姆斯特丹 </a:t>
            </a:r>
            <a:r>
              <a:rPr lang="zh-CN" altLang="nl-NL" i="0">
                <a:solidFill>
                  <a:schemeClr val="dk2"/>
                </a:solidFill>
              </a:rPr>
              <a:t>● </a:t>
            </a:r>
            <a:r>
              <a:rPr lang="zh-CN" altLang="nl-NL" i="0"/>
              <a:t>阿布扎比 </a:t>
            </a:r>
            <a:r>
              <a:rPr lang="zh-CN" altLang="nl-NL" i="0">
                <a:solidFill>
                  <a:schemeClr val="dk2"/>
                </a:solidFill>
              </a:rPr>
              <a:t>● </a:t>
            </a:r>
            <a:r>
              <a:rPr lang="zh-CN" altLang="nl-NL" i="0"/>
              <a:t>北京 </a:t>
            </a:r>
            <a:r>
              <a:rPr lang="zh-CN" altLang="nl-NL" i="0">
                <a:solidFill>
                  <a:schemeClr val="dk2"/>
                </a:solidFill>
              </a:rPr>
              <a:t>● </a:t>
            </a:r>
            <a:r>
              <a:rPr lang="zh-CN" altLang="nl-NL" i="0"/>
              <a:t>布拉迪斯拉发 </a:t>
            </a:r>
            <a:r>
              <a:rPr lang="zh-CN" altLang="nl-NL" i="0">
                <a:solidFill>
                  <a:schemeClr val="dk2"/>
                </a:solidFill>
              </a:rPr>
              <a:t>● </a:t>
            </a:r>
            <a:r>
              <a:rPr lang="zh-CN" altLang="nl-NL" i="0"/>
              <a:t>布鲁塞尔 </a:t>
            </a:r>
            <a:r>
              <a:rPr lang="zh-CN" altLang="nl-NL" i="0">
                <a:solidFill>
                  <a:schemeClr val="dk2"/>
                </a:solidFill>
              </a:rPr>
              <a:t>● </a:t>
            </a:r>
            <a:r>
              <a:rPr lang="zh-CN" altLang="nl-NL" i="0"/>
              <a:t>布达佩斯 </a:t>
            </a:r>
            <a:r>
              <a:rPr lang="zh-CN" altLang="nl-NL" i="0">
                <a:solidFill>
                  <a:schemeClr val="dk2"/>
                </a:solidFill>
              </a:rPr>
              <a:t>● </a:t>
            </a:r>
            <a:r>
              <a:rPr lang="zh-CN" altLang="nl-NL" i="0"/>
              <a:t>卡萨布兰卡 </a:t>
            </a:r>
            <a:r>
              <a:rPr lang="zh-CN" altLang="nl-NL" i="0">
                <a:solidFill>
                  <a:schemeClr val="dk2"/>
                </a:solidFill>
              </a:rPr>
              <a:t>● </a:t>
            </a:r>
            <a:r>
              <a:rPr lang="zh-CN" altLang="nl-NL" i="0"/>
              <a:t>哥本哈根 </a:t>
            </a:r>
            <a:r>
              <a:rPr lang="zh-CN" altLang="nl-NL" i="0">
                <a:solidFill>
                  <a:schemeClr val="dk2"/>
                </a:solidFill>
              </a:rPr>
              <a:t>● </a:t>
            </a:r>
            <a:r>
              <a:rPr lang="zh-CN" altLang="nl-NL" i="0"/>
              <a:t>迪拜 </a:t>
            </a:r>
            <a:r>
              <a:rPr lang="zh-CN" altLang="nl-NL" i="0">
                <a:solidFill>
                  <a:schemeClr val="dk2"/>
                </a:solidFill>
              </a:rPr>
              <a:t>● </a:t>
            </a:r>
            <a:r>
              <a:rPr lang="zh-CN" altLang="nl-NL" i="0"/>
              <a:t>都柏林 </a:t>
            </a:r>
            <a:r>
              <a:rPr lang="zh-CN" altLang="nl-NL" i="0">
                <a:solidFill>
                  <a:schemeClr val="dk2"/>
                </a:solidFill>
              </a:rPr>
              <a:t>● </a:t>
            </a:r>
            <a:r>
              <a:rPr lang="zh-CN" altLang="nl-NL" i="0"/>
              <a:t>杜塞尔多夫 </a:t>
            </a:r>
            <a:br>
              <a:rPr lang="zh-CN" altLang="nl-NL" i="0"/>
            </a:br>
            <a:r>
              <a:rPr lang="zh-CN" altLang="nl-NL" i="0">
                <a:solidFill>
                  <a:schemeClr val="dk2"/>
                </a:solidFill>
              </a:rPr>
              <a:t>● </a:t>
            </a:r>
            <a:r>
              <a:rPr lang="zh-CN" altLang="nl-NL" i="0"/>
              <a:t>法兰克福 </a:t>
            </a:r>
            <a:r>
              <a:rPr lang="zh-CN" altLang="nl-NL" i="0">
                <a:solidFill>
                  <a:schemeClr val="dk2"/>
                </a:solidFill>
              </a:rPr>
              <a:t>● </a:t>
            </a:r>
            <a:r>
              <a:rPr lang="zh-CN" altLang="nl-NL" i="0"/>
              <a:t>海牙 </a:t>
            </a:r>
            <a:r>
              <a:rPr lang="zh-CN" altLang="nl-NL" i="0">
                <a:solidFill>
                  <a:schemeClr val="dk2"/>
                </a:solidFill>
              </a:rPr>
              <a:t>● </a:t>
            </a:r>
            <a:r>
              <a:rPr lang="zh-CN" altLang="nl-NL" i="0"/>
              <a:t>汉堡 </a:t>
            </a:r>
            <a:r>
              <a:rPr lang="zh-CN" altLang="nl-NL" i="0">
                <a:solidFill>
                  <a:schemeClr val="dk2"/>
                </a:solidFill>
              </a:rPr>
              <a:t>● </a:t>
            </a:r>
            <a:r>
              <a:rPr lang="zh-CN" altLang="nl-NL" i="0"/>
              <a:t>赫尔辛基 </a:t>
            </a:r>
            <a:r>
              <a:rPr lang="zh-CN" altLang="nl-NL" i="0">
                <a:solidFill>
                  <a:schemeClr val="dk2"/>
                </a:solidFill>
              </a:rPr>
              <a:t>● </a:t>
            </a:r>
            <a:r>
              <a:rPr lang="zh-CN" altLang="nl-NL" i="0"/>
              <a:t>香港 </a:t>
            </a:r>
            <a:r>
              <a:rPr lang="zh-CN" altLang="nl-NL" i="0">
                <a:solidFill>
                  <a:schemeClr val="dk2"/>
                </a:solidFill>
              </a:rPr>
              <a:t>● </a:t>
            </a:r>
            <a:r>
              <a:rPr lang="zh-CN" altLang="nl-NL" i="0"/>
              <a:t>伦敦 </a:t>
            </a:r>
            <a:r>
              <a:rPr lang="zh-CN" altLang="nl-NL" i="0">
                <a:solidFill>
                  <a:schemeClr val="dk2"/>
                </a:solidFill>
              </a:rPr>
              <a:t>● </a:t>
            </a:r>
            <a:r>
              <a:rPr lang="zh-CN" altLang="nl-NL" i="0"/>
              <a:t>卢森堡 </a:t>
            </a:r>
            <a:r>
              <a:rPr lang="zh-CN" altLang="nl-NL" i="0">
                <a:solidFill>
                  <a:schemeClr val="dk2"/>
                </a:solidFill>
              </a:rPr>
              <a:t>● </a:t>
            </a:r>
            <a:r>
              <a:rPr lang="zh-CN" altLang="nl-NL" i="0"/>
              <a:t>里昂 </a:t>
            </a:r>
            <a:r>
              <a:rPr lang="zh-CN" altLang="nl-NL" i="0">
                <a:solidFill>
                  <a:schemeClr val="dk2"/>
                </a:solidFill>
              </a:rPr>
              <a:t>● </a:t>
            </a:r>
            <a:r>
              <a:rPr lang="zh-CN" altLang="nl-NL" i="0"/>
              <a:t>马德里 </a:t>
            </a:r>
            <a:r>
              <a:rPr lang="zh-CN" altLang="nl-NL" i="0">
                <a:solidFill>
                  <a:schemeClr val="dk2"/>
                </a:solidFill>
              </a:rPr>
              <a:t>● </a:t>
            </a:r>
            <a:r>
              <a:rPr lang="zh-CN" altLang="nl-NL" i="0"/>
              <a:t>米兰 </a:t>
            </a:r>
            <a:r>
              <a:rPr lang="zh-CN" altLang="nl-NL" i="0">
                <a:solidFill>
                  <a:schemeClr val="dk2"/>
                </a:solidFill>
              </a:rPr>
              <a:t>● </a:t>
            </a:r>
            <a:r>
              <a:rPr lang="zh-CN" altLang="nl-NL" i="0"/>
              <a:t>慕尼黑 </a:t>
            </a:r>
            <a:r>
              <a:rPr lang="zh-CN" altLang="nl-NL" i="0">
                <a:solidFill>
                  <a:schemeClr val="dk2"/>
                </a:solidFill>
              </a:rPr>
              <a:t>● </a:t>
            </a:r>
            <a:r>
              <a:rPr lang="zh-CN" altLang="nl-NL" i="0"/>
              <a:t>巴黎 </a:t>
            </a:r>
            <a:r>
              <a:rPr lang="zh-CN" altLang="nl-NL" i="0">
                <a:solidFill>
                  <a:schemeClr val="dk2"/>
                </a:solidFill>
              </a:rPr>
              <a:t>● </a:t>
            </a:r>
            <a:r>
              <a:rPr lang="zh-CN" altLang="nl-NL" i="0"/>
              <a:t>布拉格 </a:t>
            </a:r>
            <a:r>
              <a:rPr lang="zh-CN" altLang="nl-NL" i="0">
                <a:solidFill>
                  <a:schemeClr val="dk2"/>
                </a:solidFill>
              </a:rPr>
              <a:t>● </a:t>
            </a:r>
            <a:r>
              <a:rPr lang="zh-CN" altLang="nl-NL" i="0"/>
              <a:t>罗马</a:t>
            </a:r>
            <a:br>
              <a:rPr lang="zh-CN" altLang="nl-NL" i="0"/>
            </a:br>
            <a:r>
              <a:rPr lang="zh-CN" altLang="nl-NL" i="0">
                <a:solidFill>
                  <a:schemeClr val="dk2"/>
                </a:solidFill>
              </a:rPr>
              <a:t>● </a:t>
            </a:r>
            <a:r>
              <a:rPr lang="zh-CN" altLang="nl-NL" i="0"/>
              <a:t>旧金山 </a:t>
            </a:r>
            <a:r>
              <a:rPr lang="zh-CN" altLang="nl-NL" i="0">
                <a:solidFill>
                  <a:schemeClr val="dk2"/>
                </a:solidFill>
              </a:rPr>
              <a:t>● </a:t>
            </a:r>
            <a:r>
              <a:rPr lang="zh-CN" altLang="nl-NL" i="0"/>
              <a:t>上海 </a:t>
            </a:r>
            <a:r>
              <a:rPr lang="zh-CN" altLang="nl-NL" i="0">
                <a:solidFill>
                  <a:schemeClr val="dk2"/>
                </a:solidFill>
              </a:rPr>
              <a:t>● </a:t>
            </a:r>
            <a:r>
              <a:rPr lang="zh-CN" altLang="nl-NL" i="0"/>
              <a:t>新加坡 </a:t>
            </a:r>
            <a:r>
              <a:rPr lang="zh-CN" altLang="nl-NL" i="0">
                <a:solidFill>
                  <a:schemeClr val="dk2"/>
                </a:solidFill>
              </a:rPr>
              <a:t>● </a:t>
            </a:r>
            <a:r>
              <a:rPr lang="zh-CN" altLang="nl-NL" i="0"/>
              <a:t>斯德哥尔摩 </a:t>
            </a:r>
            <a:r>
              <a:rPr lang="zh-CN" altLang="nl-NL" i="0">
                <a:solidFill>
                  <a:schemeClr val="dk2"/>
                </a:solidFill>
              </a:rPr>
              <a:t>● </a:t>
            </a:r>
            <a:r>
              <a:rPr lang="zh-CN" altLang="nl-NL" i="0"/>
              <a:t>悉尼 </a:t>
            </a:r>
            <a:r>
              <a:rPr lang="zh-CN" altLang="nl-NL" i="0">
                <a:solidFill>
                  <a:schemeClr val="dk2"/>
                </a:solidFill>
              </a:rPr>
              <a:t>● </a:t>
            </a:r>
            <a:r>
              <a:rPr lang="zh-CN" altLang="nl-NL" i="0"/>
              <a:t>华沙</a:t>
            </a:r>
          </a:p>
          <a:p>
            <a:pPr lvl="2">
              <a:lnSpc>
                <a:spcPct val="100000"/>
              </a:lnSpc>
              <a:spcBef>
                <a:spcPts val="300"/>
              </a:spcBef>
              <a:spcAft>
                <a:spcPts val="0"/>
              </a:spcAft>
            </a:pPr>
            <a:r>
              <a:rPr lang="zh-CN" altLang="nl-NL"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nl-NL"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nl-NL"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nl-NL" sz="800" i="0" kern="800" spc="-10">
                <a:latin typeface="+mn-lt"/>
              </a:rPr>
              <a:t>鸿鹄律师事务所是在英格兰和威尔士注册的一家有限责任合伙企业，注册号</a:t>
            </a:r>
            <a:r>
              <a:rPr lang="nl-NL" altLang="zh-CN" sz="800" i="0" kern="800" spc="-10">
                <a:latin typeface="+mn-lt"/>
              </a:rPr>
              <a:t>OC340318</a:t>
            </a:r>
            <a:r>
              <a:rPr lang="zh-CN" altLang="nl-NL" sz="800" i="0" kern="800" spc="-10">
                <a:latin typeface="+mn-lt"/>
              </a:rPr>
              <a:t>，经律师监管局 </a:t>
            </a:r>
            <a:r>
              <a:rPr lang="nl-NL" altLang="zh-CN" sz="800" i="0" kern="800" spc="-10">
                <a:latin typeface="+mn-lt"/>
              </a:rPr>
              <a:t>(Solicitors Regulation Authority) </a:t>
            </a:r>
            <a:r>
              <a:rPr lang="zh-CN" altLang="nl-NL" sz="800" i="0" kern="800" spc="-10">
                <a:latin typeface="+mn-lt"/>
              </a:rPr>
              <a:t>授权并受其监管，编号为</a:t>
            </a:r>
            <a:r>
              <a:rPr lang="nl-NL" altLang="zh-CN" sz="800" i="0" kern="800" spc="-10">
                <a:latin typeface="+mn-lt"/>
              </a:rPr>
              <a:t>497264</a:t>
            </a:r>
            <a:r>
              <a:rPr lang="zh-CN" altLang="nl-NL" sz="800" i="0" kern="800" spc="-10">
                <a:latin typeface="+mn-lt"/>
              </a:rPr>
              <a:t>，注册办公室及主要营业地位于伦敦</a:t>
            </a:r>
            <a:r>
              <a:rPr lang="nl-NL" altLang="zh-CN" sz="800" i="0" kern="800" spc="-10">
                <a:latin typeface="+mn-lt"/>
              </a:rPr>
              <a:t>12 New Fetter Lane</a:t>
            </a:r>
            <a:r>
              <a:rPr lang="zh-CN" altLang="nl-NL" sz="800" i="0" kern="800" spc="-10">
                <a:latin typeface="+mn-lt"/>
              </a:rPr>
              <a:t>，</a:t>
            </a:r>
            <a:r>
              <a:rPr lang="nl-NL" altLang="zh-CN" sz="800" i="0" kern="800" spc="-10">
                <a:latin typeface="+mn-lt"/>
              </a:rPr>
              <a:t>EC4A1JP</a:t>
            </a:r>
            <a:r>
              <a:rPr lang="zh-CN" altLang="nl-NL"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u="none">
                <a:solidFill>
                  <a:schemeClr val="tx1"/>
                </a:solidFill>
              </a:defRPr>
            </a:lvl2pPr>
            <a:lvl3pPr algn="l">
              <a:defRPr sz="6000" i="0">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8" name="Group 17">
            <a:extLst>
              <a:ext uri="{FF2B5EF4-FFF2-40B4-BE49-F238E27FC236}">
                <a16:creationId xmlns:a16="http://schemas.microsoft.com/office/drawing/2014/main" id="{97C84B20-5499-4342-896D-723C87B7442C}"/>
              </a:ext>
            </a:extLst>
          </p:cNvPr>
          <p:cNvGrpSpPr/>
          <p:nvPr userDrawn="1"/>
        </p:nvGrpSpPr>
        <p:grpSpPr>
          <a:xfrm>
            <a:off x="0" y="2161032"/>
            <a:ext cx="6006209" cy="266700"/>
            <a:chOff x="0" y="2161032"/>
            <a:chExt cx="6006209" cy="266700"/>
          </a:xfrm>
        </p:grpSpPr>
        <p:sp>
          <p:nvSpPr>
            <p:cNvPr id="15" name="Freeform: Shape 14">
              <a:extLst>
                <a:ext uri="{FF2B5EF4-FFF2-40B4-BE49-F238E27FC236}">
                  <a16:creationId xmlns:a16="http://schemas.microsoft.com/office/drawing/2014/main" id="{D0CB0E7A-7933-467F-B168-69AEB01ABB2E}"/>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7B03A7AE-CEF5-4216-A585-33CCFF6B91E5}"/>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52759126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ackpage 2">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a:solidFill>
                  <a:schemeClr val="tx1"/>
                </a:solidFill>
              </a:defRPr>
            </a:lvl2pPr>
            <a:lvl3pPr algn="l">
              <a:defRPr sz="6000" i="0" u="none">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5B7F25C4-5391-4351-A592-73666979B8D6}"/>
              </a:ext>
            </a:extLst>
          </p:cNvPr>
          <p:cNvGrpSpPr/>
          <p:nvPr userDrawn="1"/>
        </p:nvGrpSpPr>
        <p:grpSpPr>
          <a:xfrm>
            <a:off x="0" y="2161032"/>
            <a:ext cx="6006209" cy="266700"/>
            <a:chOff x="0" y="2161032"/>
            <a:chExt cx="6006209" cy="266700"/>
          </a:xfrm>
        </p:grpSpPr>
        <p:sp>
          <p:nvSpPr>
            <p:cNvPr id="17" name="Freeform: Shape 16">
              <a:extLst>
                <a:ext uri="{FF2B5EF4-FFF2-40B4-BE49-F238E27FC236}">
                  <a16:creationId xmlns:a16="http://schemas.microsoft.com/office/drawing/2014/main" id="{E4D40EB5-D7EF-4718-87C0-BC012360128F}"/>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5C4EE9B5-8FDD-4C14-8E74-0F02715AE664}"/>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1"/>
            </a:solidFill>
            <a:ln w="12700" cap="flat">
              <a:noFill/>
              <a:prstDash val="solid"/>
              <a:miter/>
            </a:ln>
          </p:spPr>
          <p:txBody>
            <a:bodyPr rtlCol="0" anchor="ctr"/>
            <a:lstStyle/>
            <a:p>
              <a:endParaRPr lang="en-GB"/>
            </a:p>
          </p:txBody>
        </p:sp>
      </p:grpSp>
      <p:sp>
        <p:nvSpPr>
          <p:cNvPr id="9" name="Company string">
            <a:extLst>
              <a:ext uri="{FF2B5EF4-FFF2-40B4-BE49-F238E27FC236}">
                <a16:creationId xmlns:a16="http://schemas.microsoft.com/office/drawing/2014/main" id="{905F3556-7389-46ED-AEED-155B03E06C8D}"/>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nl-NL" altLang="zh-CN" i="0"/>
              <a:t>twobirds.com</a:t>
            </a:r>
          </a:p>
          <a:p>
            <a:pPr lvl="1">
              <a:spcAft>
                <a:spcPts val="1800"/>
              </a:spcAft>
            </a:pPr>
            <a:r>
              <a:rPr lang="zh-CN" altLang="nl-NL" i="0"/>
              <a:t>阿姆斯特丹 </a:t>
            </a:r>
            <a:r>
              <a:rPr lang="zh-CN" altLang="nl-NL" i="0">
                <a:solidFill>
                  <a:schemeClr val="dk2"/>
                </a:solidFill>
              </a:rPr>
              <a:t>● </a:t>
            </a:r>
            <a:r>
              <a:rPr lang="zh-CN" altLang="nl-NL" i="0"/>
              <a:t>阿布扎比 </a:t>
            </a:r>
            <a:r>
              <a:rPr lang="zh-CN" altLang="nl-NL" i="0">
                <a:solidFill>
                  <a:schemeClr val="dk2"/>
                </a:solidFill>
              </a:rPr>
              <a:t>● </a:t>
            </a:r>
            <a:r>
              <a:rPr lang="zh-CN" altLang="nl-NL" i="0"/>
              <a:t>北京 </a:t>
            </a:r>
            <a:r>
              <a:rPr lang="zh-CN" altLang="nl-NL" i="0">
                <a:solidFill>
                  <a:schemeClr val="dk2"/>
                </a:solidFill>
              </a:rPr>
              <a:t>● </a:t>
            </a:r>
            <a:r>
              <a:rPr lang="zh-CN" altLang="nl-NL" i="0"/>
              <a:t>布拉迪斯拉发 </a:t>
            </a:r>
            <a:r>
              <a:rPr lang="zh-CN" altLang="nl-NL" i="0">
                <a:solidFill>
                  <a:schemeClr val="dk2"/>
                </a:solidFill>
              </a:rPr>
              <a:t>● </a:t>
            </a:r>
            <a:r>
              <a:rPr lang="zh-CN" altLang="nl-NL" i="0"/>
              <a:t>布鲁塞尔 </a:t>
            </a:r>
            <a:r>
              <a:rPr lang="zh-CN" altLang="nl-NL" i="0">
                <a:solidFill>
                  <a:schemeClr val="dk2"/>
                </a:solidFill>
              </a:rPr>
              <a:t>● </a:t>
            </a:r>
            <a:r>
              <a:rPr lang="zh-CN" altLang="nl-NL" i="0"/>
              <a:t>布达佩斯 </a:t>
            </a:r>
            <a:r>
              <a:rPr lang="zh-CN" altLang="nl-NL" i="0">
                <a:solidFill>
                  <a:schemeClr val="dk2"/>
                </a:solidFill>
              </a:rPr>
              <a:t>● </a:t>
            </a:r>
            <a:r>
              <a:rPr lang="zh-CN" altLang="nl-NL" i="0"/>
              <a:t>卡萨布兰卡 </a:t>
            </a:r>
            <a:r>
              <a:rPr lang="zh-CN" altLang="nl-NL" i="0">
                <a:solidFill>
                  <a:schemeClr val="dk2"/>
                </a:solidFill>
              </a:rPr>
              <a:t>● </a:t>
            </a:r>
            <a:r>
              <a:rPr lang="zh-CN" altLang="nl-NL" i="0"/>
              <a:t>哥本哈根 </a:t>
            </a:r>
            <a:r>
              <a:rPr lang="zh-CN" altLang="nl-NL" i="0">
                <a:solidFill>
                  <a:schemeClr val="dk2"/>
                </a:solidFill>
              </a:rPr>
              <a:t>● </a:t>
            </a:r>
            <a:r>
              <a:rPr lang="zh-CN" altLang="nl-NL" i="0"/>
              <a:t>迪拜 </a:t>
            </a:r>
            <a:r>
              <a:rPr lang="zh-CN" altLang="nl-NL" i="0">
                <a:solidFill>
                  <a:schemeClr val="dk2"/>
                </a:solidFill>
              </a:rPr>
              <a:t>● </a:t>
            </a:r>
            <a:r>
              <a:rPr lang="zh-CN" altLang="nl-NL" i="0"/>
              <a:t>都柏林 </a:t>
            </a:r>
            <a:r>
              <a:rPr lang="zh-CN" altLang="nl-NL" i="0">
                <a:solidFill>
                  <a:schemeClr val="dk2"/>
                </a:solidFill>
              </a:rPr>
              <a:t>● </a:t>
            </a:r>
            <a:r>
              <a:rPr lang="zh-CN" altLang="nl-NL" i="0"/>
              <a:t>杜塞尔多夫 </a:t>
            </a:r>
            <a:br>
              <a:rPr lang="zh-CN" altLang="nl-NL" i="0"/>
            </a:br>
            <a:r>
              <a:rPr lang="zh-CN" altLang="nl-NL" i="0">
                <a:solidFill>
                  <a:schemeClr val="dk2"/>
                </a:solidFill>
              </a:rPr>
              <a:t>● </a:t>
            </a:r>
            <a:r>
              <a:rPr lang="zh-CN" altLang="nl-NL" i="0"/>
              <a:t>法兰克福 </a:t>
            </a:r>
            <a:r>
              <a:rPr lang="zh-CN" altLang="nl-NL" i="0">
                <a:solidFill>
                  <a:schemeClr val="dk2"/>
                </a:solidFill>
              </a:rPr>
              <a:t>● </a:t>
            </a:r>
            <a:r>
              <a:rPr lang="zh-CN" altLang="nl-NL" i="0"/>
              <a:t>海牙 </a:t>
            </a:r>
            <a:r>
              <a:rPr lang="zh-CN" altLang="nl-NL" i="0">
                <a:solidFill>
                  <a:schemeClr val="dk2"/>
                </a:solidFill>
              </a:rPr>
              <a:t>● </a:t>
            </a:r>
            <a:r>
              <a:rPr lang="zh-CN" altLang="nl-NL" i="0"/>
              <a:t>汉堡 </a:t>
            </a:r>
            <a:r>
              <a:rPr lang="zh-CN" altLang="nl-NL" i="0">
                <a:solidFill>
                  <a:schemeClr val="dk2"/>
                </a:solidFill>
              </a:rPr>
              <a:t>● </a:t>
            </a:r>
            <a:r>
              <a:rPr lang="zh-CN" altLang="nl-NL" i="0"/>
              <a:t>赫尔辛基 </a:t>
            </a:r>
            <a:r>
              <a:rPr lang="zh-CN" altLang="nl-NL" i="0">
                <a:solidFill>
                  <a:schemeClr val="dk2"/>
                </a:solidFill>
              </a:rPr>
              <a:t>● </a:t>
            </a:r>
            <a:r>
              <a:rPr lang="zh-CN" altLang="nl-NL" i="0"/>
              <a:t>香港 </a:t>
            </a:r>
            <a:r>
              <a:rPr lang="zh-CN" altLang="nl-NL" i="0">
                <a:solidFill>
                  <a:schemeClr val="dk2"/>
                </a:solidFill>
              </a:rPr>
              <a:t>● </a:t>
            </a:r>
            <a:r>
              <a:rPr lang="zh-CN" altLang="nl-NL" i="0"/>
              <a:t>伦敦 </a:t>
            </a:r>
            <a:r>
              <a:rPr lang="zh-CN" altLang="nl-NL" i="0">
                <a:solidFill>
                  <a:schemeClr val="dk2"/>
                </a:solidFill>
              </a:rPr>
              <a:t>● </a:t>
            </a:r>
            <a:r>
              <a:rPr lang="zh-CN" altLang="nl-NL" i="0"/>
              <a:t>卢森堡 </a:t>
            </a:r>
            <a:r>
              <a:rPr lang="zh-CN" altLang="nl-NL" i="0">
                <a:solidFill>
                  <a:schemeClr val="dk2"/>
                </a:solidFill>
              </a:rPr>
              <a:t>● </a:t>
            </a:r>
            <a:r>
              <a:rPr lang="zh-CN" altLang="nl-NL" i="0"/>
              <a:t>里昂 </a:t>
            </a:r>
            <a:r>
              <a:rPr lang="zh-CN" altLang="nl-NL" i="0">
                <a:solidFill>
                  <a:schemeClr val="dk2"/>
                </a:solidFill>
              </a:rPr>
              <a:t>● </a:t>
            </a:r>
            <a:r>
              <a:rPr lang="zh-CN" altLang="nl-NL" i="0"/>
              <a:t>马德里 </a:t>
            </a:r>
            <a:r>
              <a:rPr lang="zh-CN" altLang="nl-NL" i="0">
                <a:solidFill>
                  <a:schemeClr val="dk2"/>
                </a:solidFill>
              </a:rPr>
              <a:t>● </a:t>
            </a:r>
            <a:r>
              <a:rPr lang="zh-CN" altLang="nl-NL" i="0"/>
              <a:t>米兰 </a:t>
            </a:r>
            <a:r>
              <a:rPr lang="zh-CN" altLang="nl-NL" i="0">
                <a:solidFill>
                  <a:schemeClr val="dk2"/>
                </a:solidFill>
              </a:rPr>
              <a:t>● </a:t>
            </a:r>
            <a:r>
              <a:rPr lang="zh-CN" altLang="nl-NL" i="0"/>
              <a:t>慕尼黑 </a:t>
            </a:r>
            <a:r>
              <a:rPr lang="zh-CN" altLang="nl-NL" i="0">
                <a:solidFill>
                  <a:schemeClr val="dk2"/>
                </a:solidFill>
              </a:rPr>
              <a:t>● </a:t>
            </a:r>
            <a:r>
              <a:rPr lang="zh-CN" altLang="nl-NL" i="0"/>
              <a:t>巴黎 </a:t>
            </a:r>
            <a:r>
              <a:rPr lang="zh-CN" altLang="nl-NL" i="0">
                <a:solidFill>
                  <a:schemeClr val="dk2"/>
                </a:solidFill>
              </a:rPr>
              <a:t>● </a:t>
            </a:r>
            <a:r>
              <a:rPr lang="zh-CN" altLang="nl-NL" i="0"/>
              <a:t>布拉格 </a:t>
            </a:r>
            <a:r>
              <a:rPr lang="zh-CN" altLang="nl-NL" i="0">
                <a:solidFill>
                  <a:schemeClr val="dk2"/>
                </a:solidFill>
              </a:rPr>
              <a:t>● </a:t>
            </a:r>
            <a:r>
              <a:rPr lang="zh-CN" altLang="nl-NL" i="0"/>
              <a:t>罗马</a:t>
            </a:r>
            <a:br>
              <a:rPr lang="zh-CN" altLang="nl-NL" i="0"/>
            </a:br>
            <a:r>
              <a:rPr lang="zh-CN" altLang="nl-NL" i="0">
                <a:solidFill>
                  <a:schemeClr val="dk2"/>
                </a:solidFill>
              </a:rPr>
              <a:t>● </a:t>
            </a:r>
            <a:r>
              <a:rPr lang="zh-CN" altLang="nl-NL" i="0"/>
              <a:t>旧金山 </a:t>
            </a:r>
            <a:r>
              <a:rPr lang="zh-CN" altLang="nl-NL" i="0">
                <a:solidFill>
                  <a:schemeClr val="dk2"/>
                </a:solidFill>
              </a:rPr>
              <a:t>● </a:t>
            </a:r>
            <a:r>
              <a:rPr lang="zh-CN" altLang="nl-NL" i="0"/>
              <a:t>上海 </a:t>
            </a:r>
            <a:r>
              <a:rPr lang="zh-CN" altLang="nl-NL" i="0">
                <a:solidFill>
                  <a:schemeClr val="dk2"/>
                </a:solidFill>
              </a:rPr>
              <a:t>● </a:t>
            </a:r>
            <a:r>
              <a:rPr lang="zh-CN" altLang="nl-NL" i="0"/>
              <a:t>新加坡 </a:t>
            </a:r>
            <a:r>
              <a:rPr lang="zh-CN" altLang="nl-NL" i="0">
                <a:solidFill>
                  <a:schemeClr val="dk2"/>
                </a:solidFill>
              </a:rPr>
              <a:t>● </a:t>
            </a:r>
            <a:r>
              <a:rPr lang="zh-CN" altLang="nl-NL" i="0"/>
              <a:t>斯德哥尔摩 </a:t>
            </a:r>
            <a:r>
              <a:rPr lang="zh-CN" altLang="nl-NL" i="0">
                <a:solidFill>
                  <a:schemeClr val="dk2"/>
                </a:solidFill>
              </a:rPr>
              <a:t>● </a:t>
            </a:r>
            <a:r>
              <a:rPr lang="zh-CN" altLang="nl-NL" i="0"/>
              <a:t>悉尼 </a:t>
            </a:r>
            <a:r>
              <a:rPr lang="zh-CN" altLang="nl-NL" i="0">
                <a:solidFill>
                  <a:schemeClr val="dk2"/>
                </a:solidFill>
              </a:rPr>
              <a:t>● </a:t>
            </a:r>
            <a:r>
              <a:rPr lang="zh-CN" altLang="nl-NL" i="0"/>
              <a:t>华沙</a:t>
            </a:r>
          </a:p>
          <a:p>
            <a:pPr lvl="2">
              <a:lnSpc>
                <a:spcPct val="100000"/>
              </a:lnSpc>
              <a:spcBef>
                <a:spcPts val="300"/>
              </a:spcBef>
              <a:spcAft>
                <a:spcPts val="0"/>
              </a:spcAft>
            </a:pPr>
            <a:r>
              <a:rPr lang="zh-CN" altLang="nl-NL"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nl-NL"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nl-NL"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nl-NL" sz="800" i="0" kern="800" spc="-10">
                <a:latin typeface="+mn-lt"/>
              </a:rPr>
              <a:t>鸿鹄律师事务所是在英格兰和威尔士注册的一家有限责任合伙企业，注册号</a:t>
            </a:r>
            <a:r>
              <a:rPr lang="nl-NL" altLang="zh-CN" sz="800" i="0" kern="800" spc="-10">
                <a:latin typeface="+mn-lt"/>
              </a:rPr>
              <a:t>OC340318</a:t>
            </a:r>
            <a:r>
              <a:rPr lang="zh-CN" altLang="nl-NL" sz="800" i="0" kern="800" spc="-10">
                <a:latin typeface="+mn-lt"/>
              </a:rPr>
              <a:t>，经律师监管局 </a:t>
            </a:r>
            <a:r>
              <a:rPr lang="nl-NL" altLang="zh-CN" sz="800" i="0" kern="800" spc="-10">
                <a:latin typeface="+mn-lt"/>
              </a:rPr>
              <a:t>(Solicitors Regulation Authority) </a:t>
            </a:r>
            <a:r>
              <a:rPr lang="zh-CN" altLang="nl-NL" sz="800" i="0" kern="800" spc="-10">
                <a:latin typeface="+mn-lt"/>
              </a:rPr>
              <a:t>授权并受其监管，编号为</a:t>
            </a:r>
            <a:r>
              <a:rPr lang="nl-NL" altLang="zh-CN" sz="800" i="0" kern="800" spc="-10">
                <a:latin typeface="+mn-lt"/>
              </a:rPr>
              <a:t>497264</a:t>
            </a:r>
            <a:r>
              <a:rPr lang="zh-CN" altLang="nl-NL" sz="800" i="0" kern="800" spc="-10">
                <a:latin typeface="+mn-lt"/>
              </a:rPr>
              <a:t>，注册办公室及主要营业地位于伦敦</a:t>
            </a:r>
            <a:r>
              <a:rPr lang="nl-NL" altLang="zh-CN" sz="800" i="0" kern="800" spc="-10">
                <a:latin typeface="+mn-lt"/>
              </a:rPr>
              <a:t>12 New Fetter Lane</a:t>
            </a:r>
            <a:r>
              <a:rPr lang="zh-CN" altLang="nl-NL" sz="800" i="0" kern="800" spc="-10">
                <a:latin typeface="+mn-lt"/>
              </a:rPr>
              <a:t>，</a:t>
            </a:r>
            <a:r>
              <a:rPr lang="nl-NL" altLang="zh-CN" sz="800" i="0" kern="800" spc="-10">
                <a:latin typeface="+mn-lt"/>
              </a:rPr>
              <a:t>EC4A1JP</a:t>
            </a:r>
            <a:r>
              <a:rPr lang="zh-CN" altLang="nl-NL"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180745931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ackpage 3">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a:solidFill>
                  <a:schemeClr val="tx1"/>
                </a:solidFill>
              </a:defRPr>
            </a:lvl2pPr>
            <a:lvl3pPr algn="l">
              <a:defRPr sz="6000" i="0">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7BAFEFDD-A1D5-4013-90A4-2006FC450FC1}"/>
              </a:ext>
            </a:extLst>
          </p:cNvPr>
          <p:cNvGrpSpPr/>
          <p:nvPr userDrawn="1"/>
        </p:nvGrpSpPr>
        <p:grpSpPr>
          <a:xfrm>
            <a:off x="0" y="2161032"/>
            <a:ext cx="6006209" cy="266700"/>
            <a:chOff x="0" y="2161032"/>
            <a:chExt cx="6006209" cy="266700"/>
          </a:xfrm>
        </p:grpSpPr>
        <p:sp>
          <p:nvSpPr>
            <p:cNvPr id="17" name="Freeform: Shape 16">
              <a:extLst>
                <a:ext uri="{FF2B5EF4-FFF2-40B4-BE49-F238E27FC236}">
                  <a16:creationId xmlns:a16="http://schemas.microsoft.com/office/drawing/2014/main" id="{1F665660-FED0-4C90-B50D-D1B1550B3901}"/>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F6FE938-8548-4B30-8E6B-1BCF3E2AF45A}"/>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5"/>
            </a:solidFill>
            <a:ln w="12700" cap="flat">
              <a:noFill/>
              <a:prstDash val="solid"/>
              <a:miter/>
            </a:ln>
          </p:spPr>
          <p:txBody>
            <a:bodyPr rtlCol="0" anchor="ctr"/>
            <a:lstStyle/>
            <a:p>
              <a:endParaRPr lang="en-GB"/>
            </a:p>
          </p:txBody>
        </p:sp>
      </p:grpSp>
      <p:sp>
        <p:nvSpPr>
          <p:cNvPr id="9" name="Company string">
            <a:extLst>
              <a:ext uri="{FF2B5EF4-FFF2-40B4-BE49-F238E27FC236}">
                <a16:creationId xmlns:a16="http://schemas.microsoft.com/office/drawing/2014/main" id="{E73F8F8D-150C-4348-B806-6A5FA2941AEE}"/>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nl-NL" altLang="zh-CN" i="0"/>
              <a:t>twobirds.com</a:t>
            </a:r>
          </a:p>
          <a:p>
            <a:pPr lvl="1">
              <a:spcAft>
                <a:spcPts val="1800"/>
              </a:spcAft>
            </a:pPr>
            <a:r>
              <a:rPr lang="zh-CN" altLang="nl-NL" i="0"/>
              <a:t>阿姆斯特丹 </a:t>
            </a:r>
            <a:r>
              <a:rPr lang="zh-CN" altLang="nl-NL" i="0">
                <a:solidFill>
                  <a:schemeClr val="dk2"/>
                </a:solidFill>
              </a:rPr>
              <a:t>● </a:t>
            </a:r>
            <a:r>
              <a:rPr lang="zh-CN" altLang="nl-NL" i="0"/>
              <a:t>阿布扎比 </a:t>
            </a:r>
            <a:r>
              <a:rPr lang="zh-CN" altLang="nl-NL" i="0">
                <a:solidFill>
                  <a:schemeClr val="dk2"/>
                </a:solidFill>
              </a:rPr>
              <a:t>● </a:t>
            </a:r>
            <a:r>
              <a:rPr lang="zh-CN" altLang="nl-NL" i="0"/>
              <a:t>北京 </a:t>
            </a:r>
            <a:r>
              <a:rPr lang="zh-CN" altLang="nl-NL" i="0">
                <a:solidFill>
                  <a:schemeClr val="dk2"/>
                </a:solidFill>
              </a:rPr>
              <a:t>● </a:t>
            </a:r>
            <a:r>
              <a:rPr lang="zh-CN" altLang="nl-NL" i="0"/>
              <a:t>布拉迪斯拉发 </a:t>
            </a:r>
            <a:r>
              <a:rPr lang="zh-CN" altLang="nl-NL" i="0">
                <a:solidFill>
                  <a:schemeClr val="dk2"/>
                </a:solidFill>
              </a:rPr>
              <a:t>● </a:t>
            </a:r>
            <a:r>
              <a:rPr lang="zh-CN" altLang="nl-NL" i="0"/>
              <a:t>布鲁塞尔 </a:t>
            </a:r>
            <a:r>
              <a:rPr lang="zh-CN" altLang="nl-NL" i="0">
                <a:solidFill>
                  <a:schemeClr val="dk2"/>
                </a:solidFill>
              </a:rPr>
              <a:t>● </a:t>
            </a:r>
            <a:r>
              <a:rPr lang="zh-CN" altLang="nl-NL" i="0"/>
              <a:t>布达佩斯 </a:t>
            </a:r>
            <a:r>
              <a:rPr lang="zh-CN" altLang="nl-NL" i="0">
                <a:solidFill>
                  <a:schemeClr val="dk2"/>
                </a:solidFill>
              </a:rPr>
              <a:t>● </a:t>
            </a:r>
            <a:r>
              <a:rPr lang="zh-CN" altLang="nl-NL" i="0"/>
              <a:t>卡萨布兰卡 </a:t>
            </a:r>
            <a:r>
              <a:rPr lang="zh-CN" altLang="nl-NL" i="0">
                <a:solidFill>
                  <a:schemeClr val="dk2"/>
                </a:solidFill>
              </a:rPr>
              <a:t>● </a:t>
            </a:r>
            <a:r>
              <a:rPr lang="zh-CN" altLang="nl-NL" i="0"/>
              <a:t>哥本哈根 </a:t>
            </a:r>
            <a:r>
              <a:rPr lang="zh-CN" altLang="nl-NL" i="0">
                <a:solidFill>
                  <a:schemeClr val="dk2"/>
                </a:solidFill>
              </a:rPr>
              <a:t>● </a:t>
            </a:r>
            <a:r>
              <a:rPr lang="zh-CN" altLang="nl-NL" i="0"/>
              <a:t>迪拜 </a:t>
            </a:r>
            <a:r>
              <a:rPr lang="zh-CN" altLang="nl-NL" i="0">
                <a:solidFill>
                  <a:schemeClr val="dk2"/>
                </a:solidFill>
              </a:rPr>
              <a:t>● </a:t>
            </a:r>
            <a:r>
              <a:rPr lang="zh-CN" altLang="nl-NL" i="0"/>
              <a:t>都柏林 </a:t>
            </a:r>
            <a:r>
              <a:rPr lang="zh-CN" altLang="nl-NL" i="0">
                <a:solidFill>
                  <a:schemeClr val="dk2"/>
                </a:solidFill>
              </a:rPr>
              <a:t>● </a:t>
            </a:r>
            <a:r>
              <a:rPr lang="zh-CN" altLang="nl-NL" i="0"/>
              <a:t>杜塞尔多夫 </a:t>
            </a:r>
            <a:br>
              <a:rPr lang="zh-CN" altLang="nl-NL" i="0"/>
            </a:br>
            <a:r>
              <a:rPr lang="zh-CN" altLang="nl-NL" i="0">
                <a:solidFill>
                  <a:schemeClr val="dk2"/>
                </a:solidFill>
              </a:rPr>
              <a:t>● </a:t>
            </a:r>
            <a:r>
              <a:rPr lang="zh-CN" altLang="nl-NL" i="0"/>
              <a:t>法兰克福 </a:t>
            </a:r>
            <a:r>
              <a:rPr lang="zh-CN" altLang="nl-NL" i="0">
                <a:solidFill>
                  <a:schemeClr val="dk2"/>
                </a:solidFill>
              </a:rPr>
              <a:t>● </a:t>
            </a:r>
            <a:r>
              <a:rPr lang="zh-CN" altLang="nl-NL" i="0"/>
              <a:t>海牙 </a:t>
            </a:r>
            <a:r>
              <a:rPr lang="zh-CN" altLang="nl-NL" i="0">
                <a:solidFill>
                  <a:schemeClr val="dk2"/>
                </a:solidFill>
              </a:rPr>
              <a:t>● </a:t>
            </a:r>
            <a:r>
              <a:rPr lang="zh-CN" altLang="nl-NL" i="0"/>
              <a:t>汉堡 </a:t>
            </a:r>
            <a:r>
              <a:rPr lang="zh-CN" altLang="nl-NL" i="0">
                <a:solidFill>
                  <a:schemeClr val="dk2"/>
                </a:solidFill>
              </a:rPr>
              <a:t>● </a:t>
            </a:r>
            <a:r>
              <a:rPr lang="zh-CN" altLang="nl-NL" i="0"/>
              <a:t>赫尔辛基 </a:t>
            </a:r>
            <a:r>
              <a:rPr lang="zh-CN" altLang="nl-NL" i="0">
                <a:solidFill>
                  <a:schemeClr val="dk2"/>
                </a:solidFill>
              </a:rPr>
              <a:t>● </a:t>
            </a:r>
            <a:r>
              <a:rPr lang="zh-CN" altLang="nl-NL" i="0"/>
              <a:t>香港 </a:t>
            </a:r>
            <a:r>
              <a:rPr lang="zh-CN" altLang="nl-NL" i="0">
                <a:solidFill>
                  <a:schemeClr val="dk2"/>
                </a:solidFill>
              </a:rPr>
              <a:t>● </a:t>
            </a:r>
            <a:r>
              <a:rPr lang="zh-CN" altLang="nl-NL" i="0"/>
              <a:t>伦敦 </a:t>
            </a:r>
            <a:r>
              <a:rPr lang="zh-CN" altLang="nl-NL" i="0">
                <a:solidFill>
                  <a:schemeClr val="dk2"/>
                </a:solidFill>
              </a:rPr>
              <a:t>● </a:t>
            </a:r>
            <a:r>
              <a:rPr lang="zh-CN" altLang="nl-NL" i="0"/>
              <a:t>卢森堡 </a:t>
            </a:r>
            <a:r>
              <a:rPr lang="zh-CN" altLang="nl-NL" i="0">
                <a:solidFill>
                  <a:schemeClr val="dk2"/>
                </a:solidFill>
              </a:rPr>
              <a:t>● </a:t>
            </a:r>
            <a:r>
              <a:rPr lang="zh-CN" altLang="nl-NL" i="0"/>
              <a:t>里昂 </a:t>
            </a:r>
            <a:r>
              <a:rPr lang="zh-CN" altLang="nl-NL" i="0">
                <a:solidFill>
                  <a:schemeClr val="dk2"/>
                </a:solidFill>
              </a:rPr>
              <a:t>● </a:t>
            </a:r>
            <a:r>
              <a:rPr lang="zh-CN" altLang="nl-NL" i="0"/>
              <a:t>马德里 </a:t>
            </a:r>
            <a:r>
              <a:rPr lang="zh-CN" altLang="nl-NL" i="0">
                <a:solidFill>
                  <a:schemeClr val="dk2"/>
                </a:solidFill>
              </a:rPr>
              <a:t>● </a:t>
            </a:r>
            <a:r>
              <a:rPr lang="zh-CN" altLang="nl-NL" i="0"/>
              <a:t>米兰 </a:t>
            </a:r>
            <a:r>
              <a:rPr lang="zh-CN" altLang="nl-NL" i="0">
                <a:solidFill>
                  <a:schemeClr val="dk2"/>
                </a:solidFill>
              </a:rPr>
              <a:t>● </a:t>
            </a:r>
            <a:r>
              <a:rPr lang="zh-CN" altLang="nl-NL" i="0"/>
              <a:t>慕尼黑 </a:t>
            </a:r>
            <a:r>
              <a:rPr lang="zh-CN" altLang="nl-NL" i="0">
                <a:solidFill>
                  <a:schemeClr val="dk2"/>
                </a:solidFill>
              </a:rPr>
              <a:t>● </a:t>
            </a:r>
            <a:r>
              <a:rPr lang="zh-CN" altLang="nl-NL" i="0"/>
              <a:t>巴黎 </a:t>
            </a:r>
            <a:r>
              <a:rPr lang="zh-CN" altLang="nl-NL" i="0">
                <a:solidFill>
                  <a:schemeClr val="dk2"/>
                </a:solidFill>
              </a:rPr>
              <a:t>● </a:t>
            </a:r>
            <a:r>
              <a:rPr lang="zh-CN" altLang="nl-NL" i="0"/>
              <a:t>布拉格 </a:t>
            </a:r>
            <a:r>
              <a:rPr lang="zh-CN" altLang="nl-NL" i="0">
                <a:solidFill>
                  <a:schemeClr val="dk2"/>
                </a:solidFill>
              </a:rPr>
              <a:t>● </a:t>
            </a:r>
            <a:r>
              <a:rPr lang="zh-CN" altLang="nl-NL" i="0"/>
              <a:t>罗马</a:t>
            </a:r>
            <a:br>
              <a:rPr lang="zh-CN" altLang="nl-NL" i="0"/>
            </a:br>
            <a:r>
              <a:rPr lang="zh-CN" altLang="nl-NL" i="0">
                <a:solidFill>
                  <a:schemeClr val="dk2"/>
                </a:solidFill>
              </a:rPr>
              <a:t>● </a:t>
            </a:r>
            <a:r>
              <a:rPr lang="zh-CN" altLang="nl-NL" i="0"/>
              <a:t>旧金山 </a:t>
            </a:r>
            <a:r>
              <a:rPr lang="zh-CN" altLang="nl-NL" i="0">
                <a:solidFill>
                  <a:schemeClr val="dk2"/>
                </a:solidFill>
              </a:rPr>
              <a:t>● </a:t>
            </a:r>
            <a:r>
              <a:rPr lang="zh-CN" altLang="nl-NL" i="0"/>
              <a:t>上海 </a:t>
            </a:r>
            <a:r>
              <a:rPr lang="zh-CN" altLang="nl-NL" i="0">
                <a:solidFill>
                  <a:schemeClr val="dk2"/>
                </a:solidFill>
              </a:rPr>
              <a:t>● </a:t>
            </a:r>
            <a:r>
              <a:rPr lang="zh-CN" altLang="nl-NL" i="0"/>
              <a:t>新加坡 </a:t>
            </a:r>
            <a:r>
              <a:rPr lang="zh-CN" altLang="nl-NL" i="0">
                <a:solidFill>
                  <a:schemeClr val="dk2"/>
                </a:solidFill>
              </a:rPr>
              <a:t>● </a:t>
            </a:r>
            <a:r>
              <a:rPr lang="zh-CN" altLang="nl-NL" i="0"/>
              <a:t>斯德哥尔摩 </a:t>
            </a:r>
            <a:r>
              <a:rPr lang="zh-CN" altLang="nl-NL" i="0">
                <a:solidFill>
                  <a:schemeClr val="dk2"/>
                </a:solidFill>
              </a:rPr>
              <a:t>● </a:t>
            </a:r>
            <a:r>
              <a:rPr lang="zh-CN" altLang="nl-NL" i="0"/>
              <a:t>悉尼 </a:t>
            </a:r>
            <a:r>
              <a:rPr lang="zh-CN" altLang="nl-NL" i="0">
                <a:solidFill>
                  <a:schemeClr val="dk2"/>
                </a:solidFill>
              </a:rPr>
              <a:t>● </a:t>
            </a:r>
            <a:r>
              <a:rPr lang="zh-CN" altLang="nl-NL" i="0"/>
              <a:t>华沙</a:t>
            </a:r>
          </a:p>
          <a:p>
            <a:pPr lvl="2">
              <a:lnSpc>
                <a:spcPct val="100000"/>
              </a:lnSpc>
              <a:spcBef>
                <a:spcPts val="300"/>
              </a:spcBef>
              <a:spcAft>
                <a:spcPts val="0"/>
              </a:spcAft>
            </a:pPr>
            <a:r>
              <a:rPr lang="zh-CN" altLang="nl-NL"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nl-NL"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nl-NL"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nl-NL" sz="800" i="0" kern="800" spc="-10">
                <a:latin typeface="+mn-lt"/>
              </a:rPr>
              <a:t>鸿鹄律师事务所是在英格兰和威尔士注册的一家有限责任合伙企业，注册号</a:t>
            </a:r>
            <a:r>
              <a:rPr lang="nl-NL" altLang="zh-CN" sz="800" i="0" kern="800" spc="-10">
                <a:latin typeface="+mn-lt"/>
              </a:rPr>
              <a:t>OC340318</a:t>
            </a:r>
            <a:r>
              <a:rPr lang="zh-CN" altLang="nl-NL" sz="800" i="0" kern="800" spc="-10">
                <a:latin typeface="+mn-lt"/>
              </a:rPr>
              <a:t>，经律师监管局 </a:t>
            </a:r>
            <a:r>
              <a:rPr lang="nl-NL" altLang="zh-CN" sz="800" i="0" kern="800" spc="-10">
                <a:latin typeface="+mn-lt"/>
              </a:rPr>
              <a:t>(Solicitors Regulation Authority) </a:t>
            </a:r>
            <a:r>
              <a:rPr lang="zh-CN" altLang="nl-NL" sz="800" i="0" kern="800" spc="-10">
                <a:latin typeface="+mn-lt"/>
              </a:rPr>
              <a:t>授权并受其监管，编号为</a:t>
            </a:r>
            <a:r>
              <a:rPr lang="nl-NL" altLang="zh-CN" sz="800" i="0" kern="800" spc="-10">
                <a:latin typeface="+mn-lt"/>
              </a:rPr>
              <a:t>497264</a:t>
            </a:r>
            <a:r>
              <a:rPr lang="zh-CN" altLang="nl-NL" sz="800" i="0" kern="800" spc="-10">
                <a:latin typeface="+mn-lt"/>
              </a:rPr>
              <a:t>，注册办公室及主要营业地位于伦敦</a:t>
            </a:r>
            <a:r>
              <a:rPr lang="nl-NL" altLang="zh-CN" sz="800" i="0" kern="800" spc="-10">
                <a:latin typeface="+mn-lt"/>
              </a:rPr>
              <a:t>12 New Fetter Lane</a:t>
            </a:r>
            <a:r>
              <a:rPr lang="zh-CN" altLang="nl-NL" sz="800" i="0" kern="800" spc="-10">
                <a:latin typeface="+mn-lt"/>
              </a:rPr>
              <a:t>，</a:t>
            </a:r>
            <a:r>
              <a:rPr lang="nl-NL" altLang="zh-CN" sz="800" i="0" kern="800" spc="-10">
                <a:latin typeface="+mn-lt"/>
              </a:rPr>
              <a:t>EC4A1JP</a:t>
            </a:r>
            <a:r>
              <a:rPr lang="zh-CN" altLang="nl-NL"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23245212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1">
    <p:bg>
      <p:bgPr>
        <a:solidFill>
          <a:schemeClr val="accent6"/>
        </a:solidFill>
        <a:effectLst/>
      </p:bgPr>
    </p:bg>
    <p:spTree>
      <p:nvGrpSpPr>
        <p:cNvPr id="1" name=""/>
        <p:cNvGrpSpPr/>
        <p:nvPr/>
      </p:nvGrpSpPr>
      <p:grpSpPr>
        <a:xfrm>
          <a:off x="0" y="0"/>
          <a:ext cx="0" cy="0"/>
          <a:chOff x="0" y="0"/>
          <a:chExt cx="0" cy="0"/>
        </a:xfrm>
      </p:grpSpPr>
      <p:sp>
        <p:nvSpPr>
          <p:cNvPr id="15" name="Company string">
            <a:extLst>
              <a:ext uri="{FF2B5EF4-FFF2-40B4-BE49-F238E27FC236}">
                <a16:creationId xmlns:a16="http://schemas.microsoft.com/office/drawing/2014/main" id="{3475BBE5-5D48-43AA-8A10-5D18E1065391}"/>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nl-NL" altLang="zh-CN" i="0"/>
              <a:t>twobirds.com</a:t>
            </a:r>
          </a:p>
          <a:p>
            <a:pPr lvl="1">
              <a:spcAft>
                <a:spcPts val="1800"/>
              </a:spcAft>
            </a:pPr>
            <a:r>
              <a:rPr lang="zh-CN" altLang="nl-NL" i="0"/>
              <a:t>阿姆斯特丹 </a:t>
            </a:r>
            <a:r>
              <a:rPr lang="zh-CN" altLang="nl-NL" i="0">
                <a:solidFill>
                  <a:schemeClr val="dk2"/>
                </a:solidFill>
              </a:rPr>
              <a:t>● </a:t>
            </a:r>
            <a:r>
              <a:rPr lang="zh-CN" altLang="nl-NL" i="0"/>
              <a:t>阿布扎比 </a:t>
            </a:r>
            <a:r>
              <a:rPr lang="zh-CN" altLang="nl-NL" i="0">
                <a:solidFill>
                  <a:schemeClr val="dk2"/>
                </a:solidFill>
              </a:rPr>
              <a:t>● </a:t>
            </a:r>
            <a:r>
              <a:rPr lang="zh-CN" altLang="nl-NL" i="0"/>
              <a:t>北京 </a:t>
            </a:r>
            <a:r>
              <a:rPr lang="zh-CN" altLang="nl-NL" i="0">
                <a:solidFill>
                  <a:schemeClr val="dk2"/>
                </a:solidFill>
              </a:rPr>
              <a:t>● </a:t>
            </a:r>
            <a:r>
              <a:rPr lang="zh-CN" altLang="nl-NL" i="0"/>
              <a:t>布拉迪斯拉发 </a:t>
            </a:r>
            <a:r>
              <a:rPr lang="zh-CN" altLang="nl-NL" i="0">
                <a:solidFill>
                  <a:schemeClr val="dk2"/>
                </a:solidFill>
              </a:rPr>
              <a:t>● </a:t>
            </a:r>
            <a:r>
              <a:rPr lang="zh-CN" altLang="nl-NL" i="0"/>
              <a:t>布鲁塞尔 </a:t>
            </a:r>
            <a:r>
              <a:rPr lang="zh-CN" altLang="nl-NL" i="0">
                <a:solidFill>
                  <a:schemeClr val="dk2"/>
                </a:solidFill>
              </a:rPr>
              <a:t>● </a:t>
            </a:r>
            <a:r>
              <a:rPr lang="zh-CN" altLang="nl-NL" i="0"/>
              <a:t>布达佩斯 </a:t>
            </a:r>
            <a:r>
              <a:rPr lang="zh-CN" altLang="nl-NL" i="0">
                <a:solidFill>
                  <a:schemeClr val="dk2"/>
                </a:solidFill>
              </a:rPr>
              <a:t>● </a:t>
            </a:r>
            <a:r>
              <a:rPr lang="zh-CN" altLang="nl-NL" i="0"/>
              <a:t>卡萨布兰卡 </a:t>
            </a:r>
            <a:r>
              <a:rPr lang="zh-CN" altLang="nl-NL" i="0">
                <a:solidFill>
                  <a:schemeClr val="dk2"/>
                </a:solidFill>
              </a:rPr>
              <a:t>● </a:t>
            </a:r>
            <a:r>
              <a:rPr lang="zh-CN" altLang="nl-NL" i="0"/>
              <a:t>哥本哈根 </a:t>
            </a:r>
            <a:r>
              <a:rPr lang="zh-CN" altLang="nl-NL" i="0">
                <a:solidFill>
                  <a:schemeClr val="dk2"/>
                </a:solidFill>
              </a:rPr>
              <a:t>● </a:t>
            </a:r>
            <a:r>
              <a:rPr lang="zh-CN" altLang="nl-NL" i="0"/>
              <a:t>迪拜 </a:t>
            </a:r>
            <a:r>
              <a:rPr lang="zh-CN" altLang="nl-NL" i="0">
                <a:solidFill>
                  <a:schemeClr val="dk2"/>
                </a:solidFill>
              </a:rPr>
              <a:t>● </a:t>
            </a:r>
            <a:r>
              <a:rPr lang="zh-CN" altLang="nl-NL" i="0"/>
              <a:t>都柏林 </a:t>
            </a:r>
            <a:r>
              <a:rPr lang="zh-CN" altLang="nl-NL" i="0">
                <a:solidFill>
                  <a:schemeClr val="dk2"/>
                </a:solidFill>
              </a:rPr>
              <a:t>● </a:t>
            </a:r>
            <a:r>
              <a:rPr lang="zh-CN" altLang="nl-NL" i="0"/>
              <a:t>杜塞尔多夫 </a:t>
            </a:r>
            <a:br>
              <a:rPr lang="zh-CN" altLang="nl-NL" i="0"/>
            </a:br>
            <a:r>
              <a:rPr lang="zh-CN" altLang="nl-NL" i="0">
                <a:solidFill>
                  <a:schemeClr val="dk2"/>
                </a:solidFill>
              </a:rPr>
              <a:t>● </a:t>
            </a:r>
            <a:r>
              <a:rPr lang="zh-CN" altLang="nl-NL" i="0"/>
              <a:t>法兰克福 </a:t>
            </a:r>
            <a:r>
              <a:rPr lang="zh-CN" altLang="nl-NL" i="0">
                <a:solidFill>
                  <a:schemeClr val="dk2"/>
                </a:solidFill>
              </a:rPr>
              <a:t>● </a:t>
            </a:r>
            <a:r>
              <a:rPr lang="zh-CN" altLang="nl-NL" i="0"/>
              <a:t>海牙 </a:t>
            </a:r>
            <a:r>
              <a:rPr lang="zh-CN" altLang="nl-NL" i="0">
                <a:solidFill>
                  <a:schemeClr val="dk2"/>
                </a:solidFill>
              </a:rPr>
              <a:t>● </a:t>
            </a:r>
            <a:r>
              <a:rPr lang="zh-CN" altLang="nl-NL" i="0"/>
              <a:t>汉堡 </a:t>
            </a:r>
            <a:r>
              <a:rPr lang="zh-CN" altLang="nl-NL" i="0">
                <a:solidFill>
                  <a:schemeClr val="dk2"/>
                </a:solidFill>
              </a:rPr>
              <a:t>● </a:t>
            </a:r>
            <a:r>
              <a:rPr lang="zh-CN" altLang="nl-NL" i="0"/>
              <a:t>赫尔辛基 </a:t>
            </a:r>
            <a:r>
              <a:rPr lang="zh-CN" altLang="nl-NL" i="0">
                <a:solidFill>
                  <a:schemeClr val="dk2"/>
                </a:solidFill>
              </a:rPr>
              <a:t>● </a:t>
            </a:r>
            <a:r>
              <a:rPr lang="zh-CN" altLang="nl-NL" i="0"/>
              <a:t>香港 </a:t>
            </a:r>
            <a:r>
              <a:rPr lang="zh-CN" altLang="nl-NL" i="0">
                <a:solidFill>
                  <a:schemeClr val="dk2"/>
                </a:solidFill>
              </a:rPr>
              <a:t>● </a:t>
            </a:r>
            <a:r>
              <a:rPr lang="zh-CN" altLang="nl-NL" i="0"/>
              <a:t>伦敦 </a:t>
            </a:r>
            <a:r>
              <a:rPr lang="zh-CN" altLang="nl-NL" i="0">
                <a:solidFill>
                  <a:schemeClr val="dk2"/>
                </a:solidFill>
              </a:rPr>
              <a:t>● </a:t>
            </a:r>
            <a:r>
              <a:rPr lang="zh-CN" altLang="nl-NL" i="0"/>
              <a:t>卢森堡 </a:t>
            </a:r>
            <a:r>
              <a:rPr lang="zh-CN" altLang="nl-NL" i="0">
                <a:solidFill>
                  <a:schemeClr val="dk2"/>
                </a:solidFill>
              </a:rPr>
              <a:t>● </a:t>
            </a:r>
            <a:r>
              <a:rPr lang="zh-CN" altLang="nl-NL" i="0"/>
              <a:t>里昂 </a:t>
            </a:r>
            <a:r>
              <a:rPr lang="zh-CN" altLang="nl-NL" i="0">
                <a:solidFill>
                  <a:schemeClr val="dk2"/>
                </a:solidFill>
              </a:rPr>
              <a:t>● </a:t>
            </a:r>
            <a:r>
              <a:rPr lang="zh-CN" altLang="nl-NL" i="0"/>
              <a:t>马德里 </a:t>
            </a:r>
            <a:r>
              <a:rPr lang="zh-CN" altLang="nl-NL" i="0">
                <a:solidFill>
                  <a:schemeClr val="dk2"/>
                </a:solidFill>
              </a:rPr>
              <a:t>● </a:t>
            </a:r>
            <a:r>
              <a:rPr lang="zh-CN" altLang="nl-NL" i="0"/>
              <a:t>米兰 </a:t>
            </a:r>
            <a:r>
              <a:rPr lang="zh-CN" altLang="nl-NL" i="0">
                <a:solidFill>
                  <a:schemeClr val="dk2"/>
                </a:solidFill>
              </a:rPr>
              <a:t>● </a:t>
            </a:r>
            <a:r>
              <a:rPr lang="zh-CN" altLang="nl-NL" i="0"/>
              <a:t>慕尼黑 </a:t>
            </a:r>
            <a:r>
              <a:rPr lang="zh-CN" altLang="nl-NL" i="0">
                <a:solidFill>
                  <a:schemeClr val="dk2"/>
                </a:solidFill>
              </a:rPr>
              <a:t>● </a:t>
            </a:r>
            <a:r>
              <a:rPr lang="zh-CN" altLang="nl-NL" i="0"/>
              <a:t>巴黎 </a:t>
            </a:r>
            <a:r>
              <a:rPr lang="zh-CN" altLang="nl-NL" i="0">
                <a:solidFill>
                  <a:schemeClr val="dk2"/>
                </a:solidFill>
              </a:rPr>
              <a:t>● </a:t>
            </a:r>
            <a:r>
              <a:rPr lang="zh-CN" altLang="nl-NL" i="0"/>
              <a:t>布拉格 </a:t>
            </a:r>
            <a:r>
              <a:rPr lang="zh-CN" altLang="nl-NL" i="0">
                <a:solidFill>
                  <a:schemeClr val="dk2"/>
                </a:solidFill>
              </a:rPr>
              <a:t>● </a:t>
            </a:r>
            <a:r>
              <a:rPr lang="zh-CN" altLang="nl-NL" i="0"/>
              <a:t>罗马</a:t>
            </a:r>
            <a:br>
              <a:rPr lang="zh-CN" altLang="nl-NL" i="0"/>
            </a:br>
            <a:r>
              <a:rPr lang="zh-CN" altLang="nl-NL" i="0">
                <a:solidFill>
                  <a:schemeClr val="dk2"/>
                </a:solidFill>
              </a:rPr>
              <a:t>● </a:t>
            </a:r>
            <a:r>
              <a:rPr lang="zh-CN" altLang="nl-NL" i="0"/>
              <a:t>旧金山 </a:t>
            </a:r>
            <a:r>
              <a:rPr lang="zh-CN" altLang="nl-NL" i="0">
                <a:solidFill>
                  <a:schemeClr val="dk2"/>
                </a:solidFill>
              </a:rPr>
              <a:t>● </a:t>
            </a:r>
            <a:r>
              <a:rPr lang="zh-CN" altLang="nl-NL" i="0"/>
              <a:t>上海 </a:t>
            </a:r>
            <a:r>
              <a:rPr lang="zh-CN" altLang="nl-NL" i="0">
                <a:solidFill>
                  <a:schemeClr val="dk2"/>
                </a:solidFill>
              </a:rPr>
              <a:t>● </a:t>
            </a:r>
            <a:r>
              <a:rPr lang="zh-CN" altLang="nl-NL" i="0"/>
              <a:t>新加坡 </a:t>
            </a:r>
            <a:r>
              <a:rPr lang="zh-CN" altLang="nl-NL" i="0">
                <a:solidFill>
                  <a:schemeClr val="dk2"/>
                </a:solidFill>
              </a:rPr>
              <a:t>● </a:t>
            </a:r>
            <a:r>
              <a:rPr lang="zh-CN" altLang="nl-NL" i="0"/>
              <a:t>斯德哥尔摩 </a:t>
            </a:r>
            <a:r>
              <a:rPr lang="zh-CN" altLang="nl-NL" i="0">
                <a:solidFill>
                  <a:schemeClr val="dk2"/>
                </a:solidFill>
              </a:rPr>
              <a:t>● </a:t>
            </a:r>
            <a:r>
              <a:rPr lang="zh-CN" altLang="nl-NL" i="0"/>
              <a:t>悉尼 </a:t>
            </a:r>
            <a:r>
              <a:rPr lang="zh-CN" altLang="nl-NL" i="0">
                <a:solidFill>
                  <a:schemeClr val="dk2"/>
                </a:solidFill>
              </a:rPr>
              <a:t>● </a:t>
            </a:r>
            <a:r>
              <a:rPr lang="zh-CN" altLang="nl-NL" i="0"/>
              <a:t>华沙</a:t>
            </a:r>
          </a:p>
          <a:p>
            <a:pPr lvl="2">
              <a:lnSpc>
                <a:spcPct val="100000"/>
              </a:lnSpc>
              <a:spcBef>
                <a:spcPts val="300"/>
              </a:spcBef>
              <a:spcAft>
                <a:spcPts val="0"/>
              </a:spcAft>
            </a:pPr>
            <a:r>
              <a:rPr lang="zh-CN" altLang="nl-NL"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nl-NL"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nl-NL"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nl-NL" sz="800" i="0" kern="800" spc="-10">
                <a:latin typeface="+mn-lt"/>
              </a:rPr>
              <a:t>鸿鹄律师事务所是在英格兰和威尔士注册的一家有限责任合伙企业，注册号</a:t>
            </a:r>
            <a:r>
              <a:rPr lang="nl-NL" altLang="zh-CN" sz="800" i="0" kern="800" spc="-10">
                <a:latin typeface="+mn-lt"/>
              </a:rPr>
              <a:t>OC340318</a:t>
            </a:r>
            <a:r>
              <a:rPr lang="zh-CN" altLang="nl-NL" sz="800" i="0" kern="800" spc="-10">
                <a:latin typeface="+mn-lt"/>
              </a:rPr>
              <a:t>，经律师监管局 </a:t>
            </a:r>
            <a:r>
              <a:rPr lang="nl-NL" altLang="zh-CN" sz="800" i="0" kern="800" spc="-10">
                <a:latin typeface="+mn-lt"/>
              </a:rPr>
              <a:t>(Solicitors Regulation Authority) </a:t>
            </a:r>
            <a:r>
              <a:rPr lang="zh-CN" altLang="nl-NL" sz="800" i="0" kern="800" spc="-10">
                <a:latin typeface="+mn-lt"/>
              </a:rPr>
              <a:t>授权并受其监管，编号为</a:t>
            </a:r>
            <a:r>
              <a:rPr lang="nl-NL" altLang="zh-CN" sz="800" i="0" kern="800" spc="-10">
                <a:latin typeface="+mn-lt"/>
              </a:rPr>
              <a:t>497264</a:t>
            </a:r>
            <a:r>
              <a:rPr lang="zh-CN" altLang="nl-NL" sz="800" i="0" kern="800" spc="-10">
                <a:latin typeface="+mn-lt"/>
              </a:rPr>
              <a:t>，注册办公室及主要营业地位于伦敦</a:t>
            </a:r>
            <a:r>
              <a:rPr lang="nl-NL" altLang="zh-CN" sz="800" i="0" kern="800" spc="-10">
                <a:latin typeface="+mn-lt"/>
              </a:rPr>
              <a:t>12 New Fetter Lane</a:t>
            </a:r>
            <a:r>
              <a:rPr lang="zh-CN" altLang="nl-NL" sz="800" i="0" kern="800" spc="-10">
                <a:latin typeface="+mn-lt"/>
              </a:rPr>
              <a:t>，</a:t>
            </a:r>
            <a:r>
              <a:rPr lang="nl-NL" altLang="zh-CN" sz="800" i="0" kern="800" spc="-10">
                <a:latin typeface="+mn-lt"/>
              </a:rPr>
              <a:t>EC4A1JP</a:t>
            </a:r>
            <a:r>
              <a:rPr lang="zh-CN" altLang="nl-NL"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17100270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2">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04FC684B-9B4A-4FDA-AD5A-E5DA3CF560DD}"/>
              </a:ext>
            </a:extLst>
          </p:cNvPr>
          <p:cNvGrpSpPr/>
          <p:nvPr userDrawn="1"/>
        </p:nvGrpSpPr>
        <p:grpSpPr>
          <a:xfrm>
            <a:off x="-1143" y="3151164"/>
            <a:ext cx="6006773" cy="266725"/>
            <a:chOff x="-1143" y="3151164"/>
            <a:chExt cx="6006773" cy="266725"/>
          </a:xfrm>
        </p:grpSpPr>
        <p:sp>
          <p:nvSpPr>
            <p:cNvPr id="7" name="Freeform: Shape 6">
              <a:extLst>
                <a:ext uri="{FF2B5EF4-FFF2-40B4-BE49-F238E27FC236}">
                  <a16:creationId xmlns:a16="http://schemas.microsoft.com/office/drawing/2014/main" id="{5D4031D4-7972-416B-9488-E5FD790CDC76}"/>
                </a:ext>
              </a:extLst>
            </p:cNvPr>
            <p:cNvSpPr/>
            <p:nvPr/>
          </p:nvSpPr>
          <p:spPr>
            <a:xfrm>
              <a:off x="2199846" y="3151164"/>
              <a:ext cx="3805784" cy="266725"/>
            </a:xfrm>
            <a:custGeom>
              <a:avLst/>
              <a:gdLst>
                <a:gd name="connsiteX0" fmla="*/ 3672422 w 3805784"/>
                <a:gd name="connsiteY0" fmla="*/ 266725 h 266725"/>
                <a:gd name="connsiteX1" fmla="*/ 133363 w 3805784"/>
                <a:gd name="connsiteY1" fmla="*/ 266725 h 266725"/>
                <a:gd name="connsiteX2" fmla="*/ 0 w 3805784"/>
                <a:gd name="connsiteY2" fmla="*/ 133363 h 266725"/>
                <a:gd name="connsiteX3" fmla="*/ 133363 w 3805784"/>
                <a:gd name="connsiteY3" fmla="*/ 0 h 266725"/>
                <a:gd name="connsiteX4" fmla="*/ 3672422 w 3805784"/>
                <a:gd name="connsiteY4" fmla="*/ 0 h 266725"/>
                <a:gd name="connsiteX5" fmla="*/ 3805785 w 3805784"/>
                <a:gd name="connsiteY5" fmla="*/ 133363 h 266725"/>
                <a:gd name="connsiteX6" fmla="*/ 3672422 w 3805784"/>
                <a:gd name="connsiteY6" fmla="*/ 266725 h 2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784" h="266725">
                  <a:moveTo>
                    <a:pt x="3672422" y="266725"/>
                  </a:moveTo>
                  <a:lnTo>
                    <a:pt x="133363" y="266725"/>
                  </a:lnTo>
                  <a:cubicBezTo>
                    <a:pt x="59708" y="266725"/>
                    <a:pt x="0" y="207016"/>
                    <a:pt x="0" y="133363"/>
                  </a:cubicBezTo>
                  <a:cubicBezTo>
                    <a:pt x="0" y="59708"/>
                    <a:pt x="59708" y="0"/>
                    <a:pt x="133363" y="0"/>
                  </a:cubicBezTo>
                  <a:lnTo>
                    <a:pt x="3672422" y="0"/>
                  </a:lnTo>
                  <a:cubicBezTo>
                    <a:pt x="3746076" y="0"/>
                    <a:pt x="3805785" y="59708"/>
                    <a:pt x="3805785" y="133363"/>
                  </a:cubicBezTo>
                  <a:cubicBezTo>
                    <a:pt x="3805785" y="207016"/>
                    <a:pt x="3746076" y="266725"/>
                    <a:pt x="3672422" y="266725"/>
                  </a:cubicBezTo>
                  <a:close/>
                </a:path>
              </a:pathLst>
            </a:custGeom>
            <a:solidFill>
              <a:schemeClr val="tx2"/>
            </a:solidFill>
            <a:ln w="1270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9D659ED3-A38A-4C5E-9EA9-5359317A1A2D}"/>
                </a:ext>
              </a:extLst>
            </p:cNvPr>
            <p:cNvSpPr/>
            <p:nvPr/>
          </p:nvSpPr>
          <p:spPr>
            <a:xfrm>
              <a:off x="-1143" y="3151164"/>
              <a:ext cx="3273859" cy="266725"/>
            </a:xfrm>
            <a:custGeom>
              <a:avLst/>
              <a:gdLst>
                <a:gd name="connsiteX0" fmla="*/ 3273859 w 3273859"/>
                <a:gd name="connsiteY0" fmla="*/ 133363 h 266725"/>
                <a:gd name="connsiteX1" fmla="*/ 3140497 w 3273859"/>
                <a:gd name="connsiteY1" fmla="*/ 0 h 266725"/>
                <a:gd name="connsiteX2" fmla="*/ 0 w 3273859"/>
                <a:gd name="connsiteY2" fmla="*/ 0 h 266725"/>
                <a:gd name="connsiteX3" fmla="*/ 0 w 3273859"/>
                <a:gd name="connsiteY3" fmla="*/ 266725 h 266725"/>
                <a:gd name="connsiteX4" fmla="*/ 3140496 w 3273859"/>
                <a:gd name="connsiteY4" fmla="*/ 266725 h 266725"/>
                <a:gd name="connsiteX5" fmla="*/ 3273859 w 3273859"/>
                <a:gd name="connsiteY5" fmla="*/ 133363 h 2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859" h="266725">
                  <a:moveTo>
                    <a:pt x="3273859" y="133363"/>
                  </a:moveTo>
                  <a:cubicBezTo>
                    <a:pt x="3273859" y="59708"/>
                    <a:pt x="3214151" y="0"/>
                    <a:pt x="3140497" y="0"/>
                  </a:cubicBezTo>
                  <a:lnTo>
                    <a:pt x="0" y="0"/>
                  </a:lnTo>
                  <a:lnTo>
                    <a:pt x="0" y="266725"/>
                  </a:lnTo>
                  <a:lnTo>
                    <a:pt x="3140496" y="266725"/>
                  </a:lnTo>
                  <a:cubicBezTo>
                    <a:pt x="3214151" y="266725"/>
                    <a:pt x="3273859" y="207016"/>
                    <a:pt x="3273859" y="133363"/>
                  </a:cubicBezTo>
                  <a:close/>
                </a:path>
              </a:pathLst>
            </a:custGeom>
            <a:solidFill>
              <a:schemeClr val="accent1"/>
            </a:solidFill>
            <a:ln w="12700" cap="flat">
              <a:noFill/>
              <a:prstDash val="solid"/>
              <a:miter/>
            </a:ln>
          </p:spPr>
          <p:txBody>
            <a:bodyPr rtlCol="0" anchor="ctr"/>
            <a:lstStyle/>
            <a:p>
              <a:endParaRPr lang="en-GB"/>
            </a:p>
          </p:txBody>
        </p:sp>
      </p:grpSp>
      <p:sp>
        <p:nvSpPr>
          <p:cNvPr id="25" name="Company string">
            <a:extLst>
              <a:ext uri="{FF2B5EF4-FFF2-40B4-BE49-F238E27FC236}">
                <a16:creationId xmlns:a16="http://schemas.microsoft.com/office/drawing/2014/main" id="{74AE327E-BE78-44B5-802A-9526B798AEA9}"/>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nl-NL" altLang="zh-CN" i="0"/>
              <a:t>twobirds.com</a:t>
            </a:r>
          </a:p>
          <a:p>
            <a:pPr lvl="1">
              <a:spcAft>
                <a:spcPts val="1800"/>
              </a:spcAft>
            </a:pPr>
            <a:r>
              <a:rPr lang="zh-CN" altLang="nl-NL" i="0"/>
              <a:t>阿姆斯特丹 </a:t>
            </a:r>
            <a:r>
              <a:rPr lang="zh-CN" altLang="nl-NL" i="0">
                <a:solidFill>
                  <a:schemeClr val="dk2"/>
                </a:solidFill>
              </a:rPr>
              <a:t>● </a:t>
            </a:r>
            <a:r>
              <a:rPr lang="zh-CN" altLang="nl-NL" i="0"/>
              <a:t>阿布扎比 </a:t>
            </a:r>
            <a:r>
              <a:rPr lang="zh-CN" altLang="nl-NL" i="0">
                <a:solidFill>
                  <a:schemeClr val="dk2"/>
                </a:solidFill>
              </a:rPr>
              <a:t>● </a:t>
            </a:r>
            <a:r>
              <a:rPr lang="zh-CN" altLang="nl-NL" i="0"/>
              <a:t>北京 </a:t>
            </a:r>
            <a:r>
              <a:rPr lang="zh-CN" altLang="nl-NL" i="0">
                <a:solidFill>
                  <a:schemeClr val="dk2"/>
                </a:solidFill>
              </a:rPr>
              <a:t>● </a:t>
            </a:r>
            <a:r>
              <a:rPr lang="zh-CN" altLang="nl-NL" i="0"/>
              <a:t>布拉迪斯拉发 </a:t>
            </a:r>
            <a:r>
              <a:rPr lang="zh-CN" altLang="nl-NL" i="0">
                <a:solidFill>
                  <a:schemeClr val="dk2"/>
                </a:solidFill>
              </a:rPr>
              <a:t>● </a:t>
            </a:r>
            <a:r>
              <a:rPr lang="zh-CN" altLang="nl-NL" i="0"/>
              <a:t>布鲁塞尔 </a:t>
            </a:r>
            <a:r>
              <a:rPr lang="zh-CN" altLang="nl-NL" i="0">
                <a:solidFill>
                  <a:schemeClr val="dk2"/>
                </a:solidFill>
              </a:rPr>
              <a:t>● </a:t>
            </a:r>
            <a:r>
              <a:rPr lang="zh-CN" altLang="nl-NL" i="0"/>
              <a:t>布达佩斯 </a:t>
            </a:r>
            <a:r>
              <a:rPr lang="zh-CN" altLang="nl-NL" i="0">
                <a:solidFill>
                  <a:schemeClr val="dk2"/>
                </a:solidFill>
              </a:rPr>
              <a:t>● </a:t>
            </a:r>
            <a:r>
              <a:rPr lang="zh-CN" altLang="nl-NL" i="0"/>
              <a:t>卡萨布兰卡 </a:t>
            </a:r>
            <a:r>
              <a:rPr lang="zh-CN" altLang="nl-NL" i="0">
                <a:solidFill>
                  <a:schemeClr val="dk2"/>
                </a:solidFill>
              </a:rPr>
              <a:t>● </a:t>
            </a:r>
            <a:r>
              <a:rPr lang="zh-CN" altLang="nl-NL" i="0"/>
              <a:t>哥本哈根 </a:t>
            </a:r>
            <a:r>
              <a:rPr lang="zh-CN" altLang="nl-NL" i="0">
                <a:solidFill>
                  <a:schemeClr val="dk2"/>
                </a:solidFill>
              </a:rPr>
              <a:t>● </a:t>
            </a:r>
            <a:r>
              <a:rPr lang="zh-CN" altLang="nl-NL" i="0"/>
              <a:t>迪拜 </a:t>
            </a:r>
            <a:r>
              <a:rPr lang="zh-CN" altLang="nl-NL" i="0">
                <a:solidFill>
                  <a:schemeClr val="dk2"/>
                </a:solidFill>
              </a:rPr>
              <a:t>● </a:t>
            </a:r>
            <a:r>
              <a:rPr lang="zh-CN" altLang="nl-NL" i="0"/>
              <a:t>都柏林 </a:t>
            </a:r>
            <a:r>
              <a:rPr lang="zh-CN" altLang="nl-NL" i="0">
                <a:solidFill>
                  <a:schemeClr val="dk2"/>
                </a:solidFill>
              </a:rPr>
              <a:t>● </a:t>
            </a:r>
            <a:r>
              <a:rPr lang="zh-CN" altLang="nl-NL" i="0"/>
              <a:t>杜塞尔多夫 </a:t>
            </a:r>
            <a:br>
              <a:rPr lang="zh-CN" altLang="nl-NL" i="0"/>
            </a:br>
            <a:r>
              <a:rPr lang="zh-CN" altLang="nl-NL" i="0">
                <a:solidFill>
                  <a:schemeClr val="dk2"/>
                </a:solidFill>
              </a:rPr>
              <a:t>● </a:t>
            </a:r>
            <a:r>
              <a:rPr lang="zh-CN" altLang="nl-NL" i="0"/>
              <a:t>法兰克福 </a:t>
            </a:r>
            <a:r>
              <a:rPr lang="zh-CN" altLang="nl-NL" i="0">
                <a:solidFill>
                  <a:schemeClr val="dk2"/>
                </a:solidFill>
              </a:rPr>
              <a:t>● </a:t>
            </a:r>
            <a:r>
              <a:rPr lang="zh-CN" altLang="nl-NL" i="0"/>
              <a:t>海牙 </a:t>
            </a:r>
            <a:r>
              <a:rPr lang="zh-CN" altLang="nl-NL" i="0">
                <a:solidFill>
                  <a:schemeClr val="dk2"/>
                </a:solidFill>
              </a:rPr>
              <a:t>● </a:t>
            </a:r>
            <a:r>
              <a:rPr lang="zh-CN" altLang="nl-NL" i="0"/>
              <a:t>汉堡 </a:t>
            </a:r>
            <a:r>
              <a:rPr lang="zh-CN" altLang="nl-NL" i="0">
                <a:solidFill>
                  <a:schemeClr val="dk2"/>
                </a:solidFill>
              </a:rPr>
              <a:t>● </a:t>
            </a:r>
            <a:r>
              <a:rPr lang="zh-CN" altLang="nl-NL" i="0"/>
              <a:t>赫尔辛基 </a:t>
            </a:r>
            <a:r>
              <a:rPr lang="zh-CN" altLang="nl-NL" i="0">
                <a:solidFill>
                  <a:schemeClr val="dk2"/>
                </a:solidFill>
              </a:rPr>
              <a:t>● </a:t>
            </a:r>
            <a:r>
              <a:rPr lang="zh-CN" altLang="nl-NL" i="0"/>
              <a:t>香港 </a:t>
            </a:r>
            <a:r>
              <a:rPr lang="zh-CN" altLang="nl-NL" i="0">
                <a:solidFill>
                  <a:schemeClr val="dk2"/>
                </a:solidFill>
              </a:rPr>
              <a:t>● </a:t>
            </a:r>
            <a:r>
              <a:rPr lang="zh-CN" altLang="nl-NL" i="0"/>
              <a:t>伦敦 </a:t>
            </a:r>
            <a:r>
              <a:rPr lang="zh-CN" altLang="nl-NL" i="0">
                <a:solidFill>
                  <a:schemeClr val="dk2"/>
                </a:solidFill>
              </a:rPr>
              <a:t>● </a:t>
            </a:r>
            <a:r>
              <a:rPr lang="zh-CN" altLang="nl-NL" i="0"/>
              <a:t>卢森堡 </a:t>
            </a:r>
            <a:r>
              <a:rPr lang="zh-CN" altLang="nl-NL" i="0">
                <a:solidFill>
                  <a:schemeClr val="dk2"/>
                </a:solidFill>
              </a:rPr>
              <a:t>● </a:t>
            </a:r>
            <a:r>
              <a:rPr lang="zh-CN" altLang="nl-NL" i="0"/>
              <a:t>里昂 </a:t>
            </a:r>
            <a:r>
              <a:rPr lang="zh-CN" altLang="nl-NL" i="0">
                <a:solidFill>
                  <a:schemeClr val="dk2"/>
                </a:solidFill>
              </a:rPr>
              <a:t>● </a:t>
            </a:r>
            <a:r>
              <a:rPr lang="zh-CN" altLang="nl-NL" i="0"/>
              <a:t>马德里 </a:t>
            </a:r>
            <a:r>
              <a:rPr lang="zh-CN" altLang="nl-NL" i="0">
                <a:solidFill>
                  <a:schemeClr val="dk2"/>
                </a:solidFill>
              </a:rPr>
              <a:t>● </a:t>
            </a:r>
            <a:r>
              <a:rPr lang="zh-CN" altLang="nl-NL" i="0"/>
              <a:t>米兰 </a:t>
            </a:r>
            <a:r>
              <a:rPr lang="zh-CN" altLang="nl-NL" i="0">
                <a:solidFill>
                  <a:schemeClr val="dk2"/>
                </a:solidFill>
              </a:rPr>
              <a:t>● </a:t>
            </a:r>
            <a:r>
              <a:rPr lang="zh-CN" altLang="nl-NL" i="0"/>
              <a:t>慕尼黑 </a:t>
            </a:r>
            <a:r>
              <a:rPr lang="zh-CN" altLang="nl-NL" i="0">
                <a:solidFill>
                  <a:schemeClr val="dk2"/>
                </a:solidFill>
              </a:rPr>
              <a:t>● </a:t>
            </a:r>
            <a:r>
              <a:rPr lang="zh-CN" altLang="nl-NL" i="0"/>
              <a:t>巴黎 </a:t>
            </a:r>
            <a:r>
              <a:rPr lang="zh-CN" altLang="nl-NL" i="0">
                <a:solidFill>
                  <a:schemeClr val="dk2"/>
                </a:solidFill>
              </a:rPr>
              <a:t>● </a:t>
            </a:r>
            <a:r>
              <a:rPr lang="zh-CN" altLang="nl-NL" i="0"/>
              <a:t>布拉格 </a:t>
            </a:r>
            <a:r>
              <a:rPr lang="zh-CN" altLang="nl-NL" i="0">
                <a:solidFill>
                  <a:schemeClr val="dk2"/>
                </a:solidFill>
              </a:rPr>
              <a:t>● </a:t>
            </a:r>
            <a:r>
              <a:rPr lang="zh-CN" altLang="nl-NL" i="0"/>
              <a:t>罗马</a:t>
            </a:r>
            <a:br>
              <a:rPr lang="zh-CN" altLang="nl-NL" i="0"/>
            </a:br>
            <a:r>
              <a:rPr lang="zh-CN" altLang="nl-NL" i="0">
                <a:solidFill>
                  <a:schemeClr val="dk2"/>
                </a:solidFill>
              </a:rPr>
              <a:t>● </a:t>
            </a:r>
            <a:r>
              <a:rPr lang="zh-CN" altLang="nl-NL" i="0"/>
              <a:t>旧金山 </a:t>
            </a:r>
            <a:r>
              <a:rPr lang="zh-CN" altLang="nl-NL" i="0">
                <a:solidFill>
                  <a:schemeClr val="dk2"/>
                </a:solidFill>
              </a:rPr>
              <a:t>● </a:t>
            </a:r>
            <a:r>
              <a:rPr lang="zh-CN" altLang="nl-NL" i="0"/>
              <a:t>上海 </a:t>
            </a:r>
            <a:r>
              <a:rPr lang="zh-CN" altLang="nl-NL" i="0">
                <a:solidFill>
                  <a:schemeClr val="dk2"/>
                </a:solidFill>
              </a:rPr>
              <a:t>● </a:t>
            </a:r>
            <a:r>
              <a:rPr lang="zh-CN" altLang="nl-NL" i="0"/>
              <a:t>新加坡 </a:t>
            </a:r>
            <a:r>
              <a:rPr lang="zh-CN" altLang="nl-NL" i="0">
                <a:solidFill>
                  <a:schemeClr val="dk2"/>
                </a:solidFill>
              </a:rPr>
              <a:t>● </a:t>
            </a:r>
            <a:r>
              <a:rPr lang="zh-CN" altLang="nl-NL" i="0"/>
              <a:t>斯德哥尔摩 </a:t>
            </a:r>
            <a:r>
              <a:rPr lang="zh-CN" altLang="nl-NL" i="0">
                <a:solidFill>
                  <a:schemeClr val="dk2"/>
                </a:solidFill>
              </a:rPr>
              <a:t>● </a:t>
            </a:r>
            <a:r>
              <a:rPr lang="zh-CN" altLang="nl-NL" i="0"/>
              <a:t>悉尼 </a:t>
            </a:r>
            <a:r>
              <a:rPr lang="zh-CN" altLang="nl-NL" i="0">
                <a:solidFill>
                  <a:schemeClr val="dk2"/>
                </a:solidFill>
              </a:rPr>
              <a:t>● </a:t>
            </a:r>
            <a:r>
              <a:rPr lang="zh-CN" altLang="nl-NL" i="0"/>
              <a:t>华沙</a:t>
            </a:r>
          </a:p>
          <a:p>
            <a:pPr lvl="2">
              <a:lnSpc>
                <a:spcPct val="100000"/>
              </a:lnSpc>
              <a:spcBef>
                <a:spcPts val="300"/>
              </a:spcBef>
              <a:spcAft>
                <a:spcPts val="0"/>
              </a:spcAft>
            </a:pPr>
            <a:r>
              <a:rPr lang="zh-CN" altLang="nl-NL"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nl-NL"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nl-NL"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nl-NL" sz="800" i="0" kern="800" spc="-10">
                <a:latin typeface="+mn-lt"/>
              </a:rPr>
              <a:t>鸿鹄律师事务所是在英格兰和威尔士注册的一家有限责任合伙企业，注册号</a:t>
            </a:r>
            <a:r>
              <a:rPr lang="nl-NL" altLang="zh-CN" sz="800" i="0" kern="800" spc="-10">
                <a:latin typeface="+mn-lt"/>
              </a:rPr>
              <a:t>OC340318</a:t>
            </a:r>
            <a:r>
              <a:rPr lang="zh-CN" altLang="nl-NL" sz="800" i="0" kern="800" spc="-10">
                <a:latin typeface="+mn-lt"/>
              </a:rPr>
              <a:t>，经律师监管局 </a:t>
            </a:r>
            <a:r>
              <a:rPr lang="nl-NL" altLang="zh-CN" sz="800" i="0" kern="800" spc="-10">
                <a:latin typeface="+mn-lt"/>
              </a:rPr>
              <a:t>(Solicitors Regulation Authority) </a:t>
            </a:r>
            <a:r>
              <a:rPr lang="zh-CN" altLang="nl-NL" sz="800" i="0" kern="800" spc="-10">
                <a:latin typeface="+mn-lt"/>
              </a:rPr>
              <a:t>授权并受其监管，编号为</a:t>
            </a:r>
            <a:r>
              <a:rPr lang="nl-NL" altLang="zh-CN" sz="800" i="0" kern="800" spc="-10">
                <a:latin typeface="+mn-lt"/>
              </a:rPr>
              <a:t>497264</a:t>
            </a:r>
            <a:r>
              <a:rPr lang="zh-CN" altLang="nl-NL" sz="800" i="0" kern="800" spc="-10">
                <a:latin typeface="+mn-lt"/>
              </a:rPr>
              <a:t>，注册办公室及主要营业地位于伦敦</a:t>
            </a:r>
            <a:r>
              <a:rPr lang="nl-NL" altLang="zh-CN" sz="800" i="0" kern="800" spc="-10">
                <a:latin typeface="+mn-lt"/>
              </a:rPr>
              <a:t>12 New Fetter Lane</a:t>
            </a:r>
            <a:r>
              <a:rPr lang="zh-CN" altLang="nl-NL" sz="800" i="0" kern="800" spc="-10">
                <a:latin typeface="+mn-lt"/>
              </a:rPr>
              <a:t>，</a:t>
            </a:r>
            <a:r>
              <a:rPr lang="nl-NL" altLang="zh-CN" sz="800" i="0" kern="800" spc="-10">
                <a:latin typeface="+mn-lt"/>
              </a:rPr>
              <a:t>EC4A1JP</a:t>
            </a:r>
            <a:r>
              <a:rPr lang="zh-CN" altLang="nl-NL"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309764396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3">
    <p:bg>
      <p:bgPr>
        <a:solidFill>
          <a:schemeClr val="accent6"/>
        </a:solidFill>
        <a:effectLst/>
      </p:bgPr>
    </p:bg>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68A69791-8F66-4248-B4BD-5CAA959AAC5B}"/>
              </a:ext>
            </a:extLst>
          </p:cNvPr>
          <p:cNvSpPr>
            <a:spLocks noGrp="1" noChangeAspect="1"/>
          </p:cNvSpPr>
          <p:nvPr>
            <p:ph type="pic" sz="quarter" idx="22"/>
          </p:nvPr>
        </p:nvSpPr>
        <p:spPr>
          <a:xfrm>
            <a:off x="6190039" y="719137"/>
            <a:ext cx="1641476" cy="1125159"/>
          </a:xfrm>
          <a:solidFill>
            <a:schemeClr val="bg2"/>
          </a:solidFill>
        </p:spPr>
        <p:txBody>
          <a:bodyPr/>
          <a:lstStyle/>
          <a:p>
            <a:r>
              <a:rPr lang="en-US"/>
              <a:t>Click icon to add picture</a:t>
            </a:r>
            <a:endParaRPr lang="en-GB" dirty="0"/>
          </a:p>
        </p:txBody>
      </p:sp>
      <p:sp>
        <p:nvSpPr>
          <p:cNvPr id="13" name="Name Placeholder 2">
            <a:extLst>
              <a:ext uri="{FF2B5EF4-FFF2-40B4-BE49-F238E27FC236}">
                <a16:creationId xmlns:a16="http://schemas.microsoft.com/office/drawing/2014/main" id="{AC03517A-2D8A-4F28-A43C-F4ED7F227273}"/>
              </a:ext>
            </a:extLst>
          </p:cNvPr>
          <p:cNvSpPr>
            <a:spLocks noGrp="1"/>
          </p:cNvSpPr>
          <p:nvPr>
            <p:ph type="body" sz="quarter" idx="23" hasCustomPrompt="1"/>
          </p:nvPr>
        </p:nvSpPr>
        <p:spPr>
          <a:xfrm>
            <a:off x="8004819"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14" name="Job Title 2">
            <a:extLst>
              <a:ext uri="{FF2B5EF4-FFF2-40B4-BE49-F238E27FC236}">
                <a16:creationId xmlns:a16="http://schemas.microsoft.com/office/drawing/2014/main" id="{3BED7B0B-FE39-4205-BCA3-898609E38CEB}"/>
              </a:ext>
            </a:extLst>
          </p:cNvPr>
          <p:cNvSpPr>
            <a:spLocks noGrp="1"/>
          </p:cNvSpPr>
          <p:nvPr>
            <p:ph type="body" sz="quarter" idx="24" hasCustomPrompt="1"/>
          </p:nvPr>
        </p:nvSpPr>
        <p:spPr>
          <a:xfrm>
            <a:off x="8004819"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15" name="Contact Details 2">
            <a:extLst>
              <a:ext uri="{FF2B5EF4-FFF2-40B4-BE49-F238E27FC236}">
                <a16:creationId xmlns:a16="http://schemas.microsoft.com/office/drawing/2014/main" id="{5075BC6D-C433-4358-B7E8-3CC989F09281}"/>
              </a:ext>
            </a:extLst>
          </p:cNvPr>
          <p:cNvSpPr>
            <a:spLocks noGrp="1"/>
          </p:cNvSpPr>
          <p:nvPr>
            <p:ph type="body" sz="quarter" idx="25" hasCustomPrompt="1"/>
          </p:nvPr>
        </p:nvSpPr>
        <p:spPr>
          <a:xfrm>
            <a:off x="8004819"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7" name="Picture Placeholder 1">
            <a:extLst>
              <a:ext uri="{FF2B5EF4-FFF2-40B4-BE49-F238E27FC236}">
                <a16:creationId xmlns:a16="http://schemas.microsoft.com/office/drawing/2014/main" id="{D094FB97-A611-4A6A-976C-667002DA3AF2}"/>
              </a:ext>
            </a:extLst>
          </p:cNvPr>
          <p:cNvSpPr>
            <a:spLocks noGrp="1" noChangeAspect="1"/>
          </p:cNvSpPr>
          <p:nvPr>
            <p:ph type="pic" sz="quarter" idx="18"/>
          </p:nvPr>
        </p:nvSpPr>
        <p:spPr>
          <a:xfrm>
            <a:off x="719137" y="719137"/>
            <a:ext cx="1641476" cy="1125159"/>
          </a:xfrm>
          <a:solidFill>
            <a:schemeClr val="bg2"/>
          </a:solidFill>
        </p:spPr>
        <p:txBody>
          <a:bodyPr/>
          <a:lstStyle/>
          <a:p>
            <a:r>
              <a:rPr lang="en-US"/>
              <a:t>Click icon to add picture</a:t>
            </a:r>
            <a:endParaRPr lang="en-GB" dirty="0"/>
          </a:p>
        </p:txBody>
      </p:sp>
      <p:sp>
        <p:nvSpPr>
          <p:cNvPr id="48" name="Name Placeholder 1">
            <a:extLst>
              <a:ext uri="{FF2B5EF4-FFF2-40B4-BE49-F238E27FC236}">
                <a16:creationId xmlns:a16="http://schemas.microsoft.com/office/drawing/2014/main" id="{234477CA-2216-46EC-85FB-45BFC31BDFFC}"/>
              </a:ext>
            </a:extLst>
          </p:cNvPr>
          <p:cNvSpPr>
            <a:spLocks noGrp="1"/>
          </p:cNvSpPr>
          <p:nvPr>
            <p:ph type="body" sz="quarter" idx="19" hasCustomPrompt="1"/>
          </p:nvPr>
        </p:nvSpPr>
        <p:spPr>
          <a:xfrm>
            <a:off x="2549713"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9" name="Job Title 1">
            <a:extLst>
              <a:ext uri="{FF2B5EF4-FFF2-40B4-BE49-F238E27FC236}">
                <a16:creationId xmlns:a16="http://schemas.microsoft.com/office/drawing/2014/main" id="{DE1173B7-7D1B-41AC-A56A-5CAB2050BF21}"/>
              </a:ext>
            </a:extLst>
          </p:cNvPr>
          <p:cNvSpPr>
            <a:spLocks noGrp="1"/>
          </p:cNvSpPr>
          <p:nvPr>
            <p:ph type="body" sz="quarter" idx="20" hasCustomPrompt="1"/>
          </p:nvPr>
        </p:nvSpPr>
        <p:spPr>
          <a:xfrm>
            <a:off x="2549713"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0" name="Contact Details 1">
            <a:extLst>
              <a:ext uri="{FF2B5EF4-FFF2-40B4-BE49-F238E27FC236}">
                <a16:creationId xmlns:a16="http://schemas.microsoft.com/office/drawing/2014/main" id="{2CB3E333-E395-401C-84C4-710A919D98F0}"/>
              </a:ext>
            </a:extLst>
          </p:cNvPr>
          <p:cNvSpPr>
            <a:spLocks noGrp="1"/>
          </p:cNvSpPr>
          <p:nvPr>
            <p:ph type="body" sz="quarter" idx="21" hasCustomPrompt="1"/>
          </p:nvPr>
        </p:nvSpPr>
        <p:spPr>
          <a:xfrm>
            <a:off x="2549713"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23" name="Company string">
            <a:extLst>
              <a:ext uri="{FF2B5EF4-FFF2-40B4-BE49-F238E27FC236}">
                <a16:creationId xmlns:a16="http://schemas.microsoft.com/office/drawing/2014/main" id="{D5E9259D-4B74-4885-BACA-341C27531D1C}"/>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nl-NL" altLang="zh-CN" i="0"/>
              <a:t>twobirds.com</a:t>
            </a:r>
          </a:p>
          <a:p>
            <a:pPr lvl="1">
              <a:spcAft>
                <a:spcPts val="1800"/>
              </a:spcAft>
            </a:pPr>
            <a:r>
              <a:rPr lang="zh-CN" altLang="nl-NL" i="0"/>
              <a:t>阿姆斯特丹 </a:t>
            </a:r>
            <a:r>
              <a:rPr lang="zh-CN" altLang="nl-NL" i="0">
                <a:solidFill>
                  <a:schemeClr val="dk2"/>
                </a:solidFill>
              </a:rPr>
              <a:t>● </a:t>
            </a:r>
            <a:r>
              <a:rPr lang="zh-CN" altLang="nl-NL" i="0"/>
              <a:t>阿布扎比 </a:t>
            </a:r>
            <a:r>
              <a:rPr lang="zh-CN" altLang="nl-NL" i="0">
                <a:solidFill>
                  <a:schemeClr val="dk2"/>
                </a:solidFill>
              </a:rPr>
              <a:t>● </a:t>
            </a:r>
            <a:r>
              <a:rPr lang="zh-CN" altLang="nl-NL" i="0"/>
              <a:t>北京 </a:t>
            </a:r>
            <a:r>
              <a:rPr lang="zh-CN" altLang="nl-NL" i="0">
                <a:solidFill>
                  <a:schemeClr val="dk2"/>
                </a:solidFill>
              </a:rPr>
              <a:t>● </a:t>
            </a:r>
            <a:r>
              <a:rPr lang="zh-CN" altLang="nl-NL" i="0"/>
              <a:t>布拉迪斯拉发 </a:t>
            </a:r>
            <a:r>
              <a:rPr lang="zh-CN" altLang="nl-NL" i="0">
                <a:solidFill>
                  <a:schemeClr val="dk2"/>
                </a:solidFill>
              </a:rPr>
              <a:t>● </a:t>
            </a:r>
            <a:r>
              <a:rPr lang="zh-CN" altLang="nl-NL" i="0"/>
              <a:t>布鲁塞尔 </a:t>
            </a:r>
            <a:r>
              <a:rPr lang="zh-CN" altLang="nl-NL" i="0">
                <a:solidFill>
                  <a:schemeClr val="dk2"/>
                </a:solidFill>
              </a:rPr>
              <a:t>● </a:t>
            </a:r>
            <a:r>
              <a:rPr lang="zh-CN" altLang="nl-NL" i="0"/>
              <a:t>布达佩斯 </a:t>
            </a:r>
            <a:r>
              <a:rPr lang="zh-CN" altLang="nl-NL" i="0">
                <a:solidFill>
                  <a:schemeClr val="dk2"/>
                </a:solidFill>
              </a:rPr>
              <a:t>● </a:t>
            </a:r>
            <a:r>
              <a:rPr lang="zh-CN" altLang="nl-NL" i="0"/>
              <a:t>卡萨布兰卡 </a:t>
            </a:r>
            <a:r>
              <a:rPr lang="zh-CN" altLang="nl-NL" i="0">
                <a:solidFill>
                  <a:schemeClr val="dk2"/>
                </a:solidFill>
              </a:rPr>
              <a:t>● </a:t>
            </a:r>
            <a:r>
              <a:rPr lang="zh-CN" altLang="nl-NL" i="0"/>
              <a:t>哥本哈根 </a:t>
            </a:r>
            <a:r>
              <a:rPr lang="zh-CN" altLang="nl-NL" i="0">
                <a:solidFill>
                  <a:schemeClr val="dk2"/>
                </a:solidFill>
              </a:rPr>
              <a:t>● </a:t>
            </a:r>
            <a:r>
              <a:rPr lang="zh-CN" altLang="nl-NL" i="0"/>
              <a:t>迪拜 </a:t>
            </a:r>
            <a:r>
              <a:rPr lang="zh-CN" altLang="nl-NL" i="0">
                <a:solidFill>
                  <a:schemeClr val="dk2"/>
                </a:solidFill>
              </a:rPr>
              <a:t>● </a:t>
            </a:r>
            <a:r>
              <a:rPr lang="zh-CN" altLang="nl-NL" i="0"/>
              <a:t>都柏林 </a:t>
            </a:r>
            <a:r>
              <a:rPr lang="zh-CN" altLang="nl-NL" i="0">
                <a:solidFill>
                  <a:schemeClr val="dk2"/>
                </a:solidFill>
              </a:rPr>
              <a:t>● </a:t>
            </a:r>
            <a:r>
              <a:rPr lang="zh-CN" altLang="nl-NL" i="0"/>
              <a:t>杜塞尔多夫 </a:t>
            </a:r>
            <a:br>
              <a:rPr lang="zh-CN" altLang="nl-NL" i="0"/>
            </a:br>
            <a:r>
              <a:rPr lang="zh-CN" altLang="nl-NL" i="0">
                <a:solidFill>
                  <a:schemeClr val="dk2"/>
                </a:solidFill>
              </a:rPr>
              <a:t>● </a:t>
            </a:r>
            <a:r>
              <a:rPr lang="zh-CN" altLang="nl-NL" i="0"/>
              <a:t>法兰克福 </a:t>
            </a:r>
            <a:r>
              <a:rPr lang="zh-CN" altLang="nl-NL" i="0">
                <a:solidFill>
                  <a:schemeClr val="dk2"/>
                </a:solidFill>
              </a:rPr>
              <a:t>● </a:t>
            </a:r>
            <a:r>
              <a:rPr lang="zh-CN" altLang="nl-NL" i="0"/>
              <a:t>海牙 </a:t>
            </a:r>
            <a:r>
              <a:rPr lang="zh-CN" altLang="nl-NL" i="0">
                <a:solidFill>
                  <a:schemeClr val="dk2"/>
                </a:solidFill>
              </a:rPr>
              <a:t>● </a:t>
            </a:r>
            <a:r>
              <a:rPr lang="zh-CN" altLang="nl-NL" i="0"/>
              <a:t>汉堡 </a:t>
            </a:r>
            <a:r>
              <a:rPr lang="zh-CN" altLang="nl-NL" i="0">
                <a:solidFill>
                  <a:schemeClr val="dk2"/>
                </a:solidFill>
              </a:rPr>
              <a:t>● </a:t>
            </a:r>
            <a:r>
              <a:rPr lang="zh-CN" altLang="nl-NL" i="0"/>
              <a:t>赫尔辛基 </a:t>
            </a:r>
            <a:r>
              <a:rPr lang="zh-CN" altLang="nl-NL" i="0">
                <a:solidFill>
                  <a:schemeClr val="dk2"/>
                </a:solidFill>
              </a:rPr>
              <a:t>● </a:t>
            </a:r>
            <a:r>
              <a:rPr lang="zh-CN" altLang="nl-NL" i="0"/>
              <a:t>香港 </a:t>
            </a:r>
            <a:r>
              <a:rPr lang="zh-CN" altLang="nl-NL" i="0">
                <a:solidFill>
                  <a:schemeClr val="dk2"/>
                </a:solidFill>
              </a:rPr>
              <a:t>● </a:t>
            </a:r>
            <a:r>
              <a:rPr lang="zh-CN" altLang="nl-NL" i="0"/>
              <a:t>伦敦 </a:t>
            </a:r>
            <a:r>
              <a:rPr lang="zh-CN" altLang="nl-NL" i="0">
                <a:solidFill>
                  <a:schemeClr val="dk2"/>
                </a:solidFill>
              </a:rPr>
              <a:t>● </a:t>
            </a:r>
            <a:r>
              <a:rPr lang="zh-CN" altLang="nl-NL" i="0"/>
              <a:t>卢森堡 </a:t>
            </a:r>
            <a:r>
              <a:rPr lang="zh-CN" altLang="nl-NL" i="0">
                <a:solidFill>
                  <a:schemeClr val="dk2"/>
                </a:solidFill>
              </a:rPr>
              <a:t>● </a:t>
            </a:r>
            <a:r>
              <a:rPr lang="zh-CN" altLang="nl-NL" i="0"/>
              <a:t>里昂 </a:t>
            </a:r>
            <a:r>
              <a:rPr lang="zh-CN" altLang="nl-NL" i="0">
                <a:solidFill>
                  <a:schemeClr val="dk2"/>
                </a:solidFill>
              </a:rPr>
              <a:t>● </a:t>
            </a:r>
            <a:r>
              <a:rPr lang="zh-CN" altLang="nl-NL" i="0"/>
              <a:t>马德里 </a:t>
            </a:r>
            <a:r>
              <a:rPr lang="zh-CN" altLang="nl-NL" i="0">
                <a:solidFill>
                  <a:schemeClr val="dk2"/>
                </a:solidFill>
              </a:rPr>
              <a:t>● </a:t>
            </a:r>
            <a:r>
              <a:rPr lang="zh-CN" altLang="nl-NL" i="0"/>
              <a:t>米兰 </a:t>
            </a:r>
            <a:r>
              <a:rPr lang="zh-CN" altLang="nl-NL" i="0">
                <a:solidFill>
                  <a:schemeClr val="dk2"/>
                </a:solidFill>
              </a:rPr>
              <a:t>● </a:t>
            </a:r>
            <a:r>
              <a:rPr lang="zh-CN" altLang="nl-NL" i="0"/>
              <a:t>慕尼黑 </a:t>
            </a:r>
            <a:r>
              <a:rPr lang="zh-CN" altLang="nl-NL" i="0">
                <a:solidFill>
                  <a:schemeClr val="dk2"/>
                </a:solidFill>
              </a:rPr>
              <a:t>● </a:t>
            </a:r>
            <a:r>
              <a:rPr lang="zh-CN" altLang="nl-NL" i="0"/>
              <a:t>巴黎 </a:t>
            </a:r>
            <a:r>
              <a:rPr lang="zh-CN" altLang="nl-NL" i="0">
                <a:solidFill>
                  <a:schemeClr val="dk2"/>
                </a:solidFill>
              </a:rPr>
              <a:t>● </a:t>
            </a:r>
            <a:r>
              <a:rPr lang="zh-CN" altLang="nl-NL" i="0"/>
              <a:t>布拉格 </a:t>
            </a:r>
            <a:r>
              <a:rPr lang="zh-CN" altLang="nl-NL" i="0">
                <a:solidFill>
                  <a:schemeClr val="dk2"/>
                </a:solidFill>
              </a:rPr>
              <a:t>● </a:t>
            </a:r>
            <a:r>
              <a:rPr lang="zh-CN" altLang="nl-NL" i="0"/>
              <a:t>罗马</a:t>
            </a:r>
            <a:br>
              <a:rPr lang="zh-CN" altLang="nl-NL" i="0"/>
            </a:br>
            <a:r>
              <a:rPr lang="zh-CN" altLang="nl-NL" i="0">
                <a:solidFill>
                  <a:schemeClr val="dk2"/>
                </a:solidFill>
              </a:rPr>
              <a:t>● </a:t>
            </a:r>
            <a:r>
              <a:rPr lang="zh-CN" altLang="nl-NL" i="0"/>
              <a:t>旧金山 </a:t>
            </a:r>
            <a:r>
              <a:rPr lang="zh-CN" altLang="nl-NL" i="0">
                <a:solidFill>
                  <a:schemeClr val="dk2"/>
                </a:solidFill>
              </a:rPr>
              <a:t>● </a:t>
            </a:r>
            <a:r>
              <a:rPr lang="zh-CN" altLang="nl-NL" i="0"/>
              <a:t>上海 </a:t>
            </a:r>
            <a:r>
              <a:rPr lang="zh-CN" altLang="nl-NL" i="0">
                <a:solidFill>
                  <a:schemeClr val="dk2"/>
                </a:solidFill>
              </a:rPr>
              <a:t>● </a:t>
            </a:r>
            <a:r>
              <a:rPr lang="zh-CN" altLang="nl-NL" i="0"/>
              <a:t>新加坡 </a:t>
            </a:r>
            <a:r>
              <a:rPr lang="zh-CN" altLang="nl-NL" i="0">
                <a:solidFill>
                  <a:schemeClr val="dk2"/>
                </a:solidFill>
              </a:rPr>
              <a:t>● </a:t>
            </a:r>
            <a:r>
              <a:rPr lang="zh-CN" altLang="nl-NL" i="0"/>
              <a:t>斯德哥尔摩 </a:t>
            </a:r>
            <a:r>
              <a:rPr lang="zh-CN" altLang="nl-NL" i="0">
                <a:solidFill>
                  <a:schemeClr val="dk2"/>
                </a:solidFill>
              </a:rPr>
              <a:t>● </a:t>
            </a:r>
            <a:r>
              <a:rPr lang="zh-CN" altLang="nl-NL" i="0"/>
              <a:t>悉尼 </a:t>
            </a:r>
            <a:r>
              <a:rPr lang="zh-CN" altLang="nl-NL" i="0">
                <a:solidFill>
                  <a:schemeClr val="dk2"/>
                </a:solidFill>
              </a:rPr>
              <a:t>● </a:t>
            </a:r>
            <a:r>
              <a:rPr lang="zh-CN" altLang="nl-NL" i="0"/>
              <a:t>华沙</a:t>
            </a:r>
          </a:p>
          <a:p>
            <a:pPr lvl="2">
              <a:lnSpc>
                <a:spcPct val="100000"/>
              </a:lnSpc>
              <a:spcBef>
                <a:spcPts val="300"/>
              </a:spcBef>
              <a:spcAft>
                <a:spcPts val="0"/>
              </a:spcAft>
            </a:pPr>
            <a:r>
              <a:rPr lang="zh-CN" altLang="nl-NL"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nl-NL"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nl-NL"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nl-NL" sz="800" i="0" kern="800" spc="-10">
                <a:latin typeface="+mn-lt"/>
              </a:rPr>
              <a:t>鸿鹄律师事务所是在英格兰和威尔士注册的一家有限责任合伙企业，注册号</a:t>
            </a:r>
            <a:r>
              <a:rPr lang="nl-NL" altLang="zh-CN" sz="800" i="0" kern="800" spc="-10">
                <a:latin typeface="+mn-lt"/>
              </a:rPr>
              <a:t>OC340318</a:t>
            </a:r>
            <a:r>
              <a:rPr lang="zh-CN" altLang="nl-NL" sz="800" i="0" kern="800" spc="-10">
                <a:latin typeface="+mn-lt"/>
              </a:rPr>
              <a:t>，经律师监管局 </a:t>
            </a:r>
            <a:r>
              <a:rPr lang="nl-NL" altLang="zh-CN" sz="800" i="0" kern="800" spc="-10">
                <a:latin typeface="+mn-lt"/>
              </a:rPr>
              <a:t>(Solicitors Regulation Authority) </a:t>
            </a:r>
            <a:r>
              <a:rPr lang="zh-CN" altLang="nl-NL" sz="800" i="0" kern="800" spc="-10">
                <a:latin typeface="+mn-lt"/>
              </a:rPr>
              <a:t>授权并受其监管，编号为</a:t>
            </a:r>
            <a:r>
              <a:rPr lang="nl-NL" altLang="zh-CN" sz="800" i="0" kern="800" spc="-10">
                <a:latin typeface="+mn-lt"/>
              </a:rPr>
              <a:t>497264</a:t>
            </a:r>
            <a:r>
              <a:rPr lang="zh-CN" altLang="nl-NL" sz="800" i="0" kern="800" spc="-10">
                <a:latin typeface="+mn-lt"/>
              </a:rPr>
              <a:t>，注册办公室及主要营业地位于伦敦</a:t>
            </a:r>
            <a:r>
              <a:rPr lang="nl-NL" altLang="zh-CN" sz="800" i="0" kern="800" spc="-10">
                <a:latin typeface="+mn-lt"/>
              </a:rPr>
              <a:t>12 New Fetter Lane</a:t>
            </a:r>
            <a:r>
              <a:rPr lang="zh-CN" altLang="nl-NL" sz="800" i="0" kern="800" spc="-10">
                <a:latin typeface="+mn-lt"/>
              </a:rPr>
              <a:t>，</a:t>
            </a:r>
            <a:r>
              <a:rPr lang="nl-NL" altLang="zh-CN" sz="800" i="0" kern="800" spc="-10">
                <a:latin typeface="+mn-lt"/>
              </a:rPr>
              <a:t>EC4A1JP</a:t>
            </a:r>
            <a:r>
              <a:rPr lang="zh-CN" altLang="nl-NL"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13387333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3 and Contacts">
    <p:bg>
      <p:bgPr>
        <a:solidFill>
          <a:schemeClr val="accent6"/>
        </a:solidFill>
        <a:effectLst/>
      </p:bgPr>
    </p:bg>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68A69791-8F66-4248-B4BD-5CAA959AAC5B}"/>
              </a:ext>
            </a:extLst>
          </p:cNvPr>
          <p:cNvSpPr>
            <a:spLocks noGrp="1" noChangeAspect="1"/>
          </p:cNvSpPr>
          <p:nvPr>
            <p:ph type="pic" sz="quarter" idx="22"/>
          </p:nvPr>
        </p:nvSpPr>
        <p:spPr>
          <a:xfrm>
            <a:off x="6190039" y="719137"/>
            <a:ext cx="1641476" cy="1125159"/>
          </a:xfrm>
          <a:solidFill>
            <a:schemeClr val="bg2"/>
          </a:solidFill>
        </p:spPr>
        <p:txBody>
          <a:bodyPr/>
          <a:lstStyle/>
          <a:p>
            <a:r>
              <a:rPr lang="en-US"/>
              <a:t>Click icon to add picture</a:t>
            </a:r>
            <a:endParaRPr lang="en-GB" dirty="0"/>
          </a:p>
        </p:txBody>
      </p:sp>
      <p:sp>
        <p:nvSpPr>
          <p:cNvPr id="13" name="Name Placeholder 2">
            <a:extLst>
              <a:ext uri="{FF2B5EF4-FFF2-40B4-BE49-F238E27FC236}">
                <a16:creationId xmlns:a16="http://schemas.microsoft.com/office/drawing/2014/main" id="{AC03517A-2D8A-4F28-A43C-F4ED7F227273}"/>
              </a:ext>
            </a:extLst>
          </p:cNvPr>
          <p:cNvSpPr>
            <a:spLocks noGrp="1"/>
          </p:cNvSpPr>
          <p:nvPr>
            <p:ph type="body" sz="quarter" idx="23" hasCustomPrompt="1"/>
          </p:nvPr>
        </p:nvSpPr>
        <p:spPr>
          <a:xfrm>
            <a:off x="8004819"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14" name="Job Title 2">
            <a:extLst>
              <a:ext uri="{FF2B5EF4-FFF2-40B4-BE49-F238E27FC236}">
                <a16:creationId xmlns:a16="http://schemas.microsoft.com/office/drawing/2014/main" id="{3BED7B0B-FE39-4205-BCA3-898609E38CEB}"/>
              </a:ext>
            </a:extLst>
          </p:cNvPr>
          <p:cNvSpPr>
            <a:spLocks noGrp="1"/>
          </p:cNvSpPr>
          <p:nvPr>
            <p:ph type="body" sz="quarter" idx="24" hasCustomPrompt="1"/>
          </p:nvPr>
        </p:nvSpPr>
        <p:spPr>
          <a:xfrm>
            <a:off x="8004819"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15" name="Contact Details 2">
            <a:extLst>
              <a:ext uri="{FF2B5EF4-FFF2-40B4-BE49-F238E27FC236}">
                <a16:creationId xmlns:a16="http://schemas.microsoft.com/office/drawing/2014/main" id="{5075BC6D-C433-4358-B7E8-3CC989F09281}"/>
              </a:ext>
            </a:extLst>
          </p:cNvPr>
          <p:cNvSpPr>
            <a:spLocks noGrp="1"/>
          </p:cNvSpPr>
          <p:nvPr>
            <p:ph type="body" sz="quarter" idx="25" hasCustomPrompt="1"/>
          </p:nvPr>
        </p:nvSpPr>
        <p:spPr>
          <a:xfrm>
            <a:off x="8004819"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7" name="Picture Placeholder 1">
            <a:extLst>
              <a:ext uri="{FF2B5EF4-FFF2-40B4-BE49-F238E27FC236}">
                <a16:creationId xmlns:a16="http://schemas.microsoft.com/office/drawing/2014/main" id="{D094FB97-A611-4A6A-976C-667002DA3AF2}"/>
              </a:ext>
            </a:extLst>
          </p:cNvPr>
          <p:cNvSpPr>
            <a:spLocks noGrp="1" noChangeAspect="1"/>
          </p:cNvSpPr>
          <p:nvPr>
            <p:ph type="pic" sz="quarter" idx="18"/>
          </p:nvPr>
        </p:nvSpPr>
        <p:spPr>
          <a:xfrm>
            <a:off x="719137" y="719137"/>
            <a:ext cx="1641476" cy="1125159"/>
          </a:xfrm>
          <a:solidFill>
            <a:schemeClr val="bg2"/>
          </a:solidFill>
        </p:spPr>
        <p:txBody>
          <a:bodyPr/>
          <a:lstStyle/>
          <a:p>
            <a:r>
              <a:rPr lang="en-US"/>
              <a:t>Click icon to add picture</a:t>
            </a:r>
            <a:endParaRPr lang="en-GB" dirty="0"/>
          </a:p>
        </p:txBody>
      </p:sp>
      <p:sp>
        <p:nvSpPr>
          <p:cNvPr id="48" name="Name Placeholder 1">
            <a:extLst>
              <a:ext uri="{FF2B5EF4-FFF2-40B4-BE49-F238E27FC236}">
                <a16:creationId xmlns:a16="http://schemas.microsoft.com/office/drawing/2014/main" id="{234477CA-2216-46EC-85FB-45BFC31BDFFC}"/>
              </a:ext>
            </a:extLst>
          </p:cNvPr>
          <p:cNvSpPr>
            <a:spLocks noGrp="1"/>
          </p:cNvSpPr>
          <p:nvPr>
            <p:ph type="body" sz="quarter" idx="19" hasCustomPrompt="1"/>
          </p:nvPr>
        </p:nvSpPr>
        <p:spPr>
          <a:xfrm>
            <a:off x="2549713"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9" name="Job Title 1">
            <a:extLst>
              <a:ext uri="{FF2B5EF4-FFF2-40B4-BE49-F238E27FC236}">
                <a16:creationId xmlns:a16="http://schemas.microsoft.com/office/drawing/2014/main" id="{DE1173B7-7D1B-41AC-A56A-5CAB2050BF21}"/>
              </a:ext>
            </a:extLst>
          </p:cNvPr>
          <p:cNvSpPr>
            <a:spLocks noGrp="1"/>
          </p:cNvSpPr>
          <p:nvPr>
            <p:ph type="body" sz="quarter" idx="20" hasCustomPrompt="1"/>
          </p:nvPr>
        </p:nvSpPr>
        <p:spPr>
          <a:xfrm>
            <a:off x="2549713"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0" name="Contact Details 1">
            <a:extLst>
              <a:ext uri="{FF2B5EF4-FFF2-40B4-BE49-F238E27FC236}">
                <a16:creationId xmlns:a16="http://schemas.microsoft.com/office/drawing/2014/main" id="{2CB3E333-E395-401C-84C4-710A919D98F0}"/>
              </a:ext>
            </a:extLst>
          </p:cNvPr>
          <p:cNvSpPr>
            <a:spLocks noGrp="1"/>
          </p:cNvSpPr>
          <p:nvPr>
            <p:ph type="body" sz="quarter" idx="21" hasCustomPrompt="1"/>
          </p:nvPr>
        </p:nvSpPr>
        <p:spPr>
          <a:xfrm>
            <a:off x="2549713"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23" name="Company string">
            <a:extLst>
              <a:ext uri="{FF2B5EF4-FFF2-40B4-BE49-F238E27FC236}">
                <a16:creationId xmlns:a16="http://schemas.microsoft.com/office/drawing/2014/main" id="{D5E9259D-4B74-4885-BACA-341C27531D1C}"/>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nl-NL" altLang="zh-CN" i="0"/>
              <a:t>twobirds.com</a:t>
            </a:r>
          </a:p>
          <a:p>
            <a:pPr lvl="1">
              <a:spcAft>
                <a:spcPts val="1800"/>
              </a:spcAft>
            </a:pPr>
            <a:r>
              <a:rPr lang="zh-CN" altLang="nl-NL" i="0"/>
              <a:t>阿姆斯特丹 </a:t>
            </a:r>
            <a:r>
              <a:rPr lang="zh-CN" altLang="nl-NL" i="0">
                <a:solidFill>
                  <a:schemeClr val="dk2"/>
                </a:solidFill>
              </a:rPr>
              <a:t>● </a:t>
            </a:r>
            <a:r>
              <a:rPr lang="zh-CN" altLang="nl-NL" i="0"/>
              <a:t>阿布扎比 </a:t>
            </a:r>
            <a:r>
              <a:rPr lang="zh-CN" altLang="nl-NL" i="0">
                <a:solidFill>
                  <a:schemeClr val="dk2"/>
                </a:solidFill>
              </a:rPr>
              <a:t>● </a:t>
            </a:r>
            <a:r>
              <a:rPr lang="zh-CN" altLang="nl-NL" i="0"/>
              <a:t>北京 </a:t>
            </a:r>
            <a:r>
              <a:rPr lang="zh-CN" altLang="nl-NL" i="0">
                <a:solidFill>
                  <a:schemeClr val="dk2"/>
                </a:solidFill>
              </a:rPr>
              <a:t>● </a:t>
            </a:r>
            <a:r>
              <a:rPr lang="zh-CN" altLang="nl-NL" i="0"/>
              <a:t>布拉迪斯拉发 </a:t>
            </a:r>
            <a:r>
              <a:rPr lang="zh-CN" altLang="nl-NL" i="0">
                <a:solidFill>
                  <a:schemeClr val="dk2"/>
                </a:solidFill>
              </a:rPr>
              <a:t>● </a:t>
            </a:r>
            <a:r>
              <a:rPr lang="zh-CN" altLang="nl-NL" i="0"/>
              <a:t>布鲁塞尔 </a:t>
            </a:r>
            <a:r>
              <a:rPr lang="zh-CN" altLang="nl-NL" i="0">
                <a:solidFill>
                  <a:schemeClr val="dk2"/>
                </a:solidFill>
              </a:rPr>
              <a:t>● </a:t>
            </a:r>
            <a:r>
              <a:rPr lang="zh-CN" altLang="nl-NL" i="0"/>
              <a:t>布达佩斯 </a:t>
            </a:r>
            <a:r>
              <a:rPr lang="zh-CN" altLang="nl-NL" i="0">
                <a:solidFill>
                  <a:schemeClr val="dk2"/>
                </a:solidFill>
              </a:rPr>
              <a:t>● </a:t>
            </a:r>
            <a:r>
              <a:rPr lang="zh-CN" altLang="nl-NL" i="0"/>
              <a:t>卡萨布兰卡 </a:t>
            </a:r>
            <a:r>
              <a:rPr lang="zh-CN" altLang="nl-NL" i="0">
                <a:solidFill>
                  <a:schemeClr val="dk2"/>
                </a:solidFill>
              </a:rPr>
              <a:t>● </a:t>
            </a:r>
            <a:r>
              <a:rPr lang="zh-CN" altLang="nl-NL" i="0"/>
              <a:t>哥本哈根 </a:t>
            </a:r>
            <a:r>
              <a:rPr lang="zh-CN" altLang="nl-NL" i="0">
                <a:solidFill>
                  <a:schemeClr val="dk2"/>
                </a:solidFill>
              </a:rPr>
              <a:t>● </a:t>
            </a:r>
            <a:r>
              <a:rPr lang="zh-CN" altLang="nl-NL" i="0"/>
              <a:t>迪拜 </a:t>
            </a:r>
            <a:r>
              <a:rPr lang="zh-CN" altLang="nl-NL" i="0">
                <a:solidFill>
                  <a:schemeClr val="dk2"/>
                </a:solidFill>
              </a:rPr>
              <a:t>● </a:t>
            </a:r>
            <a:r>
              <a:rPr lang="zh-CN" altLang="nl-NL" i="0"/>
              <a:t>都柏林 </a:t>
            </a:r>
            <a:r>
              <a:rPr lang="zh-CN" altLang="nl-NL" i="0">
                <a:solidFill>
                  <a:schemeClr val="dk2"/>
                </a:solidFill>
              </a:rPr>
              <a:t>● </a:t>
            </a:r>
            <a:r>
              <a:rPr lang="zh-CN" altLang="nl-NL" i="0"/>
              <a:t>杜塞尔多夫 </a:t>
            </a:r>
            <a:br>
              <a:rPr lang="zh-CN" altLang="nl-NL" i="0"/>
            </a:br>
            <a:r>
              <a:rPr lang="zh-CN" altLang="nl-NL" i="0">
                <a:solidFill>
                  <a:schemeClr val="dk2"/>
                </a:solidFill>
              </a:rPr>
              <a:t>● </a:t>
            </a:r>
            <a:r>
              <a:rPr lang="zh-CN" altLang="nl-NL" i="0"/>
              <a:t>法兰克福 </a:t>
            </a:r>
            <a:r>
              <a:rPr lang="zh-CN" altLang="nl-NL" i="0">
                <a:solidFill>
                  <a:schemeClr val="dk2"/>
                </a:solidFill>
              </a:rPr>
              <a:t>● </a:t>
            </a:r>
            <a:r>
              <a:rPr lang="zh-CN" altLang="nl-NL" i="0"/>
              <a:t>海牙 </a:t>
            </a:r>
            <a:r>
              <a:rPr lang="zh-CN" altLang="nl-NL" i="0">
                <a:solidFill>
                  <a:schemeClr val="dk2"/>
                </a:solidFill>
              </a:rPr>
              <a:t>● </a:t>
            </a:r>
            <a:r>
              <a:rPr lang="zh-CN" altLang="nl-NL" i="0"/>
              <a:t>汉堡 </a:t>
            </a:r>
            <a:r>
              <a:rPr lang="zh-CN" altLang="nl-NL" i="0">
                <a:solidFill>
                  <a:schemeClr val="dk2"/>
                </a:solidFill>
              </a:rPr>
              <a:t>● </a:t>
            </a:r>
            <a:r>
              <a:rPr lang="zh-CN" altLang="nl-NL" i="0"/>
              <a:t>赫尔辛基 </a:t>
            </a:r>
            <a:r>
              <a:rPr lang="zh-CN" altLang="nl-NL" i="0">
                <a:solidFill>
                  <a:schemeClr val="dk2"/>
                </a:solidFill>
              </a:rPr>
              <a:t>● </a:t>
            </a:r>
            <a:r>
              <a:rPr lang="zh-CN" altLang="nl-NL" i="0"/>
              <a:t>香港 </a:t>
            </a:r>
            <a:r>
              <a:rPr lang="zh-CN" altLang="nl-NL" i="0">
                <a:solidFill>
                  <a:schemeClr val="dk2"/>
                </a:solidFill>
              </a:rPr>
              <a:t>● </a:t>
            </a:r>
            <a:r>
              <a:rPr lang="zh-CN" altLang="nl-NL" i="0"/>
              <a:t>伦敦 </a:t>
            </a:r>
            <a:r>
              <a:rPr lang="zh-CN" altLang="nl-NL" i="0">
                <a:solidFill>
                  <a:schemeClr val="dk2"/>
                </a:solidFill>
              </a:rPr>
              <a:t>● </a:t>
            </a:r>
            <a:r>
              <a:rPr lang="zh-CN" altLang="nl-NL" i="0"/>
              <a:t>卢森堡 </a:t>
            </a:r>
            <a:r>
              <a:rPr lang="zh-CN" altLang="nl-NL" i="0">
                <a:solidFill>
                  <a:schemeClr val="dk2"/>
                </a:solidFill>
              </a:rPr>
              <a:t>● </a:t>
            </a:r>
            <a:r>
              <a:rPr lang="zh-CN" altLang="nl-NL" i="0"/>
              <a:t>里昂 </a:t>
            </a:r>
            <a:r>
              <a:rPr lang="zh-CN" altLang="nl-NL" i="0">
                <a:solidFill>
                  <a:schemeClr val="dk2"/>
                </a:solidFill>
              </a:rPr>
              <a:t>● </a:t>
            </a:r>
            <a:r>
              <a:rPr lang="zh-CN" altLang="nl-NL" i="0"/>
              <a:t>马德里 </a:t>
            </a:r>
            <a:r>
              <a:rPr lang="zh-CN" altLang="nl-NL" i="0">
                <a:solidFill>
                  <a:schemeClr val="dk2"/>
                </a:solidFill>
              </a:rPr>
              <a:t>● </a:t>
            </a:r>
            <a:r>
              <a:rPr lang="zh-CN" altLang="nl-NL" i="0"/>
              <a:t>米兰 </a:t>
            </a:r>
            <a:r>
              <a:rPr lang="zh-CN" altLang="nl-NL" i="0">
                <a:solidFill>
                  <a:schemeClr val="dk2"/>
                </a:solidFill>
              </a:rPr>
              <a:t>● </a:t>
            </a:r>
            <a:r>
              <a:rPr lang="zh-CN" altLang="nl-NL" i="0"/>
              <a:t>慕尼黑 </a:t>
            </a:r>
            <a:r>
              <a:rPr lang="zh-CN" altLang="nl-NL" i="0">
                <a:solidFill>
                  <a:schemeClr val="dk2"/>
                </a:solidFill>
              </a:rPr>
              <a:t>● </a:t>
            </a:r>
            <a:r>
              <a:rPr lang="zh-CN" altLang="nl-NL" i="0"/>
              <a:t>巴黎 </a:t>
            </a:r>
            <a:r>
              <a:rPr lang="zh-CN" altLang="nl-NL" i="0">
                <a:solidFill>
                  <a:schemeClr val="dk2"/>
                </a:solidFill>
              </a:rPr>
              <a:t>● </a:t>
            </a:r>
            <a:r>
              <a:rPr lang="zh-CN" altLang="nl-NL" i="0"/>
              <a:t>布拉格 </a:t>
            </a:r>
            <a:r>
              <a:rPr lang="zh-CN" altLang="nl-NL" i="0">
                <a:solidFill>
                  <a:schemeClr val="dk2"/>
                </a:solidFill>
              </a:rPr>
              <a:t>● </a:t>
            </a:r>
            <a:r>
              <a:rPr lang="zh-CN" altLang="nl-NL" i="0"/>
              <a:t>罗马</a:t>
            </a:r>
            <a:br>
              <a:rPr lang="zh-CN" altLang="nl-NL" i="0"/>
            </a:br>
            <a:r>
              <a:rPr lang="zh-CN" altLang="nl-NL" i="0">
                <a:solidFill>
                  <a:schemeClr val="dk2"/>
                </a:solidFill>
              </a:rPr>
              <a:t>● </a:t>
            </a:r>
            <a:r>
              <a:rPr lang="zh-CN" altLang="nl-NL" i="0"/>
              <a:t>旧金山 </a:t>
            </a:r>
            <a:r>
              <a:rPr lang="zh-CN" altLang="nl-NL" i="0">
                <a:solidFill>
                  <a:schemeClr val="dk2"/>
                </a:solidFill>
              </a:rPr>
              <a:t>● </a:t>
            </a:r>
            <a:r>
              <a:rPr lang="zh-CN" altLang="nl-NL" i="0"/>
              <a:t>上海 </a:t>
            </a:r>
            <a:r>
              <a:rPr lang="zh-CN" altLang="nl-NL" i="0">
                <a:solidFill>
                  <a:schemeClr val="dk2"/>
                </a:solidFill>
              </a:rPr>
              <a:t>● </a:t>
            </a:r>
            <a:r>
              <a:rPr lang="zh-CN" altLang="nl-NL" i="0"/>
              <a:t>新加坡 </a:t>
            </a:r>
            <a:r>
              <a:rPr lang="zh-CN" altLang="nl-NL" i="0">
                <a:solidFill>
                  <a:schemeClr val="dk2"/>
                </a:solidFill>
              </a:rPr>
              <a:t>● </a:t>
            </a:r>
            <a:r>
              <a:rPr lang="zh-CN" altLang="nl-NL" i="0"/>
              <a:t>斯德哥尔摩 </a:t>
            </a:r>
            <a:r>
              <a:rPr lang="zh-CN" altLang="nl-NL" i="0">
                <a:solidFill>
                  <a:schemeClr val="dk2"/>
                </a:solidFill>
              </a:rPr>
              <a:t>● </a:t>
            </a:r>
            <a:r>
              <a:rPr lang="zh-CN" altLang="nl-NL" i="0"/>
              <a:t>悉尼 </a:t>
            </a:r>
            <a:r>
              <a:rPr lang="zh-CN" altLang="nl-NL" i="0">
                <a:solidFill>
                  <a:schemeClr val="dk2"/>
                </a:solidFill>
              </a:rPr>
              <a:t>● </a:t>
            </a:r>
            <a:r>
              <a:rPr lang="zh-CN" altLang="nl-NL" i="0"/>
              <a:t>华沙</a:t>
            </a:r>
          </a:p>
          <a:p>
            <a:pPr lvl="2">
              <a:lnSpc>
                <a:spcPct val="100000"/>
              </a:lnSpc>
              <a:spcBef>
                <a:spcPts val="300"/>
              </a:spcBef>
              <a:spcAft>
                <a:spcPts val="0"/>
              </a:spcAft>
            </a:pPr>
            <a:r>
              <a:rPr lang="zh-CN" altLang="nl-NL"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nl-NL"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nl-NL"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nl-NL" sz="800" i="0" kern="800" spc="-10">
                <a:latin typeface="+mn-lt"/>
              </a:rPr>
              <a:t>鸿鹄律师事务所是在英格兰和威尔士注册的一家有限责任合伙企业，注册号</a:t>
            </a:r>
            <a:r>
              <a:rPr lang="nl-NL" altLang="zh-CN" sz="800" i="0" kern="800" spc="-10">
                <a:latin typeface="+mn-lt"/>
              </a:rPr>
              <a:t>OC340318</a:t>
            </a:r>
            <a:r>
              <a:rPr lang="zh-CN" altLang="nl-NL" sz="800" i="0" kern="800" spc="-10">
                <a:latin typeface="+mn-lt"/>
              </a:rPr>
              <a:t>，经律师监管局 </a:t>
            </a:r>
            <a:r>
              <a:rPr lang="nl-NL" altLang="zh-CN" sz="800" i="0" kern="800" spc="-10">
                <a:latin typeface="+mn-lt"/>
              </a:rPr>
              <a:t>(Solicitors Regulation Authority) </a:t>
            </a:r>
            <a:r>
              <a:rPr lang="zh-CN" altLang="nl-NL" sz="800" i="0" kern="800" spc="-10">
                <a:latin typeface="+mn-lt"/>
              </a:rPr>
              <a:t>授权并受其监管，编号为</a:t>
            </a:r>
            <a:r>
              <a:rPr lang="nl-NL" altLang="zh-CN" sz="800" i="0" kern="800" spc="-10">
                <a:latin typeface="+mn-lt"/>
              </a:rPr>
              <a:t>497264</a:t>
            </a:r>
            <a:r>
              <a:rPr lang="zh-CN" altLang="nl-NL" sz="800" i="0" kern="800" spc="-10">
                <a:latin typeface="+mn-lt"/>
              </a:rPr>
              <a:t>，注册办公室及主要营业地位于伦敦</a:t>
            </a:r>
            <a:r>
              <a:rPr lang="nl-NL" altLang="zh-CN" sz="800" i="0" kern="800" spc="-10">
                <a:latin typeface="+mn-lt"/>
              </a:rPr>
              <a:t>12 New Fetter Lane</a:t>
            </a:r>
            <a:r>
              <a:rPr lang="zh-CN" altLang="nl-NL" sz="800" i="0" kern="800" spc="-10">
                <a:latin typeface="+mn-lt"/>
              </a:rPr>
              <a:t>，</a:t>
            </a:r>
            <a:r>
              <a:rPr lang="nl-NL" altLang="zh-CN" sz="800" i="0" kern="800" spc="-10">
                <a:latin typeface="+mn-lt"/>
              </a:rPr>
              <a:t>EC4A1JP</a:t>
            </a:r>
            <a:r>
              <a:rPr lang="zh-CN" altLang="nl-NL"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14717421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9" name="Cover Logo">
            <a:extLst>
              <a:ext uri="{FF2B5EF4-FFF2-40B4-BE49-F238E27FC236}">
                <a16:creationId xmlns:a16="http://schemas.microsoft.com/office/drawing/2014/main" id="{4940C945-8607-4600-B2C1-89DB7F6C2C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138" y="719138"/>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userDrawn="1">
            <p:ph type="dt" sz="half" idx="10"/>
          </p:nvPr>
        </p:nvSpPr>
        <p:spPr>
          <a:xfrm>
            <a:off x="719138" y="4653512"/>
            <a:ext cx="1655715"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userDrawn="1">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userDrawn="1">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21" name="Freeform: Shape 20">
            <a:extLst>
              <a:ext uri="{FF2B5EF4-FFF2-40B4-BE49-F238E27FC236}">
                <a16:creationId xmlns:a16="http://schemas.microsoft.com/office/drawing/2014/main" id="{08D0C1AC-DB08-43CD-AC26-CF417079F7D7}"/>
              </a:ext>
            </a:extLst>
          </p:cNvPr>
          <p:cNvSpPr/>
          <p:nvPr/>
        </p:nvSpPr>
        <p:spPr>
          <a:xfrm>
            <a:off x="0" y="8335"/>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65" name="Freeform: Shape 64">
            <a:extLst>
              <a:ext uri="{FF2B5EF4-FFF2-40B4-BE49-F238E27FC236}">
                <a16:creationId xmlns:a16="http://schemas.microsoft.com/office/drawing/2014/main" id="{BA095166-32E5-42E9-83A1-AD237E1F5588}"/>
              </a:ext>
            </a:extLst>
          </p:cNvPr>
          <p:cNvSpPr/>
          <p:nvPr/>
        </p:nvSpPr>
        <p:spPr>
          <a:xfrm>
            <a:off x="9082622" y="1746273"/>
            <a:ext cx="3109379" cy="4479053"/>
          </a:xfrm>
          <a:custGeom>
            <a:avLst/>
            <a:gdLst>
              <a:gd name="connsiteX0" fmla="*/ 133363 w 3109379"/>
              <a:gd name="connsiteY0" fmla="*/ 0 h 4479053"/>
              <a:gd name="connsiteX1" fmla="*/ 1912063 w 3109379"/>
              <a:gd name="connsiteY1" fmla="*/ 0 h 4479053"/>
              <a:gd name="connsiteX2" fmla="*/ 2044359 w 3109379"/>
              <a:gd name="connsiteY2" fmla="*/ 116544 h 4479053"/>
              <a:gd name="connsiteX3" fmla="*/ 2073638 w 3109379"/>
              <a:gd name="connsiteY3" fmla="*/ 660203 h 4479053"/>
              <a:gd name="connsiteX4" fmla="*/ 3028725 w 3109379"/>
              <a:gd name="connsiteY4" fmla="*/ 3954882 h 4479053"/>
              <a:gd name="connsiteX5" fmla="*/ 3109379 w 3109379"/>
              <a:gd name="connsiteY5" fmla="*/ 4060781 h 4479053"/>
              <a:gd name="connsiteX6" fmla="*/ 3109379 w 3109379"/>
              <a:gd name="connsiteY6" fmla="*/ 4479053 h 4479053"/>
              <a:gd name="connsiteX7" fmla="*/ 3086052 w 3109379"/>
              <a:gd name="connsiteY7" fmla="*/ 4453039 h 4479053"/>
              <a:gd name="connsiteX8" fmla="*/ 2938406 w 3109379"/>
              <a:gd name="connsiteY8" fmla="*/ 4273886 h 4479053"/>
              <a:gd name="connsiteX9" fmla="*/ 2172651 w 3109379"/>
              <a:gd name="connsiteY9" fmla="*/ 2924999 h 4479053"/>
              <a:gd name="connsiteX10" fmla="*/ 1806996 w 3109379"/>
              <a:gd name="connsiteY10" fmla="*/ 667133 h 4479053"/>
              <a:gd name="connsiteX11" fmla="*/ 1791103 w 3109379"/>
              <a:gd name="connsiteY11" fmla="*/ 266725 h 4479053"/>
              <a:gd name="connsiteX12" fmla="*/ 133363 w 3109379"/>
              <a:gd name="connsiteY12" fmla="*/ 266725 h 4479053"/>
              <a:gd name="connsiteX13" fmla="*/ 0 w 3109379"/>
              <a:gd name="connsiteY13" fmla="*/ 133363 h 4479053"/>
              <a:gd name="connsiteX14" fmla="*/ 133363 w 3109379"/>
              <a:gd name="connsiteY14" fmla="*/ 0 h 447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09379" h="4479053">
                <a:moveTo>
                  <a:pt x="133363" y="0"/>
                </a:moveTo>
                <a:lnTo>
                  <a:pt x="1912063" y="0"/>
                </a:lnTo>
                <a:cubicBezTo>
                  <a:pt x="1979214" y="0"/>
                  <a:pt x="2035891" y="49929"/>
                  <a:pt x="2044359" y="116544"/>
                </a:cubicBezTo>
                <a:cubicBezTo>
                  <a:pt x="2063397" y="266291"/>
                  <a:pt x="2068143" y="448836"/>
                  <a:pt x="2073638" y="660203"/>
                </a:cubicBezTo>
                <a:cubicBezTo>
                  <a:pt x="2095201" y="1489639"/>
                  <a:pt x="2127205" y="2720705"/>
                  <a:pt x="3028725" y="3954882"/>
                </a:cubicBezTo>
                <a:lnTo>
                  <a:pt x="3109379" y="4060781"/>
                </a:lnTo>
                <a:lnTo>
                  <a:pt x="3109379" y="4479053"/>
                </a:lnTo>
                <a:lnTo>
                  <a:pt x="3086052" y="4453039"/>
                </a:lnTo>
                <a:cubicBezTo>
                  <a:pt x="3035183" y="4393895"/>
                  <a:pt x="2985959" y="4334170"/>
                  <a:pt x="2938406" y="4273886"/>
                </a:cubicBezTo>
                <a:cubicBezTo>
                  <a:pt x="2615252" y="3866347"/>
                  <a:pt x="2356959" y="3411359"/>
                  <a:pt x="2172651" y="2924999"/>
                </a:cubicBezTo>
                <a:cubicBezTo>
                  <a:pt x="1842928" y="2049115"/>
                  <a:pt x="1822159" y="1250360"/>
                  <a:pt x="1806996" y="667133"/>
                </a:cubicBezTo>
                <a:cubicBezTo>
                  <a:pt x="1803094" y="517020"/>
                  <a:pt x="1799582" y="381953"/>
                  <a:pt x="1791103" y="266725"/>
                </a:cubicBezTo>
                <a:lnTo>
                  <a:pt x="133363" y="266725"/>
                </a:lnTo>
                <a:cubicBezTo>
                  <a:pt x="59708" y="266725"/>
                  <a:pt x="0" y="207017"/>
                  <a:pt x="0" y="133363"/>
                </a:cubicBezTo>
                <a:cubicBezTo>
                  <a:pt x="0" y="59708"/>
                  <a:pt x="59708" y="0"/>
                  <a:pt x="133363" y="0"/>
                </a:cubicBezTo>
                <a:close/>
              </a:path>
            </a:pathLst>
          </a:custGeom>
          <a:solidFill>
            <a:srgbClr val="005C82"/>
          </a:solidFill>
          <a:ln w="12700" cap="flat">
            <a:noFill/>
            <a:prstDash val="solid"/>
            <a:miter/>
          </a:ln>
        </p:spPr>
        <p:txBody>
          <a:bodyPr rtlCol="0" anchor="ctr"/>
          <a:lstStyle/>
          <a:p>
            <a:endParaRPr lang="en-GB"/>
          </a:p>
        </p:txBody>
      </p:sp>
      <p:sp>
        <p:nvSpPr>
          <p:cNvPr id="60" name="Freeform: Shape 59">
            <a:extLst>
              <a:ext uri="{FF2B5EF4-FFF2-40B4-BE49-F238E27FC236}">
                <a16:creationId xmlns:a16="http://schemas.microsoft.com/office/drawing/2014/main" id="{529F8AE1-20CF-44F6-BB91-769A89EAC6A4}"/>
              </a:ext>
            </a:extLst>
          </p:cNvPr>
          <p:cNvSpPr/>
          <p:nvPr userDrawn="1"/>
        </p:nvSpPr>
        <p:spPr>
          <a:xfrm>
            <a:off x="5050893" y="0"/>
            <a:ext cx="4385676" cy="2013647"/>
          </a:xfrm>
          <a:custGeom>
            <a:avLst/>
            <a:gdLst>
              <a:gd name="connsiteX0" fmla="*/ 0 w 4385676"/>
              <a:gd name="connsiteY0" fmla="*/ 0 h 2013647"/>
              <a:gd name="connsiteX1" fmla="*/ 322476 w 4385676"/>
              <a:gd name="connsiteY1" fmla="*/ 0 h 2013647"/>
              <a:gd name="connsiteX2" fmla="*/ 382850 w 4385676"/>
              <a:gd name="connsiteY2" fmla="*/ 87045 h 2013647"/>
              <a:gd name="connsiteX3" fmla="*/ 2026201 w 4385676"/>
              <a:gd name="connsiteY3" fmla="*/ 1365797 h 2013647"/>
              <a:gd name="connsiteX4" fmla="*/ 4251339 w 4385676"/>
              <a:gd name="connsiteY4" fmla="*/ 1746706 h 2013647"/>
              <a:gd name="connsiteX5" fmla="*/ 4385673 w 4385676"/>
              <a:gd name="connsiteY5" fmla="*/ 1879097 h 2013647"/>
              <a:gd name="connsiteX6" fmla="*/ 4253282 w 4385676"/>
              <a:gd name="connsiteY6" fmla="*/ 2013431 h 2013647"/>
              <a:gd name="connsiteX7" fmla="*/ 4193287 w 4385676"/>
              <a:gd name="connsiteY7" fmla="*/ 2013647 h 2013647"/>
              <a:gd name="connsiteX8" fmla="*/ 1924855 w 4385676"/>
              <a:gd name="connsiteY8" fmla="*/ 1612527 h 2013647"/>
              <a:gd name="connsiteX9" fmla="*/ 27862 w 4385676"/>
              <a:gd name="connsiteY9" fmla="*/ 45293 h 2013647"/>
              <a:gd name="connsiteX10" fmla="*/ 0 w 4385676"/>
              <a:gd name="connsiteY10" fmla="*/ 0 h 201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5676" h="2013647">
                <a:moveTo>
                  <a:pt x="0" y="0"/>
                </a:moveTo>
                <a:lnTo>
                  <a:pt x="322476" y="0"/>
                </a:lnTo>
                <a:lnTo>
                  <a:pt x="382850" y="87045"/>
                </a:lnTo>
                <a:cubicBezTo>
                  <a:pt x="807526" y="662942"/>
                  <a:pt x="1356643" y="1090795"/>
                  <a:pt x="2026201" y="1365797"/>
                </a:cubicBezTo>
                <a:cubicBezTo>
                  <a:pt x="2656615" y="1624715"/>
                  <a:pt x="3405283" y="1752930"/>
                  <a:pt x="4251339" y="1746706"/>
                </a:cubicBezTo>
                <a:cubicBezTo>
                  <a:pt x="4324994" y="1746170"/>
                  <a:pt x="4385137" y="1805443"/>
                  <a:pt x="4385673" y="1879097"/>
                </a:cubicBezTo>
                <a:cubicBezTo>
                  <a:pt x="4386210" y="1952752"/>
                  <a:pt x="4326936" y="2012895"/>
                  <a:pt x="4253282" y="2013431"/>
                </a:cubicBezTo>
                <a:cubicBezTo>
                  <a:pt x="4233262" y="2013569"/>
                  <a:pt x="4213210" y="2013647"/>
                  <a:pt x="4193287" y="2013647"/>
                </a:cubicBezTo>
                <a:cubicBezTo>
                  <a:pt x="3336002" y="2013647"/>
                  <a:pt x="2573148" y="1878784"/>
                  <a:pt x="1924855" y="1612527"/>
                </a:cubicBezTo>
                <a:cubicBezTo>
                  <a:pt x="1131246" y="1286568"/>
                  <a:pt x="496966" y="761828"/>
                  <a:pt x="27862" y="45293"/>
                </a:cubicBezTo>
                <a:lnTo>
                  <a:pt x="0" y="0"/>
                </a:lnTo>
                <a:close/>
              </a:path>
            </a:pathLst>
          </a:custGeom>
          <a:solidFill>
            <a:srgbClr val="9EDED4"/>
          </a:solidFill>
          <a:ln w="12700" cap="flat">
            <a:noFill/>
            <a:prstDash val="solid"/>
            <a:miter/>
          </a:ln>
        </p:spPr>
        <p:txBody>
          <a:bodyPr rtlCol="0" anchor="ctr"/>
          <a:lstStyle/>
          <a:p>
            <a:endParaRPr lang="en-GB"/>
          </a:p>
        </p:txBody>
      </p:sp>
      <p:sp>
        <p:nvSpPr>
          <p:cNvPr id="27" name="Picture Placeholder 1">
            <a:extLst>
              <a:ext uri="{FF2B5EF4-FFF2-40B4-BE49-F238E27FC236}">
                <a16:creationId xmlns:a16="http://schemas.microsoft.com/office/drawing/2014/main" id="{58796B95-BF41-4F4C-A925-88BB4F6B8DDC}"/>
              </a:ext>
            </a:extLst>
          </p:cNvPr>
          <p:cNvSpPr>
            <a:spLocks noGrp="1"/>
          </p:cNvSpPr>
          <p:nvPr userDrawn="1">
            <p:ph type="pic" sz="quarter" idx="11"/>
          </p:nvPr>
        </p:nvSpPr>
        <p:spPr>
          <a:xfrm>
            <a:off x="7811228" y="719138"/>
            <a:ext cx="4376737" cy="5418137"/>
          </a:xfrm>
        </p:spPr>
        <p:txBody>
          <a:bodyPr/>
          <a:lstStyle/>
          <a:p>
            <a:r>
              <a:rPr lang="en-US"/>
              <a:t>Click icon to add picture</a:t>
            </a:r>
            <a:endParaRPr lang="en-GB" dirty="0"/>
          </a:p>
        </p:txBody>
      </p:sp>
    </p:spTree>
    <p:extLst>
      <p:ext uri="{BB962C8B-B14F-4D97-AF65-F5344CB8AC3E}">
        <p14:creationId xmlns:p14="http://schemas.microsoft.com/office/powerpoint/2010/main" val="303149851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30804"/>
            <a:ext cx="10752137"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72904182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23.xml"/><Relationship Id="rId21" Type="http://schemas.openxmlformats.org/officeDocument/2006/relationships/slideLayout" Target="../slideLayouts/slideLayout118.xml"/><Relationship Id="rId42" Type="http://schemas.openxmlformats.org/officeDocument/2006/relationships/slideLayout" Target="../slideLayouts/slideLayout139.xml"/><Relationship Id="rId47" Type="http://schemas.openxmlformats.org/officeDocument/2006/relationships/slideLayout" Target="../slideLayouts/slideLayout144.xml"/><Relationship Id="rId63" Type="http://schemas.openxmlformats.org/officeDocument/2006/relationships/slideLayout" Target="../slideLayouts/slideLayout160.xml"/><Relationship Id="rId68" Type="http://schemas.openxmlformats.org/officeDocument/2006/relationships/slideLayout" Target="../slideLayouts/slideLayout165.xml"/><Relationship Id="rId84" Type="http://schemas.openxmlformats.org/officeDocument/2006/relationships/slideLayout" Target="../slideLayouts/slideLayout181.xml"/><Relationship Id="rId16" Type="http://schemas.openxmlformats.org/officeDocument/2006/relationships/slideLayout" Target="../slideLayouts/slideLayout113.xml"/><Relationship Id="rId11" Type="http://schemas.openxmlformats.org/officeDocument/2006/relationships/slideLayout" Target="../slideLayouts/slideLayout108.xml"/><Relationship Id="rId32" Type="http://schemas.openxmlformats.org/officeDocument/2006/relationships/slideLayout" Target="../slideLayouts/slideLayout129.xml"/><Relationship Id="rId37" Type="http://schemas.openxmlformats.org/officeDocument/2006/relationships/slideLayout" Target="../slideLayouts/slideLayout134.xml"/><Relationship Id="rId53" Type="http://schemas.openxmlformats.org/officeDocument/2006/relationships/slideLayout" Target="../slideLayouts/slideLayout150.xml"/><Relationship Id="rId58" Type="http://schemas.openxmlformats.org/officeDocument/2006/relationships/slideLayout" Target="../slideLayouts/slideLayout155.xml"/><Relationship Id="rId74" Type="http://schemas.openxmlformats.org/officeDocument/2006/relationships/slideLayout" Target="../slideLayouts/slideLayout171.xml"/><Relationship Id="rId79" Type="http://schemas.openxmlformats.org/officeDocument/2006/relationships/slideLayout" Target="../slideLayouts/slideLayout176.xml"/><Relationship Id="rId5" Type="http://schemas.openxmlformats.org/officeDocument/2006/relationships/slideLayout" Target="../slideLayouts/slideLayout102.xml"/><Relationship Id="rId19" Type="http://schemas.openxmlformats.org/officeDocument/2006/relationships/slideLayout" Target="../slideLayouts/slideLayout11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slideLayout" Target="../slideLayouts/slideLayout127.xml"/><Relationship Id="rId35" Type="http://schemas.openxmlformats.org/officeDocument/2006/relationships/slideLayout" Target="../slideLayouts/slideLayout132.xml"/><Relationship Id="rId43" Type="http://schemas.openxmlformats.org/officeDocument/2006/relationships/slideLayout" Target="../slideLayouts/slideLayout140.xml"/><Relationship Id="rId48" Type="http://schemas.openxmlformats.org/officeDocument/2006/relationships/slideLayout" Target="../slideLayouts/slideLayout145.xml"/><Relationship Id="rId56" Type="http://schemas.openxmlformats.org/officeDocument/2006/relationships/slideLayout" Target="../slideLayouts/slideLayout153.xml"/><Relationship Id="rId64" Type="http://schemas.openxmlformats.org/officeDocument/2006/relationships/slideLayout" Target="../slideLayouts/slideLayout161.xml"/><Relationship Id="rId69" Type="http://schemas.openxmlformats.org/officeDocument/2006/relationships/slideLayout" Target="../slideLayouts/slideLayout166.xml"/><Relationship Id="rId77" Type="http://schemas.openxmlformats.org/officeDocument/2006/relationships/slideLayout" Target="../slideLayouts/slideLayout174.xml"/><Relationship Id="rId8" Type="http://schemas.openxmlformats.org/officeDocument/2006/relationships/slideLayout" Target="../slideLayouts/slideLayout105.xml"/><Relationship Id="rId51" Type="http://schemas.openxmlformats.org/officeDocument/2006/relationships/slideLayout" Target="../slideLayouts/slideLayout148.xml"/><Relationship Id="rId72" Type="http://schemas.openxmlformats.org/officeDocument/2006/relationships/slideLayout" Target="../slideLayouts/slideLayout169.xml"/><Relationship Id="rId80" Type="http://schemas.openxmlformats.org/officeDocument/2006/relationships/slideLayout" Target="../slideLayouts/slideLayout177.xml"/><Relationship Id="rId85" Type="http://schemas.openxmlformats.org/officeDocument/2006/relationships/slideLayout" Target="../slideLayouts/slideLayout182.xml"/><Relationship Id="rId3" Type="http://schemas.openxmlformats.org/officeDocument/2006/relationships/slideLayout" Target="../slideLayouts/slideLayout100.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slideLayout" Target="../slideLayouts/slideLayout130.xml"/><Relationship Id="rId38" Type="http://schemas.openxmlformats.org/officeDocument/2006/relationships/slideLayout" Target="../slideLayouts/slideLayout135.xml"/><Relationship Id="rId46" Type="http://schemas.openxmlformats.org/officeDocument/2006/relationships/slideLayout" Target="../slideLayouts/slideLayout143.xml"/><Relationship Id="rId59" Type="http://schemas.openxmlformats.org/officeDocument/2006/relationships/slideLayout" Target="../slideLayouts/slideLayout156.xml"/><Relationship Id="rId67" Type="http://schemas.openxmlformats.org/officeDocument/2006/relationships/slideLayout" Target="../slideLayouts/slideLayout164.xml"/><Relationship Id="rId20" Type="http://schemas.openxmlformats.org/officeDocument/2006/relationships/slideLayout" Target="../slideLayouts/slideLayout117.xml"/><Relationship Id="rId41" Type="http://schemas.openxmlformats.org/officeDocument/2006/relationships/slideLayout" Target="../slideLayouts/slideLayout138.xml"/><Relationship Id="rId54" Type="http://schemas.openxmlformats.org/officeDocument/2006/relationships/slideLayout" Target="../slideLayouts/slideLayout151.xml"/><Relationship Id="rId62" Type="http://schemas.openxmlformats.org/officeDocument/2006/relationships/slideLayout" Target="../slideLayouts/slideLayout159.xml"/><Relationship Id="rId70" Type="http://schemas.openxmlformats.org/officeDocument/2006/relationships/slideLayout" Target="../slideLayouts/slideLayout167.xml"/><Relationship Id="rId75" Type="http://schemas.openxmlformats.org/officeDocument/2006/relationships/slideLayout" Target="../slideLayouts/slideLayout172.xml"/><Relationship Id="rId83" Type="http://schemas.openxmlformats.org/officeDocument/2006/relationships/slideLayout" Target="../slideLayouts/slideLayout180.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36" Type="http://schemas.openxmlformats.org/officeDocument/2006/relationships/slideLayout" Target="../slideLayouts/slideLayout133.xml"/><Relationship Id="rId49" Type="http://schemas.openxmlformats.org/officeDocument/2006/relationships/slideLayout" Target="../slideLayouts/slideLayout146.xml"/><Relationship Id="rId57" Type="http://schemas.openxmlformats.org/officeDocument/2006/relationships/slideLayout" Target="../slideLayouts/slideLayout154.xml"/><Relationship Id="rId10" Type="http://schemas.openxmlformats.org/officeDocument/2006/relationships/slideLayout" Target="../slideLayouts/slideLayout107.xml"/><Relationship Id="rId31" Type="http://schemas.openxmlformats.org/officeDocument/2006/relationships/slideLayout" Target="../slideLayouts/slideLayout128.xml"/><Relationship Id="rId44" Type="http://schemas.openxmlformats.org/officeDocument/2006/relationships/slideLayout" Target="../slideLayouts/slideLayout141.xml"/><Relationship Id="rId52" Type="http://schemas.openxmlformats.org/officeDocument/2006/relationships/slideLayout" Target="../slideLayouts/slideLayout149.xml"/><Relationship Id="rId60" Type="http://schemas.openxmlformats.org/officeDocument/2006/relationships/slideLayout" Target="../slideLayouts/slideLayout157.xml"/><Relationship Id="rId65" Type="http://schemas.openxmlformats.org/officeDocument/2006/relationships/slideLayout" Target="../slideLayouts/slideLayout162.xml"/><Relationship Id="rId73" Type="http://schemas.openxmlformats.org/officeDocument/2006/relationships/slideLayout" Target="../slideLayouts/slideLayout170.xml"/><Relationship Id="rId78" Type="http://schemas.openxmlformats.org/officeDocument/2006/relationships/slideLayout" Target="../slideLayouts/slideLayout175.xml"/><Relationship Id="rId81" Type="http://schemas.openxmlformats.org/officeDocument/2006/relationships/slideLayout" Target="../slideLayouts/slideLayout178.xml"/><Relationship Id="rId86" Type="http://schemas.openxmlformats.org/officeDocument/2006/relationships/slideLayout" Target="../slideLayouts/slideLayout183.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39" Type="http://schemas.openxmlformats.org/officeDocument/2006/relationships/slideLayout" Target="../slideLayouts/slideLayout136.xml"/><Relationship Id="rId34" Type="http://schemas.openxmlformats.org/officeDocument/2006/relationships/slideLayout" Target="../slideLayouts/slideLayout131.xml"/><Relationship Id="rId50" Type="http://schemas.openxmlformats.org/officeDocument/2006/relationships/slideLayout" Target="../slideLayouts/slideLayout147.xml"/><Relationship Id="rId55" Type="http://schemas.openxmlformats.org/officeDocument/2006/relationships/slideLayout" Target="../slideLayouts/slideLayout152.xml"/><Relationship Id="rId76" Type="http://schemas.openxmlformats.org/officeDocument/2006/relationships/slideLayout" Target="../slideLayouts/slideLayout173.xml"/><Relationship Id="rId7" Type="http://schemas.openxmlformats.org/officeDocument/2006/relationships/slideLayout" Target="../slideLayouts/slideLayout104.xml"/><Relationship Id="rId71" Type="http://schemas.openxmlformats.org/officeDocument/2006/relationships/slideLayout" Target="../slideLayouts/slideLayout168.xml"/><Relationship Id="rId2" Type="http://schemas.openxmlformats.org/officeDocument/2006/relationships/slideLayout" Target="../slideLayouts/slideLayout99.xml"/><Relationship Id="rId29" Type="http://schemas.openxmlformats.org/officeDocument/2006/relationships/slideLayout" Target="../slideLayouts/slideLayout126.xml"/><Relationship Id="rId24" Type="http://schemas.openxmlformats.org/officeDocument/2006/relationships/slideLayout" Target="../slideLayouts/slideLayout121.xml"/><Relationship Id="rId40" Type="http://schemas.openxmlformats.org/officeDocument/2006/relationships/slideLayout" Target="../slideLayouts/slideLayout137.xml"/><Relationship Id="rId45" Type="http://schemas.openxmlformats.org/officeDocument/2006/relationships/slideLayout" Target="../slideLayouts/slideLayout142.xml"/><Relationship Id="rId66" Type="http://schemas.openxmlformats.org/officeDocument/2006/relationships/slideLayout" Target="../slideLayouts/slideLayout163.xml"/><Relationship Id="rId87" Type="http://schemas.openxmlformats.org/officeDocument/2006/relationships/theme" Target="../theme/theme2.xml"/><Relationship Id="rId61" Type="http://schemas.openxmlformats.org/officeDocument/2006/relationships/slideLayout" Target="../slideLayouts/slideLayout158.xml"/><Relationship Id="rId82" Type="http://schemas.openxmlformats.org/officeDocument/2006/relationships/slideLayout" Target="../slideLayouts/slideLayout1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Slide Number Placeholder">
            <a:extLst>
              <a:ext uri="{FF2B5EF4-FFF2-40B4-BE49-F238E27FC236}">
                <a16:creationId xmlns:a16="http://schemas.microsoft.com/office/drawing/2014/main" id="{1C49C285-C105-4FFD-9C75-9A362E5F34A3}"/>
              </a:ext>
            </a:extLst>
          </p:cNvPr>
          <p:cNvSpPr txBox="1">
            <a:spLocks/>
          </p:cNvSpPr>
          <p:nvPr userDrawn="1"/>
        </p:nvSpPr>
        <p:spPr>
          <a:xfrm>
            <a:off x="11289506" y="6393422"/>
            <a:ext cx="181768" cy="144000"/>
          </a:xfrm>
          <a:prstGeom prst="rect">
            <a:avLst/>
          </a:prstGeom>
        </p:spPr>
        <p:txBody>
          <a:bodyPr vert="horz" lIns="0" tIns="0" rIns="0" bIns="0" rtlCol="0" anchor="b" anchorCtr="0">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B7058B-B665-4C1F-9B33-FA7AD15A3078}" type="slidenum">
              <a:rPr lang="en-GB" noProof="0" smtClean="0"/>
              <a:pPr/>
              <a:t>‹#›</a:t>
            </a:fld>
            <a:endParaRPr lang="en-GB" noProof="0" dirty="0"/>
          </a:p>
        </p:txBody>
      </p:sp>
      <p:sp>
        <p:nvSpPr>
          <p:cNvPr id="4" name="Date Placeholder">
            <a:extLst>
              <a:ext uri="{FF2B5EF4-FFF2-40B4-BE49-F238E27FC236}">
                <a16:creationId xmlns:a16="http://schemas.microsoft.com/office/drawing/2014/main" id="{8EFB5881-0197-4292-B7AB-7D22BE2B1F9B}"/>
              </a:ext>
            </a:extLst>
          </p:cNvPr>
          <p:cNvSpPr>
            <a:spLocks noGrp="1"/>
          </p:cNvSpPr>
          <p:nvPr>
            <p:ph type="dt" sz="half" idx="2"/>
          </p:nvPr>
        </p:nvSpPr>
        <p:spPr>
          <a:xfrm>
            <a:off x="1630362" y="6393422"/>
            <a:ext cx="2224738" cy="144000"/>
          </a:xfrm>
          <a:prstGeom prst="rect">
            <a:avLst/>
          </a:prstGeom>
        </p:spPr>
        <p:txBody>
          <a:bodyPr vert="horz" lIns="72000" tIns="0" rIns="0" bIns="0" rtlCol="0" anchor="b" anchorCtr="0">
            <a:noAutofit/>
          </a:bodyPr>
          <a:lstStyle>
            <a:lvl1pPr algn="l">
              <a:defRPr sz="800">
                <a:solidFill>
                  <a:schemeClr val="tx1"/>
                </a:solidFill>
              </a:defRPr>
            </a:lvl1pPr>
          </a:lstStyle>
          <a:p>
            <a:pPr algn="ctr"/>
            <a:r>
              <a:rPr lang="en-US" dirty="0"/>
              <a:t>dd Month 2021</a:t>
            </a:r>
            <a:endParaRPr lang="en-GB" dirty="0"/>
          </a:p>
        </p:txBody>
      </p:sp>
      <p:sp>
        <p:nvSpPr>
          <p:cNvPr id="5" name="Footer Placeholder 1">
            <a:extLst>
              <a:ext uri="{FF2B5EF4-FFF2-40B4-BE49-F238E27FC236}">
                <a16:creationId xmlns:a16="http://schemas.microsoft.com/office/drawing/2014/main" id="{A024470D-7D94-4E25-BC6C-217B27B5B0A5}"/>
              </a:ext>
            </a:extLst>
          </p:cNvPr>
          <p:cNvSpPr>
            <a:spLocks noGrp="1"/>
          </p:cNvSpPr>
          <p:nvPr>
            <p:ph type="ftr" sz="quarter" idx="3"/>
          </p:nvPr>
        </p:nvSpPr>
        <p:spPr>
          <a:xfrm>
            <a:off x="7096125" y="6393422"/>
            <a:ext cx="4058158" cy="144000"/>
          </a:xfrm>
          <a:prstGeom prst="rect">
            <a:avLst/>
          </a:prstGeom>
        </p:spPr>
        <p:txBody>
          <a:bodyPr vert="horz" lIns="0" tIns="0" rIns="72000" bIns="0" rtlCol="0" anchor="b" anchorCtr="0">
            <a:noAutofit/>
          </a:bodyPr>
          <a:lstStyle>
            <a:lvl1pPr algn="r">
              <a:defRPr sz="800">
                <a:solidFill>
                  <a:schemeClr val="tx1"/>
                </a:solidFill>
              </a:defRPr>
            </a:lvl1pPr>
          </a:lstStyle>
          <a:p>
            <a:r>
              <a:rPr lang="en-GB" noProof="0" dirty="0"/>
              <a:t>Update Footer to add the Document title</a:t>
            </a:r>
          </a:p>
        </p:txBody>
      </p:sp>
      <p:sp>
        <p:nvSpPr>
          <p:cNvPr id="3" name="Text Placeholder 1">
            <a:extLst>
              <a:ext uri="{FF2B5EF4-FFF2-40B4-BE49-F238E27FC236}">
                <a16:creationId xmlns:a16="http://schemas.microsoft.com/office/drawing/2014/main" id="{2D2F7A1F-6C14-4434-84D4-61DE706A4AD2}"/>
              </a:ext>
            </a:extLst>
          </p:cNvPr>
          <p:cNvSpPr>
            <a:spLocks noGrp="1"/>
          </p:cNvSpPr>
          <p:nvPr>
            <p:ph type="body" idx="1"/>
          </p:nvPr>
        </p:nvSpPr>
        <p:spPr>
          <a:xfrm>
            <a:off x="719137" y="2130804"/>
            <a:ext cx="10752137" cy="4008058"/>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 – Bullet 1</a:t>
            </a:r>
          </a:p>
          <a:p>
            <a:pPr lvl="2"/>
            <a:r>
              <a:rPr lang="en-GB" noProof="0" dirty="0"/>
              <a:t>Third level – Bullet 2</a:t>
            </a:r>
          </a:p>
          <a:p>
            <a:pPr lvl="3"/>
            <a:r>
              <a:rPr lang="en-GB" noProof="0" dirty="0"/>
              <a:t>Fourth level – Bullet 3</a:t>
            </a:r>
          </a:p>
          <a:p>
            <a:pPr lvl="4"/>
            <a:r>
              <a:rPr lang="en-GB" noProof="0" dirty="0"/>
              <a:t>Fifth level – Number 1</a:t>
            </a:r>
          </a:p>
          <a:p>
            <a:pPr lvl="5"/>
            <a:r>
              <a:rPr lang="en-GB" noProof="0" dirty="0"/>
              <a:t>Sixth level – Number 2</a:t>
            </a:r>
          </a:p>
          <a:p>
            <a:pPr lvl="6"/>
            <a:r>
              <a:rPr lang="en-GB" noProof="0" dirty="0"/>
              <a:t>Seventh level – Heading 1</a:t>
            </a:r>
          </a:p>
          <a:p>
            <a:pPr lvl="7"/>
            <a:r>
              <a:rPr lang="en-GB" noProof="0" dirty="0"/>
              <a:t>Eighth level – Heading 2</a:t>
            </a:r>
          </a:p>
          <a:p>
            <a:pPr lvl="8"/>
            <a:r>
              <a:rPr lang="en-GB" noProof="0" dirty="0"/>
              <a:t>Ninth level – Pull-out</a:t>
            </a:r>
          </a:p>
        </p:txBody>
      </p:sp>
      <p:sp>
        <p:nvSpPr>
          <p:cNvPr id="2" name="Title Placeholder 1">
            <a:extLst>
              <a:ext uri="{FF2B5EF4-FFF2-40B4-BE49-F238E27FC236}">
                <a16:creationId xmlns:a16="http://schemas.microsoft.com/office/drawing/2014/main" id="{AB0A03BB-1213-4335-8CC5-02AB3105793C}"/>
              </a:ext>
            </a:extLst>
          </p:cNvPr>
          <p:cNvSpPr>
            <a:spLocks noGrp="1"/>
          </p:cNvSpPr>
          <p:nvPr>
            <p:ph type="title"/>
          </p:nvPr>
        </p:nvSpPr>
        <p:spPr>
          <a:xfrm>
            <a:off x="719137" y="666745"/>
            <a:ext cx="10752137" cy="720000"/>
          </a:xfrm>
          <a:prstGeom prst="rect">
            <a:avLst/>
          </a:prstGeom>
        </p:spPr>
        <p:txBody>
          <a:bodyPr vert="horz" lIns="0" tIns="0" rIns="0" bIns="0" rtlCol="0" anchor="t" anchorCtr="0">
            <a:noAutofit/>
          </a:bodyPr>
          <a:lstStyle/>
          <a:p>
            <a:pPr lvl="0"/>
            <a:r>
              <a:rPr lang="en-US" noProof="0"/>
              <a:t>Click to edit Master title style</a:t>
            </a:r>
            <a:endParaRPr lang="en-GB" noProof="0" dirty="0"/>
          </a:p>
        </p:txBody>
      </p:sp>
      <p:sp>
        <p:nvSpPr>
          <p:cNvPr id="12" name="Copyright">
            <a:extLst>
              <a:ext uri="{FF2B5EF4-FFF2-40B4-BE49-F238E27FC236}">
                <a16:creationId xmlns:a16="http://schemas.microsoft.com/office/drawing/2014/main" id="{ECEF6E54-EE16-41B0-871A-0B50552DFDF7}"/>
              </a:ext>
            </a:extLst>
          </p:cNvPr>
          <p:cNvSpPr txBox="1">
            <a:spLocks/>
          </p:cNvSpPr>
          <p:nvPr userDrawn="1"/>
        </p:nvSpPr>
        <p:spPr>
          <a:xfrm>
            <a:off x="719137" y="6393422"/>
            <a:ext cx="1105555" cy="144000"/>
          </a:xfrm>
          <a:prstGeom prst="rect">
            <a:avLst/>
          </a:prstGeom>
        </p:spPr>
        <p:txBody>
          <a:bodyPr vert="horz" wrap="none" lIns="0" tIns="0" rIns="36000" bIns="0" rtlCol="0" anchor="b" anchorCtr="0">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noProof="0">
                <a:latin typeface="+mn-lt"/>
              </a:rPr>
              <a:t>© Bird &amp; Bird LLP</a:t>
            </a:r>
            <a:endParaRPr lang="en-GB" sz="800" noProof="0" dirty="0">
              <a:latin typeface="+mn-lt"/>
            </a:endParaRPr>
          </a:p>
        </p:txBody>
      </p:sp>
    </p:spTree>
    <p:extLst>
      <p:ext uri="{BB962C8B-B14F-4D97-AF65-F5344CB8AC3E}">
        <p14:creationId xmlns:p14="http://schemas.microsoft.com/office/powerpoint/2010/main" val="39118114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734" r:id="rId3"/>
    <p:sldLayoutId id="2147483662" r:id="rId4"/>
    <p:sldLayoutId id="2147483758" r:id="rId5"/>
    <p:sldLayoutId id="2147483709" r:id="rId6"/>
    <p:sldLayoutId id="2147483759" r:id="rId7"/>
    <p:sldLayoutId id="2147483710" r:id="rId8"/>
    <p:sldLayoutId id="2147483760" r:id="rId9"/>
    <p:sldLayoutId id="2147483654" r:id="rId10"/>
    <p:sldLayoutId id="2147483712" r:id="rId11"/>
    <p:sldLayoutId id="2147483742" r:id="rId12"/>
    <p:sldLayoutId id="2147483672" r:id="rId13"/>
    <p:sldLayoutId id="2147483754" r:id="rId14"/>
    <p:sldLayoutId id="2147483755" r:id="rId15"/>
    <p:sldLayoutId id="2147483753" r:id="rId16"/>
    <p:sldLayoutId id="2147483739" r:id="rId17"/>
    <p:sldLayoutId id="2147483740" r:id="rId18"/>
    <p:sldLayoutId id="2147483741" r:id="rId19"/>
    <p:sldLayoutId id="2147483743" r:id="rId20"/>
    <p:sldLayoutId id="2147483757" r:id="rId21"/>
    <p:sldLayoutId id="2147483738" r:id="rId22"/>
    <p:sldLayoutId id="2147483707" r:id="rId23"/>
    <p:sldLayoutId id="2147483711" r:id="rId24"/>
    <p:sldLayoutId id="2147483763" r:id="rId25"/>
    <p:sldLayoutId id="2147483764" r:id="rId26"/>
    <p:sldLayoutId id="2147483762" r:id="rId27"/>
    <p:sldLayoutId id="2147483765" r:id="rId28"/>
    <p:sldLayoutId id="2147483766" r:id="rId29"/>
    <p:sldLayoutId id="2147483767" r:id="rId30"/>
    <p:sldLayoutId id="2147483768" r:id="rId31"/>
    <p:sldLayoutId id="2147483708" r:id="rId32"/>
    <p:sldLayoutId id="2147483691" r:id="rId33"/>
    <p:sldLayoutId id="2147483694" r:id="rId34"/>
    <p:sldLayoutId id="2147483695" r:id="rId35"/>
    <p:sldLayoutId id="2147483747" r:id="rId36"/>
    <p:sldLayoutId id="2147483748" r:id="rId37"/>
    <p:sldLayoutId id="2147483749" r:id="rId38"/>
    <p:sldLayoutId id="2147483750" r:id="rId39"/>
    <p:sldLayoutId id="2147483751" r:id="rId40"/>
    <p:sldLayoutId id="2147483682" r:id="rId41"/>
    <p:sldLayoutId id="2147483705" r:id="rId42"/>
    <p:sldLayoutId id="2147483703" r:id="rId43"/>
    <p:sldLayoutId id="2147483663" r:id="rId44"/>
    <p:sldLayoutId id="2147483698" r:id="rId45"/>
    <p:sldLayoutId id="2147483696" r:id="rId46"/>
    <p:sldLayoutId id="2147483664" r:id="rId47"/>
    <p:sldLayoutId id="2147483699" r:id="rId48"/>
    <p:sldLayoutId id="2147483704" r:id="rId49"/>
    <p:sldLayoutId id="2147483706" r:id="rId50"/>
    <p:sldLayoutId id="2147483655" r:id="rId51"/>
    <p:sldLayoutId id="2147483671" r:id="rId52"/>
    <p:sldLayoutId id="2147483676" r:id="rId53"/>
    <p:sldLayoutId id="2147483675" r:id="rId54"/>
    <p:sldLayoutId id="2147483680" r:id="rId55"/>
    <p:sldLayoutId id="2147483673" r:id="rId56"/>
    <p:sldLayoutId id="2147483756" r:id="rId57"/>
    <p:sldLayoutId id="2147483681" r:id="rId58"/>
    <p:sldLayoutId id="2147483674" r:id="rId59"/>
    <p:sldLayoutId id="2147483685" r:id="rId60"/>
    <p:sldLayoutId id="2147483684" r:id="rId61"/>
    <p:sldLayoutId id="2147483716" r:id="rId62"/>
    <p:sldLayoutId id="2147483651" r:id="rId63"/>
    <p:sldLayoutId id="2147483665" r:id="rId64"/>
    <p:sldLayoutId id="2147483666" r:id="rId65"/>
    <p:sldLayoutId id="2147483668" r:id="rId66"/>
    <p:sldLayoutId id="2147483686" r:id="rId67"/>
    <p:sldLayoutId id="2147483722" r:id="rId68"/>
    <p:sldLayoutId id="2147483687" r:id="rId69"/>
    <p:sldLayoutId id="2147483723" r:id="rId70"/>
    <p:sldLayoutId id="2147483688" r:id="rId71"/>
    <p:sldLayoutId id="2147483724" r:id="rId72"/>
    <p:sldLayoutId id="2147483689" r:id="rId73"/>
    <p:sldLayoutId id="2147483725" r:id="rId74"/>
    <p:sldLayoutId id="2147483690" r:id="rId75"/>
    <p:sldLayoutId id="2147483726" r:id="rId76"/>
    <p:sldLayoutId id="2147483700" r:id="rId77"/>
    <p:sldLayoutId id="2147483660" r:id="rId78"/>
    <p:sldLayoutId id="2147483730" r:id="rId79"/>
    <p:sldLayoutId id="2147483715" r:id="rId80"/>
    <p:sldLayoutId id="2147483701" r:id="rId81"/>
    <p:sldLayoutId id="2147483733" r:id="rId82"/>
    <p:sldLayoutId id="2147483702" r:id="rId83"/>
    <p:sldLayoutId id="2147483714" r:id="rId84"/>
    <p:sldLayoutId id="2147483752" r:id="rId85"/>
    <p:sldLayoutId id="2147483669" r:id="rId86"/>
    <p:sldLayoutId id="2147483670" r:id="rId87"/>
    <p:sldLayoutId id="2147483735" r:id="rId88"/>
    <p:sldLayoutId id="2147483737" r:id="rId89"/>
    <p:sldLayoutId id="2147483736" r:id="rId90"/>
    <p:sldLayoutId id="2147483677" r:id="rId91"/>
    <p:sldLayoutId id="2147483678" r:id="rId92"/>
    <p:sldLayoutId id="2147483679" r:id="rId93"/>
    <p:sldLayoutId id="2147483727" r:id="rId94"/>
    <p:sldLayoutId id="2147483728" r:id="rId95"/>
    <p:sldLayoutId id="2147483729" r:id="rId96"/>
    <p:sldLayoutId id="2147483761" r:id="rId97"/>
  </p:sldLayoutIdLst>
  <p:hf sldNum="0" hdr="0"/>
  <p:txStyles>
    <p:titleStyle>
      <a:lvl1pPr algn="l" defTabSz="914377" rtl="0" eaLnBrk="1" latinLnBrk="0" hangingPunct="1">
        <a:lnSpc>
          <a:spcPct val="90000"/>
        </a:lnSpc>
        <a:spcBef>
          <a:spcPct val="0"/>
        </a:spcBef>
        <a:buNone/>
        <a:defRPr sz="4000" kern="1200">
          <a:solidFill>
            <a:schemeClr val="tx1"/>
          </a:solidFill>
          <a:latin typeface="+mj-lt"/>
          <a:ea typeface="+mj-ea"/>
          <a:cs typeface="+mj-cs"/>
        </a:defRPr>
      </a:lvl1pPr>
      <a:lvl2pPr eaLnBrk="1" hangingPunct="1">
        <a:lnSpc>
          <a:spcPct val="90000"/>
        </a:lnSpc>
        <a:defRPr sz="4800">
          <a:solidFill>
            <a:schemeClr val="tx2"/>
          </a:solidFill>
          <a:latin typeface="+mj-lt"/>
        </a:defRPr>
      </a:lvl2pPr>
      <a:lvl3pPr eaLnBrk="1" hangingPunct="1">
        <a:lnSpc>
          <a:spcPct val="90000"/>
        </a:lnSpc>
        <a:defRPr sz="4400">
          <a:solidFill>
            <a:schemeClr val="tx1"/>
          </a:solidFill>
          <a:latin typeface="+mj-lt"/>
        </a:defRPr>
      </a:lvl3pPr>
      <a:lvl4pPr eaLnBrk="1" hangingPunct="1">
        <a:lnSpc>
          <a:spcPct val="90000"/>
        </a:lnSpc>
        <a:defRPr sz="4400">
          <a:solidFill>
            <a:schemeClr val="tx2"/>
          </a:solidFill>
          <a:latin typeface="+mj-lt"/>
        </a:defRPr>
      </a:lvl4pPr>
      <a:lvl5pPr eaLnBrk="1" hangingPunct="1">
        <a:lnSpc>
          <a:spcPct val="90000"/>
        </a:lnSpc>
        <a:defRPr sz="4000">
          <a:solidFill>
            <a:schemeClr val="tx1"/>
          </a:solidFill>
          <a:latin typeface="+mj-lt"/>
        </a:defRPr>
      </a:lvl5pPr>
      <a:lvl6pPr eaLnBrk="1" hangingPunct="1">
        <a:lnSpc>
          <a:spcPct val="90000"/>
        </a:lnSpc>
        <a:defRPr sz="4000">
          <a:solidFill>
            <a:schemeClr val="tx2"/>
          </a:solidFill>
          <a:latin typeface="+mj-lt"/>
        </a:defRPr>
      </a:lvl6pPr>
      <a:lvl7pPr eaLnBrk="1" hangingPunct="1">
        <a:lnSpc>
          <a:spcPct val="90000"/>
        </a:lnSpc>
        <a:defRPr sz="3600">
          <a:solidFill>
            <a:schemeClr val="tx1"/>
          </a:solidFill>
          <a:latin typeface="+mj-lt"/>
        </a:defRPr>
      </a:lvl7pPr>
      <a:lvl8pPr eaLnBrk="1" hangingPunct="1">
        <a:lnSpc>
          <a:spcPct val="90000"/>
        </a:lnSpc>
        <a:defRPr sz="3600">
          <a:solidFill>
            <a:schemeClr val="tx2"/>
          </a:solidFill>
          <a:latin typeface="+mj-lt"/>
        </a:defRPr>
      </a:lvl8pPr>
      <a:lvl9pPr eaLnBrk="1" hangingPunct="1">
        <a:lnSpc>
          <a:spcPct val="90000"/>
        </a:lnSpc>
        <a:defRPr sz="4400" i="0">
          <a:solidFill>
            <a:schemeClr val="tx1"/>
          </a:solidFill>
          <a:latin typeface="+mj-lt"/>
        </a:defRPr>
      </a:lvl9pPr>
    </p:titleStyle>
    <p:body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bodyStyle>
    <p:otherStyle>
      <a:defPPr>
        <a:defRPr lang="en-US"/>
      </a:defPPr>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otherStyle>
  </p:txStyles>
  <p:extLst>
    <p:ext uri="{27BBF7A9-308A-43DC-89C8-2F10F3537804}">
      <p15:sldGuideLst xmlns:p15="http://schemas.microsoft.com/office/powerpoint/2012/main">
        <p15:guide id="1" pos="453" userDrawn="1">
          <p15:clr>
            <a:srgbClr val="F26B43"/>
          </p15:clr>
        </p15:guide>
        <p15:guide id="2" pos="7226" userDrawn="1">
          <p15:clr>
            <a:srgbClr val="F26B43"/>
          </p15:clr>
        </p15:guide>
        <p15:guide id="25" orient="horz" pos="450" userDrawn="1">
          <p15:clr>
            <a:srgbClr val="F26B43"/>
          </p15:clr>
        </p15:guide>
        <p15:guide id="26" orient="horz" pos="3866" userDrawn="1">
          <p15:clr>
            <a:srgbClr val="F26B43"/>
          </p15:clr>
        </p15:guide>
        <p15:guide id="27" orient="horz" pos="1341" userDrawn="1">
          <p15:clr>
            <a:srgbClr val="F26B43"/>
          </p15:clr>
        </p15:guide>
        <p15:guide id="28" orient="horz" pos="840" userDrawn="1">
          <p15:clr>
            <a:srgbClr val="F26B43"/>
          </p15:clr>
        </p15:guide>
        <p15:guide id="29" orient="horz" pos="102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Slide Number Placeholder">
            <a:extLst>
              <a:ext uri="{FF2B5EF4-FFF2-40B4-BE49-F238E27FC236}">
                <a16:creationId xmlns:a16="http://schemas.microsoft.com/office/drawing/2014/main" id="{1C49C285-C105-4FFD-9C75-9A362E5F34A3}"/>
              </a:ext>
            </a:extLst>
          </p:cNvPr>
          <p:cNvSpPr txBox="1">
            <a:spLocks/>
          </p:cNvSpPr>
          <p:nvPr userDrawn="1"/>
        </p:nvSpPr>
        <p:spPr>
          <a:xfrm>
            <a:off x="11289506" y="6393422"/>
            <a:ext cx="181768" cy="144000"/>
          </a:xfrm>
          <a:prstGeom prst="rect">
            <a:avLst/>
          </a:prstGeom>
        </p:spPr>
        <p:txBody>
          <a:bodyPr vert="horz" lIns="0" tIns="0" rIns="0" bIns="0" rtlCol="0" anchor="b" anchorCtr="0">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B7058B-B665-4C1F-9B33-FA7AD15A3078}" type="slidenum">
              <a:rPr lang="en-GB" noProof="0" smtClean="0"/>
              <a:pPr/>
              <a:t>‹#›</a:t>
            </a:fld>
            <a:endParaRPr lang="en-GB" noProof="0" dirty="0"/>
          </a:p>
        </p:txBody>
      </p:sp>
      <p:sp>
        <p:nvSpPr>
          <p:cNvPr id="4" name="Date Placeholder">
            <a:extLst>
              <a:ext uri="{FF2B5EF4-FFF2-40B4-BE49-F238E27FC236}">
                <a16:creationId xmlns:a16="http://schemas.microsoft.com/office/drawing/2014/main" id="{8EFB5881-0197-4292-B7AB-7D22BE2B1F9B}"/>
              </a:ext>
            </a:extLst>
          </p:cNvPr>
          <p:cNvSpPr>
            <a:spLocks noGrp="1"/>
          </p:cNvSpPr>
          <p:nvPr>
            <p:ph type="dt" sz="half" idx="2"/>
          </p:nvPr>
        </p:nvSpPr>
        <p:spPr>
          <a:xfrm>
            <a:off x="1630362" y="6393422"/>
            <a:ext cx="2224738" cy="144000"/>
          </a:xfrm>
          <a:prstGeom prst="rect">
            <a:avLst/>
          </a:prstGeom>
        </p:spPr>
        <p:txBody>
          <a:bodyPr vert="horz" lIns="72000" tIns="0" rIns="0" bIns="0" rtlCol="0" anchor="b" anchorCtr="0">
            <a:noAutofit/>
          </a:bodyPr>
          <a:lstStyle>
            <a:lvl1pPr algn="l">
              <a:defRPr sz="800">
                <a:solidFill>
                  <a:schemeClr val="tx1"/>
                </a:solidFill>
              </a:defRPr>
            </a:lvl1pPr>
          </a:lstStyle>
          <a:p>
            <a:r>
              <a:rPr lang="en-US" noProof="0"/>
              <a:t>dd Month 2021</a:t>
            </a:r>
            <a:endParaRPr lang="en-GB" noProof="0" dirty="0"/>
          </a:p>
        </p:txBody>
      </p:sp>
      <p:sp>
        <p:nvSpPr>
          <p:cNvPr id="5" name="Footer Placeholder 1">
            <a:extLst>
              <a:ext uri="{FF2B5EF4-FFF2-40B4-BE49-F238E27FC236}">
                <a16:creationId xmlns:a16="http://schemas.microsoft.com/office/drawing/2014/main" id="{A024470D-7D94-4E25-BC6C-217B27B5B0A5}"/>
              </a:ext>
            </a:extLst>
          </p:cNvPr>
          <p:cNvSpPr>
            <a:spLocks noGrp="1"/>
          </p:cNvSpPr>
          <p:nvPr>
            <p:ph type="ftr" sz="quarter" idx="3"/>
          </p:nvPr>
        </p:nvSpPr>
        <p:spPr>
          <a:xfrm>
            <a:off x="7096125" y="6393422"/>
            <a:ext cx="4058158" cy="144000"/>
          </a:xfrm>
          <a:prstGeom prst="rect">
            <a:avLst/>
          </a:prstGeom>
        </p:spPr>
        <p:txBody>
          <a:bodyPr vert="horz" lIns="0" tIns="0" rIns="72000" bIns="0" rtlCol="0" anchor="b" anchorCtr="0">
            <a:noAutofit/>
          </a:bodyPr>
          <a:lstStyle>
            <a:lvl1pPr algn="r">
              <a:defRPr sz="800">
                <a:solidFill>
                  <a:schemeClr val="tx1"/>
                </a:solidFill>
              </a:defRPr>
            </a:lvl1pPr>
          </a:lstStyle>
          <a:p>
            <a:r>
              <a:rPr lang="en-GB" noProof="0" dirty="0"/>
              <a:t>Update Footer to add the Document title</a:t>
            </a:r>
          </a:p>
        </p:txBody>
      </p:sp>
      <p:sp>
        <p:nvSpPr>
          <p:cNvPr id="3" name="Text Placeholder 1">
            <a:extLst>
              <a:ext uri="{FF2B5EF4-FFF2-40B4-BE49-F238E27FC236}">
                <a16:creationId xmlns:a16="http://schemas.microsoft.com/office/drawing/2014/main" id="{2D2F7A1F-6C14-4434-84D4-61DE706A4AD2}"/>
              </a:ext>
            </a:extLst>
          </p:cNvPr>
          <p:cNvSpPr>
            <a:spLocks noGrp="1"/>
          </p:cNvSpPr>
          <p:nvPr>
            <p:ph type="body" idx="1"/>
          </p:nvPr>
        </p:nvSpPr>
        <p:spPr>
          <a:xfrm>
            <a:off x="719137" y="2130804"/>
            <a:ext cx="10752137" cy="4008058"/>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 – Bullet 1</a:t>
            </a:r>
          </a:p>
          <a:p>
            <a:pPr lvl="2"/>
            <a:r>
              <a:rPr lang="en-GB" noProof="0" dirty="0"/>
              <a:t>Third level – Bullet 2</a:t>
            </a:r>
          </a:p>
          <a:p>
            <a:pPr lvl="3"/>
            <a:r>
              <a:rPr lang="en-GB" noProof="0" dirty="0"/>
              <a:t>Fourth level – Bullet 3</a:t>
            </a:r>
          </a:p>
          <a:p>
            <a:pPr lvl="4"/>
            <a:r>
              <a:rPr lang="en-GB" noProof="0" dirty="0"/>
              <a:t>Fifth level – Number 1</a:t>
            </a:r>
          </a:p>
          <a:p>
            <a:pPr lvl="5"/>
            <a:r>
              <a:rPr lang="en-GB" noProof="0" dirty="0"/>
              <a:t>Sixth level – Number 2</a:t>
            </a:r>
          </a:p>
          <a:p>
            <a:pPr lvl="6"/>
            <a:r>
              <a:rPr lang="en-GB" noProof="0" dirty="0"/>
              <a:t>Seventh level – Heading 1</a:t>
            </a:r>
          </a:p>
          <a:p>
            <a:pPr lvl="7"/>
            <a:r>
              <a:rPr lang="en-GB" noProof="0" dirty="0"/>
              <a:t>Eighth level – Heading 2</a:t>
            </a:r>
          </a:p>
          <a:p>
            <a:pPr lvl="8"/>
            <a:r>
              <a:rPr lang="en-GB" noProof="0" dirty="0"/>
              <a:t>Ninth level – Pull-out</a:t>
            </a:r>
          </a:p>
        </p:txBody>
      </p:sp>
      <p:sp>
        <p:nvSpPr>
          <p:cNvPr id="2" name="Title Placeholder 1">
            <a:extLst>
              <a:ext uri="{FF2B5EF4-FFF2-40B4-BE49-F238E27FC236}">
                <a16:creationId xmlns:a16="http://schemas.microsoft.com/office/drawing/2014/main" id="{AB0A03BB-1213-4335-8CC5-02AB3105793C}"/>
              </a:ext>
            </a:extLst>
          </p:cNvPr>
          <p:cNvSpPr>
            <a:spLocks noGrp="1"/>
          </p:cNvSpPr>
          <p:nvPr>
            <p:ph type="title"/>
          </p:nvPr>
        </p:nvSpPr>
        <p:spPr>
          <a:xfrm>
            <a:off x="719137" y="666745"/>
            <a:ext cx="10752137" cy="720000"/>
          </a:xfrm>
          <a:prstGeom prst="rect">
            <a:avLst/>
          </a:prstGeom>
        </p:spPr>
        <p:txBody>
          <a:bodyPr vert="horz" lIns="0" tIns="0" rIns="0" bIns="0" rtlCol="0" anchor="t" anchorCtr="0">
            <a:noAutofit/>
          </a:bodyPr>
          <a:lstStyle/>
          <a:p>
            <a:pPr lvl="0"/>
            <a:r>
              <a:rPr lang="en-US" noProof="0"/>
              <a:t>Click to edit Master title style</a:t>
            </a:r>
            <a:endParaRPr lang="en-GB" noProof="0" dirty="0"/>
          </a:p>
        </p:txBody>
      </p:sp>
      <p:sp>
        <p:nvSpPr>
          <p:cNvPr id="12" name="Copyright">
            <a:extLst>
              <a:ext uri="{FF2B5EF4-FFF2-40B4-BE49-F238E27FC236}">
                <a16:creationId xmlns:a16="http://schemas.microsoft.com/office/drawing/2014/main" id="{ECEF6E54-EE16-41B0-871A-0B50552DFDF7}"/>
              </a:ext>
            </a:extLst>
          </p:cNvPr>
          <p:cNvSpPr txBox="1">
            <a:spLocks/>
          </p:cNvSpPr>
          <p:nvPr userDrawn="1"/>
        </p:nvSpPr>
        <p:spPr>
          <a:xfrm>
            <a:off x="719137" y="6393422"/>
            <a:ext cx="1105555" cy="144000"/>
          </a:xfrm>
          <a:prstGeom prst="rect">
            <a:avLst/>
          </a:prstGeom>
        </p:spPr>
        <p:txBody>
          <a:bodyPr vert="horz" wrap="none" lIns="0" tIns="0" rIns="36000" bIns="0" rtlCol="0" anchor="b" anchorCtr="0">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noProof="0">
                <a:latin typeface="+mn-lt"/>
              </a:rPr>
              <a:t>© Bird &amp; Bird LLP</a:t>
            </a:r>
            <a:endParaRPr lang="en-GB" sz="800" noProof="0" dirty="0">
              <a:latin typeface="+mn-lt"/>
            </a:endParaRPr>
          </a:p>
        </p:txBody>
      </p:sp>
    </p:spTree>
    <p:extLst>
      <p:ext uri="{BB962C8B-B14F-4D97-AF65-F5344CB8AC3E}">
        <p14:creationId xmlns:p14="http://schemas.microsoft.com/office/powerpoint/2010/main" val="3922122793"/>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 id="2147483796" r:id="rId27"/>
    <p:sldLayoutId id="2147483797" r:id="rId28"/>
    <p:sldLayoutId id="2147483798" r:id="rId29"/>
    <p:sldLayoutId id="2147483799" r:id="rId30"/>
    <p:sldLayoutId id="2147483800" r:id="rId31"/>
    <p:sldLayoutId id="2147483801" r:id="rId32"/>
    <p:sldLayoutId id="2147483802" r:id="rId33"/>
    <p:sldLayoutId id="2147483803" r:id="rId34"/>
    <p:sldLayoutId id="2147483804" r:id="rId35"/>
    <p:sldLayoutId id="2147483805" r:id="rId36"/>
    <p:sldLayoutId id="2147483806" r:id="rId37"/>
    <p:sldLayoutId id="2147483807" r:id="rId38"/>
    <p:sldLayoutId id="2147483808" r:id="rId39"/>
    <p:sldLayoutId id="2147483809" r:id="rId40"/>
    <p:sldLayoutId id="2147483810" r:id="rId41"/>
    <p:sldLayoutId id="2147483811" r:id="rId42"/>
    <p:sldLayoutId id="2147483812" r:id="rId43"/>
    <p:sldLayoutId id="2147483813" r:id="rId44"/>
    <p:sldLayoutId id="2147483814" r:id="rId45"/>
    <p:sldLayoutId id="2147483815" r:id="rId46"/>
    <p:sldLayoutId id="2147483816" r:id="rId47"/>
    <p:sldLayoutId id="2147483817" r:id="rId48"/>
    <p:sldLayoutId id="2147483818" r:id="rId49"/>
    <p:sldLayoutId id="2147483819" r:id="rId50"/>
    <p:sldLayoutId id="2147483820" r:id="rId51"/>
    <p:sldLayoutId id="2147483821" r:id="rId52"/>
    <p:sldLayoutId id="2147483822" r:id="rId53"/>
    <p:sldLayoutId id="2147483823" r:id="rId54"/>
    <p:sldLayoutId id="2147483824" r:id="rId55"/>
    <p:sldLayoutId id="2147483825" r:id="rId56"/>
    <p:sldLayoutId id="2147483826" r:id="rId57"/>
    <p:sldLayoutId id="2147483827" r:id="rId58"/>
    <p:sldLayoutId id="2147483828" r:id="rId59"/>
    <p:sldLayoutId id="2147483829" r:id="rId60"/>
    <p:sldLayoutId id="2147483830" r:id="rId61"/>
    <p:sldLayoutId id="2147483831" r:id="rId62"/>
    <p:sldLayoutId id="2147483832" r:id="rId63"/>
    <p:sldLayoutId id="2147483833" r:id="rId64"/>
    <p:sldLayoutId id="2147483834" r:id="rId65"/>
    <p:sldLayoutId id="2147483835" r:id="rId66"/>
    <p:sldLayoutId id="2147483836" r:id="rId67"/>
    <p:sldLayoutId id="2147483837" r:id="rId68"/>
    <p:sldLayoutId id="2147483838" r:id="rId69"/>
    <p:sldLayoutId id="2147483839" r:id="rId70"/>
    <p:sldLayoutId id="2147483840" r:id="rId71"/>
    <p:sldLayoutId id="2147483841" r:id="rId72"/>
    <p:sldLayoutId id="2147483842" r:id="rId73"/>
    <p:sldLayoutId id="2147483843" r:id="rId74"/>
    <p:sldLayoutId id="2147483844" r:id="rId75"/>
    <p:sldLayoutId id="2147483845" r:id="rId76"/>
    <p:sldLayoutId id="2147483846" r:id="rId77"/>
    <p:sldLayoutId id="2147483847" r:id="rId78"/>
    <p:sldLayoutId id="2147483848" r:id="rId79"/>
    <p:sldLayoutId id="2147483849" r:id="rId80"/>
    <p:sldLayoutId id="2147483850" r:id="rId81"/>
    <p:sldLayoutId id="2147483851" r:id="rId82"/>
    <p:sldLayoutId id="2147483852" r:id="rId83"/>
    <p:sldLayoutId id="2147483853" r:id="rId84"/>
    <p:sldLayoutId id="2147483854" r:id="rId85"/>
    <p:sldLayoutId id="2147483855" r:id="rId86"/>
  </p:sldLayoutIdLst>
  <p:hf sldNum="0" hdr="0"/>
  <p:txStyles>
    <p:titleStyle>
      <a:lvl1pPr algn="l" defTabSz="914377" rtl="0" eaLnBrk="1" latinLnBrk="0" hangingPunct="1">
        <a:lnSpc>
          <a:spcPct val="90000"/>
        </a:lnSpc>
        <a:spcBef>
          <a:spcPct val="0"/>
        </a:spcBef>
        <a:buNone/>
        <a:defRPr sz="4000" kern="1200">
          <a:solidFill>
            <a:schemeClr val="tx1"/>
          </a:solidFill>
          <a:latin typeface="+mj-lt"/>
          <a:ea typeface="+mj-ea"/>
          <a:cs typeface="+mj-cs"/>
        </a:defRPr>
      </a:lvl1pPr>
      <a:lvl2pPr eaLnBrk="1" hangingPunct="1">
        <a:lnSpc>
          <a:spcPct val="90000"/>
        </a:lnSpc>
        <a:defRPr sz="4800">
          <a:solidFill>
            <a:schemeClr val="tx2"/>
          </a:solidFill>
          <a:latin typeface="+mj-lt"/>
        </a:defRPr>
      </a:lvl2pPr>
      <a:lvl3pPr eaLnBrk="1" hangingPunct="1">
        <a:lnSpc>
          <a:spcPct val="90000"/>
        </a:lnSpc>
        <a:defRPr sz="4400">
          <a:solidFill>
            <a:schemeClr val="tx1"/>
          </a:solidFill>
          <a:latin typeface="+mj-lt"/>
        </a:defRPr>
      </a:lvl3pPr>
      <a:lvl4pPr eaLnBrk="1" hangingPunct="1">
        <a:lnSpc>
          <a:spcPct val="90000"/>
        </a:lnSpc>
        <a:defRPr sz="4400">
          <a:solidFill>
            <a:schemeClr val="tx2"/>
          </a:solidFill>
          <a:latin typeface="+mj-lt"/>
        </a:defRPr>
      </a:lvl4pPr>
      <a:lvl5pPr eaLnBrk="1" hangingPunct="1">
        <a:lnSpc>
          <a:spcPct val="90000"/>
        </a:lnSpc>
        <a:defRPr sz="4000">
          <a:solidFill>
            <a:schemeClr val="tx1"/>
          </a:solidFill>
          <a:latin typeface="+mj-lt"/>
        </a:defRPr>
      </a:lvl5pPr>
      <a:lvl6pPr eaLnBrk="1" hangingPunct="1">
        <a:lnSpc>
          <a:spcPct val="90000"/>
        </a:lnSpc>
        <a:defRPr sz="4000">
          <a:solidFill>
            <a:schemeClr val="tx2"/>
          </a:solidFill>
          <a:latin typeface="+mj-lt"/>
        </a:defRPr>
      </a:lvl6pPr>
      <a:lvl7pPr eaLnBrk="1" hangingPunct="1">
        <a:lnSpc>
          <a:spcPct val="90000"/>
        </a:lnSpc>
        <a:defRPr sz="3600">
          <a:solidFill>
            <a:schemeClr val="tx1"/>
          </a:solidFill>
          <a:latin typeface="+mj-lt"/>
        </a:defRPr>
      </a:lvl7pPr>
      <a:lvl8pPr eaLnBrk="1" hangingPunct="1">
        <a:lnSpc>
          <a:spcPct val="90000"/>
        </a:lnSpc>
        <a:defRPr sz="3600">
          <a:solidFill>
            <a:schemeClr val="tx2"/>
          </a:solidFill>
          <a:latin typeface="+mj-lt"/>
        </a:defRPr>
      </a:lvl8pPr>
      <a:lvl9pPr eaLnBrk="1" hangingPunct="1">
        <a:lnSpc>
          <a:spcPct val="90000"/>
        </a:lnSpc>
        <a:defRPr sz="4400" i="0">
          <a:solidFill>
            <a:schemeClr val="tx1"/>
          </a:solidFill>
          <a:latin typeface="+mj-lt"/>
        </a:defRPr>
      </a:lvl9pPr>
    </p:titleStyle>
    <p:body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bodyStyle>
    <p:otherStyle>
      <a:defPPr>
        <a:defRPr lang="en-US"/>
      </a:defPPr>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otherStyle>
  </p:txStyles>
  <p:extLst>
    <p:ext uri="{27BBF7A9-308A-43DC-89C8-2F10F3537804}">
      <p15:sldGuideLst xmlns:p15="http://schemas.microsoft.com/office/powerpoint/2012/main">
        <p15:guide id="1" pos="453">
          <p15:clr>
            <a:srgbClr val="F26B43"/>
          </p15:clr>
        </p15:guide>
        <p15:guide id="2" pos="7226">
          <p15:clr>
            <a:srgbClr val="F26B43"/>
          </p15:clr>
        </p15:guide>
        <p15:guide id="3" pos="914">
          <p15:clr>
            <a:srgbClr val="A4A3A4"/>
          </p15:clr>
        </p15:guide>
        <p15:guide id="4" pos="1027">
          <p15:clr>
            <a:srgbClr val="A4A3A4"/>
          </p15:clr>
        </p15:guide>
        <p15:guide id="5" pos="1487">
          <p15:clr>
            <a:srgbClr val="A4A3A4"/>
          </p15:clr>
        </p15:guide>
        <p15:guide id="6" pos="1601">
          <p15:clr>
            <a:srgbClr val="A4A3A4"/>
          </p15:clr>
        </p15:guide>
        <p15:guide id="7" pos="2061">
          <p15:clr>
            <a:srgbClr val="A4A3A4"/>
          </p15:clr>
        </p15:guide>
        <p15:guide id="8" pos="2175">
          <p15:clr>
            <a:srgbClr val="A4A3A4"/>
          </p15:clr>
        </p15:guide>
        <p15:guide id="9" pos="2635">
          <p15:clr>
            <a:srgbClr val="A4A3A4"/>
          </p15:clr>
        </p15:guide>
        <p15:guide id="10" pos="2748">
          <p15:clr>
            <a:srgbClr val="A4A3A4"/>
          </p15:clr>
        </p15:guide>
        <p15:guide id="11" pos="3209">
          <p15:clr>
            <a:srgbClr val="A4A3A4"/>
          </p15:clr>
        </p15:guide>
        <p15:guide id="12" pos="3322">
          <p15:clr>
            <a:srgbClr val="A4A3A4"/>
          </p15:clr>
        </p15:guide>
        <p15:guide id="13" pos="3783">
          <p15:clr>
            <a:srgbClr val="A4A3A4"/>
          </p15:clr>
        </p15:guide>
        <p15:guide id="14" pos="3896">
          <p15:clr>
            <a:srgbClr val="A4A3A4"/>
          </p15:clr>
        </p15:guide>
        <p15:guide id="15" pos="4357">
          <p15:clr>
            <a:srgbClr val="A4A3A4"/>
          </p15:clr>
        </p15:guide>
        <p15:guide id="16" pos="4470">
          <p15:clr>
            <a:srgbClr val="A4A3A4"/>
          </p15:clr>
        </p15:guide>
        <p15:guide id="17" pos="4931">
          <p15:clr>
            <a:srgbClr val="A4A3A4"/>
          </p15:clr>
        </p15:guide>
        <p15:guide id="18" pos="5044">
          <p15:clr>
            <a:srgbClr val="A4A3A4"/>
          </p15:clr>
        </p15:guide>
        <p15:guide id="19" pos="5504">
          <p15:clr>
            <a:srgbClr val="A4A3A4"/>
          </p15:clr>
        </p15:guide>
        <p15:guide id="20" pos="5618">
          <p15:clr>
            <a:srgbClr val="A4A3A4"/>
          </p15:clr>
        </p15:guide>
        <p15:guide id="21" pos="6078">
          <p15:clr>
            <a:srgbClr val="A4A3A4"/>
          </p15:clr>
        </p15:guide>
        <p15:guide id="22" pos="6192">
          <p15:clr>
            <a:srgbClr val="A4A3A4"/>
          </p15:clr>
        </p15:guide>
        <p15:guide id="23" pos="6652">
          <p15:clr>
            <a:srgbClr val="A4A3A4"/>
          </p15:clr>
        </p15:guide>
        <p15:guide id="24" pos="6765">
          <p15:clr>
            <a:srgbClr val="A4A3A4"/>
          </p15:clr>
        </p15:guide>
        <p15:guide id="25" orient="horz" pos="450">
          <p15:clr>
            <a:srgbClr val="F26B43"/>
          </p15:clr>
        </p15:guide>
        <p15:guide id="26" orient="horz" pos="3866">
          <p15:clr>
            <a:srgbClr val="F26B43"/>
          </p15:clr>
        </p15:guide>
        <p15:guide id="27" orient="horz" pos="1341">
          <p15:clr>
            <a:srgbClr val="F26B43"/>
          </p15:clr>
        </p15:guide>
        <p15:guide id="28" orient="horz" pos="840">
          <p15:clr>
            <a:srgbClr val="F26B43"/>
          </p15:clr>
        </p15:guide>
        <p15:guide id="29" orient="horz" pos="10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9.xml"/><Relationship Id="rId1" Type="http://schemas.openxmlformats.org/officeDocument/2006/relationships/slideLayout" Target="../slideLayouts/slideLayout5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7.xml"/></Relationships>
</file>

<file path=ppt/slides/_rels/slide1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5.xml"/><Relationship Id="rId1" Type="http://schemas.openxmlformats.org/officeDocument/2006/relationships/slideLayout" Target="../slideLayouts/slideLayout5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9.xml"/><Relationship Id="rId1" Type="http://schemas.openxmlformats.org/officeDocument/2006/relationships/slideLayout" Target="../slideLayouts/slideLayout5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7.xml"/></Relationships>
</file>

<file path=ppt/slides/_rels/slide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Date Placeholder 1">
            <a:extLst>
              <a:ext uri="{FF2B5EF4-FFF2-40B4-BE49-F238E27FC236}">
                <a16:creationId xmlns:a16="http://schemas.microsoft.com/office/drawing/2014/main" id="{C6C6870E-833D-43AB-A2FE-CF56D43B5D22}"/>
              </a:ext>
            </a:extLst>
          </p:cNvPr>
          <p:cNvSpPr>
            <a:spLocks noGrp="1"/>
          </p:cNvSpPr>
          <p:nvPr>
            <p:ph type="dt" sz="half" idx="10"/>
          </p:nvPr>
        </p:nvSpPr>
        <p:spPr>
          <a:xfrm>
            <a:off x="706511" y="4653507"/>
            <a:ext cx="3111427" cy="431156"/>
          </a:xfrm>
        </p:spPr>
        <p:txBody>
          <a:bodyPr/>
          <a:lstStyle/>
          <a:p>
            <a:r>
              <a:rPr lang="en-US" dirty="0"/>
              <a:t>	LES, Paris , 15 </a:t>
            </a:r>
            <a:r>
              <a:rPr lang="en-US" dirty="0" err="1"/>
              <a:t>Novembre</a:t>
            </a:r>
            <a:r>
              <a:rPr lang="en-US" dirty="0"/>
              <a:t> 2022</a:t>
            </a:r>
            <a:endParaRPr lang="en-GB" dirty="0"/>
          </a:p>
        </p:txBody>
      </p:sp>
      <p:sp>
        <p:nvSpPr>
          <p:cNvPr id="4" name="Subtitle 1">
            <a:extLst>
              <a:ext uri="{FF2B5EF4-FFF2-40B4-BE49-F238E27FC236}">
                <a16:creationId xmlns:a16="http://schemas.microsoft.com/office/drawing/2014/main" id="{2F945F1F-0381-461C-B6F0-4A97B587CD67}"/>
              </a:ext>
            </a:extLst>
          </p:cNvPr>
          <p:cNvSpPr>
            <a:spLocks noGrp="1"/>
          </p:cNvSpPr>
          <p:nvPr>
            <p:ph type="subTitle" idx="1"/>
          </p:nvPr>
        </p:nvSpPr>
        <p:spPr/>
        <p:txBody>
          <a:bodyPr/>
          <a:lstStyle/>
          <a:p>
            <a:r>
              <a:rPr lang="en-GB" dirty="0"/>
              <a:t>Marc Martens</a:t>
            </a:r>
          </a:p>
          <a:p>
            <a:pPr lvl="1"/>
            <a:r>
              <a:rPr lang="en-GB" dirty="0"/>
              <a:t>Partner Regulatory &amp; Life Sciences </a:t>
            </a:r>
            <a:r>
              <a:rPr lang="en-GB" dirty="0" err="1"/>
              <a:t>Bruxelles</a:t>
            </a:r>
            <a:endParaRPr lang="en-GB" dirty="0"/>
          </a:p>
        </p:txBody>
      </p:sp>
      <p:sp>
        <p:nvSpPr>
          <p:cNvPr id="19" name="Title 1">
            <a:extLst>
              <a:ext uri="{FF2B5EF4-FFF2-40B4-BE49-F238E27FC236}">
                <a16:creationId xmlns:a16="http://schemas.microsoft.com/office/drawing/2014/main" id="{22821C8D-6411-44FD-9BD9-8F42F5486670}"/>
              </a:ext>
            </a:extLst>
          </p:cNvPr>
          <p:cNvSpPr>
            <a:spLocks noGrp="1"/>
          </p:cNvSpPr>
          <p:nvPr>
            <p:ph type="ctrTitle"/>
          </p:nvPr>
        </p:nvSpPr>
        <p:spPr/>
        <p:txBody>
          <a:bodyPr/>
          <a:lstStyle/>
          <a:p>
            <a:r>
              <a:rPr lang="fr-FR" dirty="0"/>
              <a:t>Règlement de l'UE sur les essais cliniques</a:t>
            </a:r>
            <a:endParaRPr lang="en-GB" dirty="0"/>
          </a:p>
        </p:txBody>
      </p:sp>
      <p:pic>
        <p:nvPicPr>
          <p:cNvPr id="8" name="Picture Placeholder 7">
            <a:extLst>
              <a:ext uri="{FF2B5EF4-FFF2-40B4-BE49-F238E27FC236}">
                <a16:creationId xmlns:a16="http://schemas.microsoft.com/office/drawing/2014/main" id="{43229526-EDDC-4D93-BBD9-DD8D2EFAE70C}"/>
              </a:ext>
            </a:extLst>
          </p:cNvPr>
          <p:cNvPicPr>
            <a:picLocks noGrp="1"/>
          </p:cNvPicPr>
          <p:nvPr>
            <p:ph type="pic" sz="quarter" idx="11"/>
          </p:nvPr>
        </p:nvPicPr>
        <p:blipFill>
          <a:blip r:embed="rId3">
            <a:extLst>
              <a:ext uri="{28A0092B-C50C-407E-A947-70E740481C1C}">
                <a14:useLocalDpi xmlns:a14="http://schemas.microsoft.com/office/drawing/2010/main" val="0"/>
              </a:ext>
            </a:extLst>
          </a:blip>
          <a:srcRect t="5677" b="5677"/>
          <a:stretch>
            <a:fillRect/>
          </a:stretch>
        </p:blipFill>
        <p:spPr/>
      </p:pic>
      <p:sp>
        <p:nvSpPr>
          <p:cNvPr id="2" name="Rectangle 1">
            <a:extLst>
              <a:ext uri="{FF2B5EF4-FFF2-40B4-BE49-F238E27FC236}">
                <a16:creationId xmlns:a16="http://schemas.microsoft.com/office/drawing/2014/main" id="{CB3307B7-6D3A-42EC-8BA4-3E5143B94B6D}"/>
              </a:ext>
            </a:extLst>
          </p:cNvPr>
          <p:cNvSpPr>
            <a:spLocks noChangeArrowheads="1"/>
          </p:cNvSpPr>
          <p:nvPr/>
        </p:nvSpPr>
        <p:spPr bwMode="auto">
          <a:xfrm>
            <a:off x="0" y="0"/>
            <a:ext cx="12192000" cy="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174576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930F55E-B189-4268-B35D-9DA050C5BDA3}"/>
              </a:ext>
            </a:extLst>
          </p:cNvPr>
          <p:cNvSpPr>
            <a:spLocks noGrp="1"/>
          </p:cNvSpPr>
          <p:nvPr>
            <p:ph type="dt" sz="half" idx="10"/>
          </p:nvPr>
        </p:nvSpPr>
        <p:spPr/>
        <p:txBody>
          <a:bodyPr/>
          <a:lstStyle/>
          <a:p>
            <a:r>
              <a:rPr lang="en-US"/>
              <a:t>19 octobre 2022</a:t>
            </a:r>
            <a:endParaRPr lang="en-GB" dirty="0"/>
          </a:p>
        </p:txBody>
      </p:sp>
      <p:sp>
        <p:nvSpPr>
          <p:cNvPr id="7" name="Picture Placeholder 6">
            <a:extLst>
              <a:ext uri="{FF2B5EF4-FFF2-40B4-BE49-F238E27FC236}">
                <a16:creationId xmlns:a16="http://schemas.microsoft.com/office/drawing/2014/main" id="{89337F45-92E5-4BBC-887E-F4229E4E83B0}"/>
              </a:ext>
            </a:extLst>
          </p:cNvPr>
          <p:cNvSpPr>
            <a:spLocks noGrp="1"/>
          </p:cNvSpPr>
          <p:nvPr>
            <p:ph type="pic" sz="quarter" idx="13"/>
          </p:nvPr>
        </p:nvSpPr>
        <p:spPr/>
      </p:sp>
      <p:sp>
        <p:nvSpPr>
          <p:cNvPr id="5" name="Title 4">
            <a:extLst>
              <a:ext uri="{FF2B5EF4-FFF2-40B4-BE49-F238E27FC236}">
                <a16:creationId xmlns:a16="http://schemas.microsoft.com/office/drawing/2014/main" id="{AEB23F7C-C0F8-4E17-ABA4-3599F3BBA3FB}"/>
              </a:ext>
            </a:extLst>
          </p:cNvPr>
          <p:cNvSpPr>
            <a:spLocks noGrp="1"/>
          </p:cNvSpPr>
          <p:nvPr>
            <p:ph type="title"/>
          </p:nvPr>
        </p:nvSpPr>
        <p:spPr>
          <a:xfrm>
            <a:off x="5835696" y="330332"/>
            <a:ext cx="5465761" cy="672823"/>
          </a:xfrm>
        </p:spPr>
        <p:txBody>
          <a:bodyPr/>
          <a:lstStyle/>
          <a:p>
            <a:r>
              <a:rPr lang="fr-FR" dirty="0"/>
              <a:t>Rappel des délais stricts </a:t>
            </a:r>
            <a:r>
              <a:rPr lang="fr-FR" sz="2800" dirty="0"/>
              <a:t>(max. 160 jours) (art 5-8)</a:t>
            </a:r>
          </a:p>
        </p:txBody>
      </p:sp>
      <p:pic>
        <p:nvPicPr>
          <p:cNvPr id="3080" name="Picture 8" descr="Free From above of unrecognizable ethnic scientist in uniform holding in hands stand with different reagents in test tubes while waiting for chemical reaction during test in lab Stock Photo">
            <a:extLst>
              <a:ext uri="{FF2B5EF4-FFF2-40B4-BE49-F238E27FC236}">
                <a16:creationId xmlns:a16="http://schemas.microsoft.com/office/drawing/2014/main" id="{CF6C2722-E71B-442A-B31D-105E728FCA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007" y="666744"/>
            <a:ext cx="4612508" cy="571131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Rounded Corners 9">
            <a:extLst>
              <a:ext uri="{FF2B5EF4-FFF2-40B4-BE49-F238E27FC236}">
                <a16:creationId xmlns:a16="http://schemas.microsoft.com/office/drawing/2014/main" id="{364C6E72-A898-4A53-A2EF-FA1C95246C95}"/>
              </a:ext>
            </a:extLst>
          </p:cNvPr>
          <p:cNvSpPr/>
          <p:nvPr/>
        </p:nvSpPr>
        <p:spPr>
          <a:xfrm>
            <a:off x="5534170" y="1856935"/>
            <a:ext cx="6448823" cy="4167798"/>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marL="342900" indent="-342900">
              <a:buAutoNum type="arabicParenR"/>
            </a:pPr>
            <a:r>
              <a:rPr lang="fr-FR" b="1" i="1" dirty="0">
                <a:solidFill>
                  <a:schemeClr val="tx1"/>
                </a:solidFill>
              </a:rPr>
              <a:t>Soumission du dossier </a:t>
            </a:r>
          </a:p>
          <a:p>
            <a:pPr marL="342900" indent="-342900">
              <a:buAutoNum type="arabicParenR"/>
            </a:pPr>
            <a:r>
              <a:rPr lang="fr-FR" b="1" i="1" dirty="0">
                <a:solidFill>
                  <a:schemeClr val="tx1"/>
                </a:solidFill>
              </a:rPr>
              <a:t>Validation </a:t>
            </a:r>
          </a:p>
          <a:p>
            <a:pPr marL="465750" lvl="1" indent="-285750"/>
            <a:r>
              <a:rPr lang="fr-FR" b="1" i="1" dirty="0">
                <a:solidFill>
                  <a:schemeClr val="tx1"/>
                </a:solidFill>
              </a:rPr>
              <a:t>10 jours à compter de la soumission + 15 jours pour les informations supplémentaires</a:t>
            </a:r>
          </a:p>
          <a:p>
            <a:pPr marL="342900" indent="-342900">
              <a:buAutoNum type="arabicParenR"/>
            </a:pPr>
            <a:r>
              <a:rPr lang="fr-FR" b="1" i="1" dirty="0">
                <a:solidFill>
                  <a:schemeClr val="tx1"/>
                </a:solidFill>
              </a:rPr>
              <a:t>Évaluation de la partie I</a:t>
            </a:r>
          </a:p>
          <a:p>
            <a:pPr marL="465750" lvl="1" indent="-285750"/>
            <a:r>
              <a:rPr lang="fr-FR" b="1" i="1" dirty="0">
                <a:solidFill>
                  <a:schemeClr val="tx1"/>
                </a:solidFill>
              </a:rPr>
              <a:t>45 jours à compter de la validation + 31 jours pour les informations supplémentaires</a:t>
            </a:r>
          </a:p>
          <a:p>
            <a:pPr marL="342900" indent="-342900">
              <a:buAutoNum type="arabicParenR"/>
            </a:pPr>
            <a:r>
              <a:rPr lang="fr-FR" b="1" i="1" dirty="0">
                <a:solidFill>
                  <a:schemeClr val="tx1"/>
                </a:solidFill>
              </a:rPr>
              <a:t>Partie II de l'évaluation</a:t>
            </a:r>
          </a:p>
          <a:p>
            <a:pPr marL="285750" indent="-285750">
              <a:buFont typeface="Arial" panose="020B0604020202020204" pitchFamily="34" charset="0"/>
              <a:buChar char="•"/>
            </a:pPr>
            <a:r>
              <a:rPr lang="fr-FR" b="1" i="1" dirty="0">
                <a:solidFill>
                  <a:schemeClr val="tx1"/>
                </a:solidFill>
              </a:rPr>
              <a:t>45 jours après la validation + 31 jours pour les informations supplémentaires</a:t>
            </a:r>
          </a:p>
          <a:p>
            <a:r>
              <a:rPr lang="fr-FR" b="1" i="1" dirty="0">
                <a:solidFill>
                  <a:schemeClr val="tx1"/>
                </a:solidFill>
              </a:rPr>
              <a:t>5)  Décision </a:t>
            </a:r>
          </a:p>
          <a:p>
            <a:pPr marL="285750" indent="-285750">
              <a:buFont typeface="Arial" panose="020B0604020202020204" pitchFamily="34" charset="0"/>
              <a:buChar char="•"/>
            </a:pPr>
            <a:r>
              <a:rPr lang="fr-FR" b="1" i="1" dirty="0">
                <a:solidFill>
                  <a:schemeClr val="tx1"/>
                </a:solidFill>
              </a:rPr>
              <a:t>5 jours à compter de la soumission du rapport d'évaluation de la partie I par le SMR au promoteur.</a:t>
            </a:r>
            <a:endParaRPr lang="fr-BE" b="1" dirty="0">
              <a:solidFill>
                <a:schemeClr val="tx1"/>
              </a:solidFill>
            </a:endParaRPr>
          </a:p>
        </p:txBody>
      </p:sp>
    </p:spTree>
    <p:extLst>
      <p:ext uri="{BB962C8B-B14F-4D97-AF65-F5344CB8AC3E}">
        <p14:creationId xmlns:p14="http://schemas.microsoft.com/office/powerpoint/2010/main" val="25930673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711C860-D834-4888-89B9-7CDA92CDAD72}"/>
              </a:ext>
            </a:extLst>
          </p:cNvPr>
          <p:cNvSpPr>
            <a:spLocks noGrp="1"/>
          </p:cNvSpPr>
          <p:nvPr>
            <p:ph type="dt" sz="half" idx="10"/>
          </p:nvPr>
        </p:nvSpPr>
        <p:spPr/>
        <p:txBody>
          <a:bodyPr/>
          <a:lstStyle/>
          <a:p>
            <a:r>
              <a:rPr lang="en-US"/>
              <a:t>19 octobre 2022</a:t>
            </a:r>
            <a:endParaRPr lang="en-GB" dirty="0"/>
          </a:p>
        </p:txBody>
      </p:sp>
      <p:sp>
        <p:nvSpPr>
          <p:cNvPr id="8" name="Content Placeholder 7">
            <a:extLst>
              <a:ext uri="{FF2B5EF4-FFF2-40B4-BE49-F238E27FC236}">
                <a16:creationId xmlns:a16="http://schemas.microsoft.com/office/drawing/2014/main" id="{3ACA92DB-047E-4B0D-A795-E79A706DF737}"/>
              </a:ext>
            </a:extLst>
          </p:cNvPr>
          <p:cNvSpPr>
            <a:spLocks noGrp="1"/>
          </p:cNvSpPr>
          <p:nvPr>
            <p:ph idx="13"/>
          </p:nvPr>
        </p:nvSpPr>
        <p:spPr>
          <a:xfrm>
            <a:off x="6184897" y="2753952"/>
            <a:ext cx="5286376" cy="3184738"/>
          </a:xfrm>
        </p:spPr>
        <p:style>
          <a:lnRef idx="3">
            <a:schemeClr val="lt1"/>
          </a:lnRef>
          <a:fillRef idx="1">
            <a:schemeClr val="accent3"/>
          </a:fillRef>
          <a:effectRef idx="1">
            <a:schemeClr val="accent3"/>
          </a:effectRef>
          <a:fontRef idx="minor">
            <a:schemeClr val="lt1"/>
          </a:fontRef>
        </p:style>
        <p:txBody>
          <a:bodyPr/>
          <a:lstStyle/>
          <a:p>
            <a:pPr algn="ctr"/>
            <a:endParaRPr lang="fr-FR" b="1" dirty="0">
              <a:solidFill>
                <a:srgbClr val="FFFFFF"/>
              </a:solidFill>
            </a:endParaRPr>
          </a:p>
          <a:p>
            <a:pPr marL="285750" indent="-285750">
              <a:buFont typeface="Courier New" panose="02070309020205020404" pitchFamily="49" charset="0"/>
              <a:buChar char="o"/>
            </a:pPr>
            <a:r>
              <a:rPr lang="fr-FR" b="1" i="1" dirty="0">
                <a:solidFill>
                  <a:srgbClr val="FFFFFF"/>
                </a:solidFill>
              </a:rPr>
              <a:t>Demande unique </a:t>
            </a:r>
            <a:r>
              <a:rPr lang="fr-FR" dirty="0">
                <a:solidFill>
                  <a:srgbClr val="FFFFFF"/>
                </a:solidFill>
              </a:rPr>
              <a:t>dans un maximum de 30 pays</a:t>
            </a:r>
          </a:p>
          <a:p>
            <a:pPr marL="285750" indent="-285750">
              <a:buFont typeface="Courier New" panose="02070309020205020404" pitchFamily="49" charset="0"/>
              <a:buChar char="o"/>
            </a:pPr>
            <a:r>
              <a:rPr lang="fr-FR" dirty="0">
                <a:solidFill>
                  <a:srgbClr val="FFFFFF"/>
                </a:solidFill>
              </a:rPr>
              <a:t>aux régulateurs nationaux de traiter les demandes en collaboration</a:t>
            </a:r>
          </a:p>
          <a:p>
            <a:pPr marL="285750" indent="-285750">
              <a:buFont typeface="Courier New" panose="02070309020205020404" pitchFamily="49" charset="0"/>
              <a:buChar char="o"/>
            </a:pPr>
            <a:r>
              <a:rPr lang="fr-FR" dirty="0">
                <a:solidFill>
                  <a:srgbClr val="FFFFFF"/>
                </a:solidFill>
              </a:rPr>
              <a:t>La </a:t>
            </a:r>
            <a:r>
              <a:rPr lang="fr-FR" b="1" i="1" dirty="0">
                <a:solidFill>
                  <a:srgbClr val="FFFFFF"/>
                </a:solidFill>
              </a:rPr>
              <a:t>transparence</a:t>
            </a:r>
            <a:r>
              <a:rPr lang="fr-FR" dirty="0">
                <a:solidFill>
                  <a:srgbClr val="FFFFFF"/>
                </a:solidFill>
              </a:rPr>
              <a:t> et l'accès à l'information </a:t>
            </a:r>
          </a:p>
          <a:p>
            <a:pPr marL="645750" lvl="2" indent="-285750">
              <a:buFont typeface="Courier New" panose="02070309020205020404" pitchFamily="49" charset="0"/>
              <a:buChar char="o"/>
            </a:pPr>
            <a:r>
              <a:rPr lang="fr-FR" dirty="0">
                <a:solidFill>
                  <a:srgbClr val="FFFFFF"/>
                </a:solidFill>
              </a:rPr>
              <a:t>http://euclinicaltrials.eu/home </a:t>
            </a:r>
          </a:p>
          <a:p>
            <a:pPr marL="285750" indent="-285750">
              <a:buFont typeface="Courier New" panose="02070309020205020404" pitchFamily="49" charset="0"/>
              <a:buChar char="o"/>
            </a:pPr>
            <a:r>
              <a:rPr lang="fr-FR" dirty="0">
                <a:solidFill>
                  <a:srgbClr val="FFFFFF"/>
                </a:solidFill>
              </a:rPr>
              <a:t>Information entre les promoteurs, les États membres de l'UE, les pays de l'EEE et la CE. </a:t>
            </a:r>
          </a:p>
          <a:p>
            <a:endParaRPr lang="fr-FR" dirty="0"/>
          </a:p>
        </p:txBody>
      </p:sp>
      <p:sp>
        <p:nvSpPr>
          <p:cNvPr id="6" name="Content Placeholder 5">
            <a:extLst>
              <a:ext uri="{FF2B5EF4-FFF2-40B4-BE49-F238E27FC236}">
                <a16:creationId xmlns:a16="http://schemas.microsoft.com/office/drawing/2014/main" id="{C81CCCAD-CD18-4CE4-A92E-37955E127937}"/>
              </a:ext>
            </a:extLst>
          </p:cNvPr>
          <p:cNvSpPr>
            <a:spLocks noGrp="1"/>
          </p:cNvSpPr>
          <p:nvPr>
            <p:ph idx="1"/>
          </p:nvPr>
        </p:nvSpPr>
        <p:spPr>
          <a:xfrm>
            <a:off x="720727" y="2753952"/>
            <a:ext cx="5286376" cy="3184738"/>
          </a:xfrm>
        </p:spPr>
        <p:style>
          <a:lnRef idx="3">
            <a:schemeClr val="lt1"/>
          </a:lnRef>
          <a:fillRef idx="1">
            <a:schemeClr val="accent1"/>
          </a:fillRef>
          <a:effectRef idx="1">
            <a:schemeClr val="accent1"/>
          </a:effectRef>
          <a:fontRef idx="minor">
            <a:schemeClr val="lt1"/>
          </a:fontRef>
        </p:style>
        <p:txBody>
          <a:bodyPr/>
          <a:lstStyle/>
          <a:p>
            <a:pPr algn="ctr"/>
            <a:endParaRPr lang="fr-BE" b="1" dirty="0">
              <a:solidFill>
                <a:schemeClr val="tx1"/>
              </a:solidFill>
            </a:endParaRPr>
          </a:p>
          <a:p>
            <a:pPr marL="285750" indent="-285750">
              <a:buFont typeface="Courier New" panose="02070309020205020404" pitchFamily="49" charset="0"/>
              <a:buChar char="o"/>
            </a:pPr>
            <a:r>
              <a:rPr lang="fr-BE" b="1" dirty="0">
                <a:solidFill>
                  <a:srgbClr val="FFFFFF"/>
                </a:solidFill>
              </a:rPr>
              <a:t>Autorités</a:t>
            </a:r>
            <a:r>
              <a:rPr lang="fr-BE" dirty="0">
                <a:solidFill>
                  <a:srgbClr val="FFFFFF"/>
                </a:solidFill>
              </a:rPr>
              <a:t>:</a:t>
            </a:r>
          </a:p>
          <a:p>
            <a:pPr marL="645750" lvl="2" indent="-285750">
              <a:buFont typeface="Courier New" panose="02070309020205020404" pitchFamily="49" charset="0"/>
              <a:buChar char="o"/>
            </a:pPr>
            <a:r>
              <a:rPr lang="fr-FR" i="1" dirty="0">
                <a:solidFill>
                  <a:srgbClr val="FFFFFF"/>
                </a:solidFill>
              </a:rPr>
              <a:t>Obligatoire</a:t>
            </a:r>
            <a:r>
              <a:rPr lang="fr-FR" dirty="0">
                <a:solidFill>
                  <a:srgbClr val="FFFFFF"/>
                </a:solidFill>
              </a:rPr>
              <a:t> à partir du 31 janvier 2022</a:t>
            </a:r>
            <a:endParaRPr lang="fr-BE" dirty="0">
              <a:solidFill>
                <a:srgbClr val="FFFFFF"/>
              </a:solidFill>
            </a:endParaRPr>
          </a:p>
          <a:p>
            <a:pPr marL="285750" indent="-285750">
              <a:buFont typeface="Courier New" panose="02070309020205020404" pitchFamily="49" charset="0"/>
              <a:buChar char="o"/>
            </a:pPr>
            <a:r>
              <a:rPr lang="fr-BE" b="1" dirty="0">
                <a:solidFill>
                  <a:srgbClr val="FFFFFF"/>
                </a:solidFill>
              </a:rPr>
              <a:t>Promoteurs</a:t>
            </a:r>
          </a:p>
          <a:p>
            <a:pPr marL="645750" lvl="2" indent="-285750">
              <a:buFont typeface="Courier New" panose="02070309020205020404" pitchFamily="49" charset="0"/>
              <a:buChar char="o"/>
            </a:pPr>
            <a:r>
              <a:rPr lang="fr-BE" i="1" dirty="0">
                <a:solidFill>
                  <a:srgbClr val="FFFFFF"/>
                </a:solidFill>
              </a:rPr>
              <a:t>Facultatif</a:t>
            </a:r>
            <a:r>
              <a:rPr lang="fr-BE" dirty="0">
                <a:solidFill>
                  <a:srgbClr val="FFFFFF"/>
                </a:solidFill>
              </a:rPr>
              <a:t> </a:t>
            </a:r>
            <a:r>
              <a:rPr lang="fr-FR" u="sng" dirty="0">
                <a:solidFill>
                  <a:srgbClr val="FFFFFF"/>
                </a:solidFill>
              </a:rPr>
              <a:t>jusqu'au 30 janvier 2023</a:t>
            </a:r>
            <a:endParaRPr lang="fr-BE" dirty="0">
              <a:solidFill>
                <a:srgbClr val="FFFFFF"/>
              </a:solidFill>
            </a:endParaRPr>
          </a:p>
          <a:p>
            <a:pPr marL="645750" lvl="2" indent="-285750">
              <a:buFont typeface="Courier New" panose="02070309020205020404" pitchFamily="49" charset="0"/>
              <a:buChar char="o"/>
            </a:pPr>
            <a:r>
              <a:rPr lang="fr-BE" i="1" dirty="0">
                <a:solidFill>
                  <a:srgbClr val="FFFFFF"/>
                </a:solidFill>
              </a:rPr>
              <a:t>Obligatoire</a:t>
            </a:r>
            <a:r>
              <a:rPr lang="fr-BE" dirty="0">
                <a:solidFill>
                  <a:srgbClr val="FFFFFF"/>
                </a:solidFill>
              </a:rPr>
              <a:t> pour tout nouvel EC</a:t>
            </a:r>
            <a:r>
              <a:rPr lang="fr-FR" u="sng" dirty="0">
                <a:solidFill>
                  <a:srgbClr val="FFFFFF"/>
                </a:solidFill>
              </a:rPr>
              <a:t> à partir du 31 janvier 2023</a:t>
            </a:r>
            <a:endParaRPr lang="fr-BE" dirty="0">
              <a:solidFill>
                <a:srgbClr val="FFFFFF"/>
              </a:solidFill>
            </a:endParaRPr>
          </a:p>
          <a:p>
            <a:pPr marL="645750" lvl="2" indent="-285750">
              <a:buFont typeface="Courier New" panose="02070309020205020404" pitchFamily="49" charset="0"/>
              <a:buChar char="o"/>
            </a:pPr>
            <a:r>
              <a:rPr lang="fr-BE" i="1" dirty="0">
                <a:solidFill>
                  <a:srgbClr val="FFFFFF"/>
                </a:solidFill>
              </a:rPr>
              <a:t>Obligatoire</a:t>
            </a:r>
            <a:r>
              <a:rPr lang="fr-BE" dirty="0">
                <a:solidFill>
                  <a:srgbClr val="FFFFFF"/>
                </a:solidFill>
              </a:rPr>
              <a:t> pour tout EC approuvé (en cours) </a:t>
            </a:r>
            <a:r>
              <a:rPr lang="fr-FR" u="sng" dirty="0">
                <a:solidFill>
                  <a:srgbClr val="FFFFFF"/>
                </a:solidFill>
              </a:rPr>
              <a:t> à partir du 31 janvier 2025</a:t>
            </a:r>
            <a:endParaRPr lang="fr-FR" dirty="0">
              <a:solidFill>
                <a:srgbClr val="FFFFFF"/>
              </a:solidFill>
            </a:endParaRPr>
          </a:p>
        </p:txBody>
      </p:sp>
      <p:sp>
        <p:nvSpPr>
          <p:cNvPr id="4" name="Title 3">
            <a:extLst>
              <a:ext uri="{FF2B5EF4-FFF2-40B4-BE49-F238E27FC236}">
                <a16:creationId xmlns:a16="http://schemas.microsoft.com/office/drawing/2014/main" id="{042BD4A4-0B75-4640-916C-5A7E277E1EA7}"/>
              </a:ext>
            </a:extLst>
          </p:cNvPr>
          <p:cNvSpPr>
            <a:spLocks noGrp="1"/>
          </p:cNvSpPr>
          <p:nvPr>
            <p:ph type="title"/>
          </p:nvPr>
        </p:nvSpPr>
        <p:spPr>
          <a:xfrm>
            <a:off x="620663" y="344362"/>
            <a:ext cx="9536211" cy="755999"/>
          </a:xfrm>
        </p:spPr>
        <p:txBody>
          <a:bodyPr/>
          <a:lstStyle/>
          <a:p>
            <a:r>
              <a:rPr lang="fr-FR" dirty="0"/>
              <a:t>Système d'Information sur les Essais  Clinical Trials Information System (CTIS)</a:t>
            </a:r>
            <a:br>
              <a:rPr lang="fr-FR" dirty="0"/>
            </a:br>
            <a:endParaRPr lang="fr-FR" dirty="0"/>
          </a:p>
        </p:txBody>
      </p:sp>
      <p:sp>
        <p:nvSpPr>
          <p:cNvPr id="9" name="Content Placeholder 5">
            <a:extLst>
              <a:ext uri="{FF2B5EF4-FFF2-40B4-BE49-F238E27FC236}">
                <a16:creationId xmlns:a16="http://schemas.microsoft.com/office/drawing/2014/main" id="{CA5B2B28-D90C-4672-9377-E0EB6BEEDB82}"/>
              </a:ext>
            </a:extLst>
          </p:cNvPr>
          <p:cNvSpPr txBox="1">
            <a:spLocks/>
          </p:cNvSpPr>
          <p:nvPr/>
        </p:nvSpPr>
        <p:spPr>
          <a:xfrm>
            <a:off x="720727" y="1891565"/>
            <a:ext cx="5286376" cy="755999"/>
          </a:xfrm>
          <a:prstGeom prst="rect">
            <a:avLst/>
          </a:prstGeom>
        </p:spPr>
        <p:style>
          <a:lnRef idx="3">
            <a:schemeClr val="lt1"/>
          </a:lnRef>
          <a:fillRef idx="1">
            <a:schemeClr val="accent1"/>
          </a:fillRef>
          <a:effectRef idx="1">
            <a:schemeClr val="accent1"/>
          </a:effectRef>
          <a:fontRef idx="minor">
            <a:schemeClr val="lt1"/>
          </a:fontRef>
        </p:style>
        <p:txBody>
          <a:bodyPr vert="horz" lIns="0" tIns="0" rIns="0" bIns="0" rtlCol="0">
            <a:noAutofit/>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lt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lt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lt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lt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lt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lt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lt1"/>
                </a:solidFill>
                <a:latin typeface="+mn-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lt1"/>
                </a:solidFill>
                <a:latin typeface="+mn-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lt1"/>
                </a:solidFill>
                <a:latin typeface="+mn-lt"/>
                <a:ea typeface="+mn-ea"/>
                <a:cs typeface="+mn-cs"/>
              </a:defRPr>
            </a:lvl9pPr>
          </a:lstStyle>
          <a:p>
            <a:pPr algn="ctr"/>
            <a:endParaRPr lang="fr-BE" b="1" dirty="0">
              <a:solidFill>
                <a:schemeClr val="tx1"/>
              </a:solidFill>
            </a:endParaRPr>
          </a:p>
          <a:p>
            <a:pPr algn="ctr"/>
            <a:r>
              <a:rPr lang="fr-BE" b="1" dirty="0">
                <a:solidFill>
                  <a:schemeClr val="tx1"/>
                </a:solidFill>
              </a:rPr>
              <a:t>TIMING</a:t>
            </a:r>
          </a:p>
          <a:p>
            <a:endParaRPr lang="fr-BE" dirty="0">
              <a:solidFill>
                <a:schemeClr val="tx1"/>
              </a:solidFill>
            </a:endParaRPr>
          </a:p>
        </p:txBody>
      </p:sp>
      <p:sp>
        <p:nvSpPr>
          <p:cNvPr id="10" name="Content Placeholder 7">
            <a:extLst>
              <a:ext uri="{FF2B5EF4-FFF2-40B4-BE49-F238E27FC236}">
                <a16:creationId xmlns:a16="http://schemas.microsoft.com/office/drawing/2014/main" id="{DA8D7BBE-C946-4DA1-80F8-D315A2A0E80B}"/>
              </a:ext>
            </a:extLst>
          </p:cNvPr>
          <p:cNvSpPr txBox="1">
            <a:spLocks/>
          </p:cNvSpPr>
          <p:nvPr/>
        </p:nvSpPr>
        <p:spPr>
          <a:xfrm>
            <a:off x="6184897" y="1847977"/>
            <a:ext cx="5286376" cy="799587"/>
          </a:xfrm>
          <a:prstGeom prst="rect">
            <a:avLst/>
          </a:prstGeom>
        </p:spPr>
        <p:style>
          <a:lnRef idx="3">
            <a:schemeClr val="lt1"/>
          </a:lnRef>
          <a:fillRef idx="1">
            <a:schemeClr val="accent3"/>
          </a:fillRef>
          <a:effectRef idx="1">
            <a:schemeClr val="accent3"/>
          </a:effectRef>
          <a:fontRef idx="minor">
            <a:schemeClr val="lt1"/>
          </a:fontRef>
        </p:style>
        <p:txBody>
          <a:bodyPr vert="horz" lIns="0" tIns="0" rIns="0" bIns="0" rtlCol="0">
            <a:noAutofit/>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lt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lt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lt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lt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lt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lt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lt1"/>
                </a:solidFill>
                <a:latin typeface="+mn-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lt1"/>
                </a:solidFill>
                <a:latin typeface="+mn-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lt1"/>
                </a:solidFill>
                <a:latin typeface="+mn-lt"/>
                <a:ea typeface="+mn-ea"/>
                <a:cs typeface="+mn-cs"/>
              </a:defRPr>
            </a:lvl9pPr>
          </a:lstStyle>
          <a:p>
            <a:pPr algn="ctr"/>
            <a:endParaRPr lang="fr-FR" b="1" dirty="0">
              <a:solidFill>
                <a:schemeClr val="tx1"/>
              </a:solidFill>
            </a:endParaRPr>
          </a:p>
          <a:p>
            <a:pPr algn="ctr"/>
            <a:r>
              <a:rPr lang="fr-FR" b="1" dirty="0">
                <a:solidFill>
                  <a:schemeClr val="tx1"/>
                </a:solidFill>
              </a:rPr>
              <a:t>CARACTERISTIQUES </a:t>
            </a:r>
          </a:p>
          <a:p>
            <a:endParaRPr lang="fr-FR" dirty="0"/>
          </a:p>
        </p:txBody>
      </p:sp>
    </p:spTree>
    <p:extLst>
      <p:ext uri="{BB962C8B-B14F-4D97-AF65-F5344CB8AC3E}">
        <p14:creationId xmlns:p14="http://schemas.microsoft.com/office/powerpoint/2010/main" val="35156706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7910BB6-3B99-4D4C-B301-C2D6B7D18DDA}"/>
              </a:ext>
            </a:extLst>
          </p:cNvPr>
          <p:cNvSpPr>
            <a:spLocks noGrp="1"/>
          </p:cNvSpPr>
          <p:nvPr>
            <p:ph type="dt" sz="half" idx="10"/>
          </p:nvPr>
        </p:nvSpPr>
        <p:spPr/>
        <p:txBody>
          <a:bodyPr/>
          <a:lstStyle/>
          <a:p>
            <a:r>
              <a:rPr lang="en-US"/>
              <a:t>19 octobre 2022</a:t>
            </a:r>
            <a:endParaRPr lang="en-GB" dirty="0"/>
          </a:p>
        </p:txBody>
      </p:sp>
      <p:sp>
        <p:nvSpPr>
          <p:cNvPr id="7" name="Title 6">
            <a:extLst>
              <a:ext uri="{FF2B5EF4-FFF2-40B4-BE49-F238E27FC236}">
                <a16:creationId xmlns:a16="http://schemas.microsoft.com/office/drawing/2014/main" id="{EC5FC0C9-631D-43AF-8053-094C444E1E58}"/>
              </a:ext>
            </a:extLst>
          </p:cNvPr>
          <p:cNvSpPr>
            <a:spLocks noGrp="1"/>
          </p:cNvSpPr>
          <p:nvPr>
            <p:ph type="title"/>
          </p:nvPr>
        </p:nvSpPr>
        <p:spPr>
          <a:xfrm>
            <a:off x="732200" y="473436"/>
            <a:ext cx="9888908" cy="720000"/>
          </a:xfrm>
        </p:spPr>
        <p:txBody>
          <a:bodyPr/>
          <a:lstStyle/>
          <a:p>
            <a:r>
              <a:rPr lang="fr-BE" dirty="0"/>
              <a:t>Clinical Trials Information System (CTIS) </a:t>
            </a:r>
            <a:endParaRPr lang="en-GB" dirty="0"/>
          </a:p>
        </p:txBody>
      </p:sp>
      <p:sp>
        <p:nvSpPr>
          <p:cNvPr id="8" name="Content Placeholder 7">
            <a:extLst>
              <a:ext uri="{FF2B5EF4-FFF2-40B4-BE49-F238E27FC236}">
                <a16:creationId xmlns:a16="http://schemas.microsoft.com/office/drawing/2014/main" id="{182194D7-C6B4-448A-8236-E8001C645266}"/>
              </a:ext>
            </a:extLst>
          </p:cNvPr>
          <p:cNvSpPr>
            <a:spLocks noGrp="1"/>
          </p:cNvSpPr>
          <p:nvPr>
            <p:ph idx="4294967295"/>
          </p:nvPr>
        </p:nvSpPr>
        <p:spPr>
          <a:xfrm>
            <a:off x="111211" y="1617169"/>
            <a:ext cx="9145331" cy="4657021"/>
          </a:xfrm>
        </p:spPr>
        <p:txBody>
          <a:bodyPr/>
          <a:lstStyle/>
          <a:p>
            <a:endParaRPr lang="en-GB" b="1" i="1" dirty="0"/>
          </a:p>
          <a:p>
            <a:r>
              <a:rPr lang="en-GB" b="1" i="1" dirty="0" err="1"/>
              <a:t>Fonctionnement</a:t>
            </a:r>
            <a:r>
              <a:rPr lang="en-GB" b="1" i="1" dirty="0"/>
              <a:t>  </a:t>
            </a:r>
          </a:p>
          <a:p>
            <a:endParaRPr lang="en-GB" b="1" i="1" dirty="0"/>
          </a:p>
          <a:p>
            <a:pPr marL="285750" indent="-285750">
              <a:buFont typeface="Courier New" panose="02070309020205020404" pitchFamily="49" charset="0"/>
              <a:buChar char="o"/>
            </a:pPr>
            <a:r>
              <a:rPr lang="fr-FR" dirty="0"/>
              <a:t>Espace </a:t>
            </a:r>
            <a:r>
              <a:rPr lang="fr-FR" i="1" dirty="0"/>
              <a:t>sécurisé</a:t>
            </a:r>
          </a:p>
          <a:p>
            <a:pPr marL="285750" indent="-285750">
              <a:buFont typeface="Courier New" panose="02070309020205020404" pitchFamily="49" charset="0"/>
              <a:buChar char="o"/>
            </a:pPr>
            <a:r>
              <a:rPr lang="fr-FR" dirty="0"/>
              <a:t>Espace pour des </a:t>
            </a:r>
            <a:r>
              <a:rPr lang="fr-FR" i="1" dirty="0"/>
              <a:t>promoteurs</a:t>
            </a:r>
          </a:p>
          <a:p>
            <a:pPr marL="825750" lvl="3" indent="-285750">
              <a:buFont typeface="Courier New" panose="02070309020205020404" pitchFamily="49" charset="0"/>
              <a:buChar char="o"/>
            </a:pPr>
            <a:r>
              <a:rPr lang="fr-FR" dirty="0"/>
              <a:t>Notification/alertes et soumissions d'EC</a:t>
            </a:r>
          </a:p>
          <a:p>
            <a:pPr marL="825750" lvl="3" indent="-285750">
              <a:buFont typeface="Courier New" panose="02070309020205020404" pitchFamily="49" charset="0"/>
              <a:buChar char="o"/>
            </a:pPr>
            <a:r>
              <a:rPr lang="fr-FR" dirty="0"/>
              <a:t>Rapports annuels de sécurité</a:t>
            </a:r>
          </a:p>
          <a:p>
            <a:pPr marL="825750" lvl="3" indent="-285750">
              <a:buFont typeface="Courier New" panose="02070309020205020404" pitchFamily="49" charset="0"/>
              <a:buChar char="o"/>
            </a:pPr>
            <a:r>
              <a:rPr lang="fr-FR" dirty="0"/>
              <a:t>Données et résultats relatives à l'essai, </a:t>
            </a:r>
          </a:p>
          <a:p>
            <a:pPr marL="285750" indent="-285750">
              <a:buFont typeface="Courier New" panose="02070309020205020404" pitchFamily="49" charset="0"/>
              <a:buChar char="o"/>
            </a:pPr>
            <a:r>
              <a:rPr lang="fr-FR" dirty="0"/>
              <a:t>Espace pour </a:t>
            </a:r>
            <a:r>
              <a:rPr lang="fr-FR" i="1" dirty="0"/>
              <a:t>l'autorité</a:t>
            </a:r>
          </a:p>
          <a:p>
            <a:pPr marL="645750" lvl="2" indent="-285750">
              <a:buFont typeface="Courier New" panose="02070309020205020404" pitchFamily="49" charset="0"/>
              <a:buChar char="o"/>
            </a:pPr>
            <a:r>
              <a:rPr lang="fr-FR" dirty="0"/>
              <a:t>Supervision États membres, aux pays de l'EEE, aux </a:t>
            </a:r>
            <a:r>
              <a:rPr lang="fr-FR" dirty="0" err="1"/>
              <a:t>Cd'E</a:t>
            </a:r>
            <a:r>
              <a:rPr lang="fr-FR" dirty="0"/>
              <a:t> et à la CE/EMA d'utiliser le CTIS</a:t>
            </a:r>
          </a:p>
          <a:p>
            <a:pPr marL="285750" indent="-285750">
              <a:buFont typeface="Courier New" panose="02070309020205020404" pitchFamily="49" charset="0"/>
              <a:buChar char="o"/>
            </a:pPr>
            <a:r>
              <a:rPr lang="fr-FR" i="1" dirty="0"/>
              <a:t>Moteur Recherche</a:t>
            </a:r>
            <a:r>
              <a:rPr lang="fr-FR" dirty="0"/>
              <a:t> d'essais cliniques ouvert au public </a:t>
            </a:r>
          </a:p>
          <a:p>
            <a:pPr lvl="1" indent="0">
              <a:buNone/>
            </a:pPr>
            <a:endParaRPr lang="fr-FR" dirty="0"/>
          </a:p>
        </p:txBody>
      </p:sp>
    </p:spTree>
    <p:extLst>
      <p:ext uri="{BB962C8B-B14F-4D97-AF65-F5344CB8AC3E}">
        <p14:creationId xmlns:p14="http://schemas.microsoft.com/office/powerpoint/2010/main" val="8157771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404FAB-9CE7-417F-A5D3-3E1956B4CF2F}"/>
              </a:ext>
            </a:extLst>
          </p:cNvPr>
          <p:cNvSpPr>
            <a:spLocks noGrp="1"/>
          </p:cNvSpPr>
          <p:nvPr>
            <p:ph type="dt" sz="half" idx="10"/>
          </p:nvPr>
        </p:nvSpPr>
        <p:spPr/>
        <p:txBody>
          <a:bodyPr/>
          <a:lstStyle/>
          <a:p>
            <a:r>
              <a:rPr lang="en-US"/>
              <a:t>19 octobre 2022</a:t>
            </a:r>
            <a:endParaRPr lang="en-GB" dirty="0"/>
          </a:p>
        </p:txBody>
      </p:sp>
      <p:sp>
        <p:nvSpPr>
          <p:cNvPr id="6" name="Title 5">
            <a:extLst>
              <a:ext uri="{FF2B5EF4-FFF2-40B4-BE49-F238E27FC236}">
                <a16:creationId xmlns:a16="http://schemas.microsoft.com/office/drawing/2014/main" id="{21ACD0AD-E5AE-4821-BD4B-1D552491C9ED}"/>
              </a:ext>
            </a:extLst>
          </p:cNvPr>
          <p:cNvSpPr>
            <a:spLocks noGrp="1"/>
          </p:cNvSpPr>
          <p:nvPr>
            <p:ph type="title"/>
          </p:nvPr>
        </p:nvSpPr>
        <p:spPr/>
        <p:txBody>
          <a:bodyPr/>
          <a:lstStyle/>
          <a:p>
            <a:r>
              <a:rPr lang="fr-BE" dirty="0"/>
              <a:t>Plus de transparence</a:t>
            </a:r>
            <a:endParaRPr lang="nl-NL" dirty="0"/>
          </a:p>
        </p:txBody>
      </p:sp>
      <p:sp>
        <p:nvSpPr>
          <p:cNvPr id="8" name="TextBox 7">
            <a:extLst>
              <a:ext uri="{FF2B5EF4-FFF2-40B4-BE49-F238E27FC236}">
                <a16:creationId xmlns:a16="http://schemas.microsoft.com/office/drawing/2014/main" id="{68607FD1-AED0-42AC-B301-87A42F680D40}"/>
              </a:ext>
            </a:extLst>
          </p:cNvPr>
          <p:cNvSpPr txBox="1"/>
          <p:nvPr/>
        </p:nvSpPr>
        <p:spPr>
          <a:xfrm>
            <a:off x="606595" y="1394670"/>
            <a:ext cx="9479940" cy="3675365"/>
          </a:xfrm>
          <a:prstGeom prst="rect">
            <a:avLst/>
          </a:prstGeom>
          <a:noFill/>
        </p:spPr>
        <p:txBody>
          <a:bodyPr wrap="square">
            <a:spAutoFit/>
          </a:bodyPr>
          <a:lstStyle/>
          <a:p>
            <a:endParaRPr lang="nl-NL" sz="1400" b="0" i="0" u="none" strike="noStrike" baseline="0" dirty="0">
              <a:latin typeface="Arial" panose="020B0604020202020204" pitchFamily="34" charset="0"/>
            </a:endParaRPr>
          </a:p>
          <a:p>
            <a:pPr marR="0" algn="l"/>
            <a:endParaRPr lang="fr-FR" b="0" i="0" u="none" strike="noStrike" baseline="0" dirty="0">
              <a:latin typeface="Arial" panose="020B0604020202020204" pitchFamily="34" charset="0"/>
            </a:endParaRPr>
          </a:p>
          <a:p>
            <a:pPr marL="285750" marR="0" indent="-285750" algn="l">
              <a:buFont typeface="Courier New" panose="02070309020205020404" pitchFamily="49" charset="0"/>
              <a:buChar char="o"/>
            </a:pPr>
            <a:r>
              <a:rPr lang="fr-FR" sz="1800" b="0" i="0" u="none" strike="noStrike" baseline="0" dirty="0">
                <a:latin typeface="Arial" panose="020B0604020202020204" pitchFamily="34" charset="0"/>
              </a:rPr>
              <a:t>La base de données de l'UE contiendra </a:t>
            </a:r>
            <a:r>
              <a:rPr lang="fr-FR" sz="1800" b="0" i="0" u="none" strike="noStrike" baseline="0" dirty="0">
                <a:solidFill>
                  <a:srgbClr val="00B0F0"/>
                </a:solidFill>
                <a:latin typeface="Arial" panose="020B0604020202020204" pitchFamily="34" charset="0"/>
              </a:rPr>
              <a:t>toutes les données et informations soumises </a:t>
            </a:r>
            <a:r>
              <a:rPr lang="fr-FR" sz="1800" b="0" i="0" u="none" strike="noStrike" baseline="0" dirty="0">
                <a:latin typeface="Arial" panose="020B0604020202020204" pitchFamily="34" charset="0"/>
              </a:rPr>
              <a:t>via le portail dans le cadre du CTR.</a:t>
            </a:r>
          </a:p>
          <a:p>
            <a:pPr marL="285750" marR="0" indent="-285750" algn="l">
              <a:buFont typeface="Courier New" panose="02070309020205020404" pitchFamily="49" charset="0"/>
              <a:buChar char="o"/>
            </a:pPr>
            <a:r>
              <a:rPr lang="fr-FR" sz="1800" b="0" i="0" u="none" strike="noStrike" baseline="0" dirty="0">
                <a:latin typeface="Arial" panose="020B0604020202020204" pitchFamily="34" charset="0"/>
              </a:rPr>
              <a:t>Article 37(4) - Les promoteurs </a:t>
            </a:r>
            <a:r>
              <a:rPr lang="fr-FR" sz="1800" b="0" i="0" u="none" strike="noStrike" baseline="0" dirty="0">
                <a:solidFill>
                  <a:srgbClr val="00B0F0"/>
                </a:solidFill>
                <a:latin typeface="Arial" panose="020B0604020202020204" pitchFamily="34" charset="0"/>
              </a:rPr>
              <a:t>sont tenus de télécharger </a:t>
            </a:r>
            <a:r>
              <a:rPr lang="fr-FR" sz="1800" b="0" i="0" u="none" strike="noStrike" baseline="0" dirty="0">
                <a:latin typeface="Arial" panose="020B0604020202020204" pitchFamily="34" charset="0"/>
              </a:rPr>
              <a:t>les informations suivantes dans la base de données de l'UE (quels que soient les résultats)  : </a:t>
            </a:r>
          </a:p>
          <a:p>
            <a:pPr marL="645750" lvl="2" indent="-285750">
              <a:buFont typeface="Courier New" panose="02070309020205020404" pitchFamily="49" charset="0"/>
              <a:buChar char="o"/>
            </a:pPr>
            <a:r>
              <a:rPr lang="fr-FR" sz="1800" b="0" i="1" u="none" strike="noStrike" baseline="0" dirty="0">
                <a:latin typeface="Arial" panose="020B0604020202020204" pitchFamily="34" charset="0"/>
              </a:rPr>
              <a:t>Dans un délai d'un an à compter de la fin de l'essai, </a:t>
            </a:r>
            <a:r>
              <a:rPr lang="fr-FR" sz="1800" b="1" i="1" u="none" strike="noStrike" baseline="0" dirty="0">
                <a:solidFill>
                  <a:srgbClr val="00B0F0"/>
                </a:solidFill>
                <a:latin typeface="Arial" panose="020B0604020202020204" pitchFamily="34" charset="0"/>
              </a:rPr>
              <a:t>un résumé des résultats des essais cliniques</a:t>
            </a:r>
            <a:r>
              <a:rPr lang="fr-FR" sz="1800" b="1" i="1" u="none" strike="noStrike" baseline="0" dirty="0">
                <a:latin typeface="Arial" panose="020B0604020202020204" pitchFamily="34" charset="0"/>
              </a:rPr>
              <a:t> </a:t>
            </a:r>
            <a:r>
              <a:rPr lang="fr-FR" sz="1800" b="0" i="1" u="none" strike="noStrike" baseline="0" dirty="0">
                <a:latin typeface="Arial" panose="020B0604020202020204" pitchFamily="34" charset="0"/>
              </a:rPr>
              <a:t>dans un format structuré et un résumé écrit dans un format compréhensible pour les profanes (directives sur les résumés pour les profanes adoptées en février 2018).</a:t>
            </a:r>
          </a:p>
          <a:p>
            <a:pPr marL="645750" lvl="2" indent="-285750">
              <a:buFont typeface="Courier New" panose="02070309020205020404" pitchFamily="49" charset="0"/>
              <a:buChar char="o"/>
            </a:pPr>
            <a:r>
              <a:rPr lang="fr-FR" sz="1800" b="0" i="1" u="none" strike="noStrike" baseline="0" dirty="0">
                <a:latin typeface="Arial" panose="020B0604020202020204" pitchFamily="34" charset="0"/>
              </a:rPr>
              <a:t>Dans les 30 jours suivant l'autorisation, le rejet ou le retrait d'une demande d'AMM, </a:t>
            </a:r>
            <a:r>
              <a:rPr lang="fr-FR" sz="1800" b="1" i="1" u="none" strike="noStrike" baseline="0" dirty="0">
                <a:solidFill>
                  <a:srgbClr val="00B0F0"/>
                </a:solidFill>
                <a:latin typeface="Arial" panose="020B0604020202020204" pitchFamily="34" charset="0"/>
              </a:rPr>
              <a:t>les rapports d'études cliniques finaux </a:t>
            </a:r>
            <a:r>
              <a:rPr lang="fr-FR" sz="1800" b="0" i="1" u="none" strike="noStrike" baseline="0" dirty="0">
                <a:latin typeface="Arial" panose="020B0604020202020204" pitchFamily="34" charset="0"/>
              </a:rPr>
              <a:t>(expurgés) soumis à l'appui de la demande. </a:t>
            </a:r>
            <a:endParaRPr lang="nl-NL" sz="1800" b="0" i="1" u="none" strike="noStrike" baseline="0" dirty="0">
              <a:latin typeface="Arial" panose="020B0604020202020204" pitchFamily="34" charset="0"/>
            </a:endParaRPr>
          </a:p>
        </p:txBody>
      </p:sp>
      <p:sp>
        <p:nvSpPr>
          <p:cNvPr id="3" name="Rectangle: Rounded Corners 2">
            <a:extLst>
              <a:ext uri="{FF2B5EF4-FFF2-40B4-BE49-F238E27FC236}">
                <a16:creationId xmlns:a16="http://schemas.microsoft.com/office/drawing/2014/main" id="{DE674A30-7DBE-4F1B-B59B-F4A4F84D7893}"/>
              </a:ext>
            </a:extLst>
          </p:cNvPr>
          <p:cNvSpPr/>
          <p:nvPr/>
        </p:nvSpPr>
        <p:spPr>
          <a:xfrm>
            <a:off x="10086535" y="295422"/>
            <a:ext cx="1965144" cy="3133578"/>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r>
              <a:rPr lang="fr-FR" sz="2000" b="1" i="0" u="none" strike="noStrike" baseline="0" dirty="0">
                <a:solidFill>
                  <a:schemeClr val="tx1"/>
                </a:solidFill>
                <a:latin typeface="OpenSans-Light"/>
              </a:rPr>
              <a:t>Le règlement encourage fortement la transparence des données des essais, celles-ci étant accessibles au public par défaut.</a:t>
            </a:r>
            <a:endParaRPr lang="en-US" sz="2000" b="1" dirty="0">
              <a:solidFill>
                <a:schemeClr val="tx1"/>
              </a:solidFill>
            </a:endParaRPr>
          </a:p>
        </p:txBody>
      </p:sp>
    </p:spTree>
    <p:extLst>
      <p:ext uri="{BB962C8B-B14F-4D97-AF65-F5344CB8AC3E}">
        <p14:creationId xmlns:p14="http://schemas.microsoft.com/office/powerpoint/2010/main" val="34290792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404FAB-9CE7-417F-A5D3-3E1956B4CF2F}"/>
              </a:ext>
            </a:extLst>
          </p:cNvPr>
          <p:cNvSpPr>
            <a:spLocks noGrp="1"/>
          </p:cNvSpPr>
          <p:nvPr>
            <p:ph type="dt" sz="half" idx="10"/>
          </p:nvPr>
        </p:nvSpPr>
        <p:spPr/>
        <p:txBody>
          <a:bodyPr/>
          <a:lstStyle/>
          <a:p>
            <a:r>
              <a:rPr lang="en-US"/>
              <a:t>19 octobre 2022</a:t>
            </a:r>
            <a:endParaRPr lang="en-GB" dirty="0"/>
          </a:p>
        </p:txBody>
      </p:sp>
      <p:sp>
        <p:nvSpPr>
          <p:cNvPr id="6" name="Title 5">
            <a:extLst>
              <a:ext uri="{FF2B5EF4-FFF2-40B4-BE49-F238E27FC236}">
                <a16:creationId xmlns:a16="http://schemas.microsoft.com/office/drawing/2014/main" id="{21ACD0AD-E5AE-4821-BD4B-1D552491C9ED}"/>
              </a:ext>
            </a:extLst>
          </p:cNvPr>
          <p:cNvSpPr>
            <a:spLocks noGrp="1"/>
          </p:cNvSpPr>
          <p:nvPr>
            <p:ph type="title"/>
          </p:nvPr>
        </p:nvSpPr>
        <p:spPr/>
        <p:txBody>
          <a:bodyPr/>
          <a:lstStyle/>
          <a:p>
            <a:r>
              <a:rPr lang="fr-FR" dirty="0"/>
              <a:t>Exceptions limitées à la transparence</a:t>
            </a:r>
            <a:endParaRPr lang="nl-NL" dirty="0"/>
          </a:p>
        </p:txBody>
      </p:sp>
      <p:sp>
        <p:nvSpPr>
          <p:cNvPr id="8" name="TextBox 7">
            <a:extLst>
              <a:ext uri="{FF2B5EF4-FFF2-40B4-BE49-F238E27FC236}">
                <a16:creationId xmlns:a16="http://schemas.microsoft.com/office/drawing/2014/main" id="{68607FD1-AED0-42AC-B301-87A42F680D40}"/>
              </a:ext>
            </a:extLst>
          </p:cNvPr>
          <p:cNvSpPr txBox="1"/>
          <p:nvPr/>
        </p:nvSpPr>
        <p:spPr>
          <a:xfrm>
            <a:off x="555170" y="1298416"/>
            <a:ext cx="9369083" cy="4597669"/>
          </a:xfrm>
          <a:prstGeom prst="rect">
            <a:avLst/>
          </a:prstGeom>
          <a:noFill/>
        </p:spPr>
        <p:txBody>
          <a:bodyPr wrap="square">
            <a:spAutoFit/>
          </a:bodyPr>
          <a:lstStyle/>
          <a:p>
            <a:endParaRPr lang="nl-NL" sz="1400" b="0" i="0" u="none" strike="noStrike" baseline="0" dirty="0">
              <a:latin typeface="Arial" panose="020B0604020202020204" pitchFamily="34" charset="0"/>
            </a:endParaRPr>
          </a:p>
          <a:p>
            <a:pPr marL="285750" marR="0" indent="-285750" algn="l">
              <a:buFont typeface="Courier New" panose="02070309020205020404" pitchFamily="49" charset="0"/>
              <a:buChar char="o"/>
            </a:pPr>
            <a:r>
              <a:rPr lang="fr-FR" b="1" i="0" u="none" strike="noStrike" baseline="0" dirty="0">
                <a:latin typeface="Arial" panose="020B0604020202020204" pitchFamily="34" charset="0"/>
              </a:rPr>
              <a:t>Article 81, paragraphe 4, du CTR : </a:t>
            </a:r>
          </a:p>
          <a:p>
            <a:pPr marL="285750" marR="0" indent="-285750" algn="l">
              <a:buFont typeface="Courier New" panose="02070309020205020404" pitchFamily="49" charset="0"/>
              <a:buChar char="o"/>
            </a:pPr>
            <a:r>
              <a:rPr lang="fr-FR" b="0" i="1" u="none" strike="noStrike" baseline="0" dirty="0">
                <a:latin typeface="Arial" panose="020B0604020202020204" pitchFamily="34" charset="0"/>
              </a:rPr>
              <a:t>La </a:t>
            </a:r>
            <a:r>
              <a:rPr lang="fr-FR" b="1" i="1" u="none" strike="noStrike" baseline="0" dirty="0">
                <a:solidFill>
                  <a:srgbClr val="00B0F0"/>
                </a:solidFill>
                <a:latin typeface="Arial" panose="020B0604020202020204" pitchFamily="34" charset="0"/>
              </a:rPr>
              <a:t>base de données de l'UE est accessible au public</a:t>
            </a:r>
            <a:r>
              <a:rPr lang="fr-FR" b="0" i="1" u="none" strike="noStrike" baseline="0" dirty="0">
                <a:latin typeface="Arial" panose="020B0604020202020204" pitchFamily="34" charset="0"/>
              </a:rPr>
              <a:t>, </a:t>
            </a:r>
            <a:r>
              <a:rPr lang="fr-FR" b="0" i="1" u="none" strike="noStrike" baseline="0" dirty="0">
                <a:solidFill>
                  <a:srgbClr val="FF0000"/>
                </a:solidFill>
                <a:latin typeface="Arial" panose="020B0604020202020204" pitchFamily="34" charset="0"/>
              </a:rPr>
              <a:t>sauf</a:t>
            </a:r>
            <a:r>
              <a:rPr lang="fr-FR" b="0" i="1" u="none" strike="noStrike" baseline="0" dirty="0">
                <a:latin typeface="Arial" panose="020B0604020202020204" pitchFamily="34" charset="0"/>
              </a:rPr>
              <a:t> </a:t>
            </a:r>
            <a:r>
              <a:rPr lang="fr-FR" b="0" i="1" u="none" strike="noStrike" baseline="0" dirty="0">
                <a:solidFill>
                  <a:srgbClr val="FF0000"/>
                </a:solidFill>
                <a:latin typeface="Arial" panose="020B0604020202020204" pitchFamily="34" charset="0"/>
              </a:rPr>
              <a:t>si</a:t>
            </a:r>
            <a:r>
              <a:rPr lang="fr-FR" b="0" i="1" u="none" strike="noStrike" baseline="0" dirty="0">
                <a:latin typeface="Arial" panose="020B0604020202020204" pitchFamily="34" charset="0"/>
              </a:rPr>
              <a:t>, pour tout ou partie des données et informations qu'elle contient</a:t>
            </a:r>
            <a:r>
              <a:rPr lang="fr-FR" b="1" i="1" u="none" strike="noStrike" baseline="0" dirty="0">
                <a:solidFill>
                  <a:srgbClr val="FF0000"/>
                </a:solidFill>
                <a:latin typeface="Arial" panose="020B0604020202020204" pitchFamily="34" charset="0"/>
              </a:rPr>
              <a:t>, la confidentialité est justifiée </a:t>
            </a:r>
            <a:r>
              <a:rPr lang="fr-FR" b="0" i="1" u="none" strike="noStrike" baseline="0" dirty="0">
                <a:latin typeface="Arial" panose="020B0604020202020204" pitchFamily="34" charset="0"/>
              </a:rPr>
              <a:t>par l'un des motifs suivants :</a:t>
            </a:r>
          </a:p>
          <a:p>
            <a:pPr marL="702900" lvl="2" indent="-342900">
              <a:buFont typeface="+mj-lt"/>
              <a:buAutoNum type="alphaLcParenR"/>
            </a:pPr>
            <a:r>
              <a:rPr lang="fr-FR" b="0" i="1" u="none" strike="noStrike" baseline="0" dirty="0">
                <a:latin typeface="Arial" panose="020B0604020202020204" pitchFamily="34" charset="0"/>
              </a:rPr>
              <a:t>Protection des données à caractère personnel</a:t>
            </a:r>
          </a:p>
          <a:p>
            <a:pPr marL="702900" lvl="2" indent="-342900">
              <a:buFont typeface="+mj-lt"/>
              <a:buAutoNum type="alphaLcParenR"/>
            </a:pPr>
            <a:r>
              <a:rPr lang="fr-FR" b="0" i="1" u="none" strike="noStrike" baseline="0" dirty="0">
                <a:latin typeface="Arial" panose="020B0604020202020204" pitchFamily="34" charset="0"/>
              </a:rPr>
              <a:t>Protection des informations commercialement confidentielles </a:t>
            </a:r>
            <a:r>
              <a:rPr lang="fr-FR" b="0" i="1" u="none" strike="noStrike" baseline="0" dirty="0"/>
              <a:t>"</a:t>
            </a:r>
            <a:r>
              <a:rPr lang="fr-FR" b="0" i="1" dirty="0">
                <a:solidFill>
                  <a:srgbClr val="333333"/>
                </a:solidFill>
                <a:effectLst/>
              </a:rPr>
              <a:t>notamment en tenant compte du statut de l'autorisation de mise sur le marché du médicament, </a:t>
            </a:r>
            <a:r>
              <a:rPr lang="fr-FR" b="0" i="1" u="none" strike="noStrike" baseline="0" dirty="0">
                <a:latin typeface="Arial" panose="020B0604020202020204" pitchFamily="34" charset="0"/>
              </a:rPr>
              <a:t>à moins qu'un intérêt public supérieur ne justifie leur divulgation"  </a:t>
            </a:r>
          </a:p>
          <a:p>
            <a:pPr marL="702900" lvl="2" indent="-342900">
              <a:buFont typeface="+mj-lt"/>
              <a:buAutoNum type="alphaLcParenR"/>
            </a:pPr>
            <a:r>
              <a:rPr lang="fr-FR" b="0" i="1" u="none" strike="noStrike" baseline="0" dirty="0"/>
              <a:t>Protection de la communication confidentielle entre les EM </a:t>
            </a:r>
            <a:r>
              <a:rPr lang="fr-FR" b="0" i="1" dirty="0">
                <a:solidFill>
                  <a:srgbClr val="333333"/>
                </a:solidFill>
                <a:effectLst/>
              </a:rPr>
              <a:t>concernant l'élaboration du rapport d'évaluation;</a:t>
            </a:r>
            <a:r>
              <a:rPr lang="fr-FR" i="1" dirty="0">
                <a:solidFill>
                  <a:srgbClr val="333333"/>
                </a:solidFill>
                <a:effectLst/>
              </a:rPr>
              <a:t> </a:t>
            </a:r>
          </a:p>
          <a:p>
            <a:pPr marL="702900" lvl="2" indent="-342900">
              <a:buFont typeface="+mj-lt"/>
              <a:buAutoNum type="alphaLcParenR"/>
            </a:pPr>
            <a:r>
              <a:rPr lang="fr-FR" b="0" i="0" dirty="0">
                <a:solidFill>
                  <a:srgbClr val="333333"/>
                </a:solidFill>
                <a:effectLst/>
              </a:rPr>
              <a:t>la </a:t>
            </a:r>
            <a:r>
              <a:rPr lang="fr-FR" b="0" i="1" dirty="0">
                <a:solidFill>
                  <a:srgbClr val="333333"/>
                </a:solidFill>
                <a:effectLst/>
              </a:rPr>
              <a:t>surveillance effective de la conduite d'un </a:t>
            </a:r>
          </a:p>
          <a:p>
            <a:pPr lvl="2" indent="0">
              <a:buNone/>
            </a:pPr>
            <a:r>
              <a:rPr lang="fr-FR" b="0" i="1" dirty="0">
                <a:solidFill>
                  <a:srgbClr val="333333"/>
                </a:solidFill>
                <a:effectLst/>
              </a:rPr>
              <a:t>essai clinique par des États membres.</a:t>
            </a:r>
          </a:p>
          <a:p>
            <a:pPr marL="702900" lvl="2" indent="-342900">
              <a:buFont typeface="+mj-lt"/>
              <a:buAutoNum type="alphaLcParenR"/>
            </a:pPr>
            <a:endParaRPr lang="fr-FR" i="1" dirty="0">
              <a:solidFill>
                <a:srgbClr val="333333"/>
              </a:solidFill>
            </a:endParaRPr>
          </a:p>
          <a:p>
            <a:pPr lvl="2" indent="0">
              <a:buNone/>
            </a:pPr>
            <a:endParaRPr lang="fr-FR" b="0" i="1" dirty="0">
              <a:solidFill>
                <a:srgbClr val="333333"/>
              </a:solidFill>
              <a:effectLst/>
            </a:endParaRPr>
          </a:p>
          <a:p>
            <a:pPr marL="702900" lvl="2" indent="-342900">
              <a:buFont typeface="+mj-lt"/>
              <a:buAutoNum type="alphaLcParenR"/>
            </a:pPr>
            <a:endParaRPr lang="fr-FR" u="none" strike="noStrike" baseline="0" dirty="0">
              <a:solidFill>
                <a:srgbClr val="333333"/>
              </a:solidFill>
              <a:latin typeface="Times New Roman" panose="02020603050405020304" pitchFamily="18" charset="0"/>
            </a:endParaRPr>
          </a:p>
        </p:txBody>
      </p:sp>
      <p:sp>
        <p:nvSpPr>
          <p:cNvPr id="9" name="TextBox 8">
            <a:extLst>
              <a:ext uri="{FF2B5EF4-FFF2-40B4-BE49-F238E27FC236}">
                <a16:creationId xmlns:a16="http://schemas.microsoft.com/office/drawing/2014/main" id="{00A579AD-09C9-4BB7-9444-E6A91BFA9D07}"/>
              </a:ext>
            </a:extLst>
          </p:cNvPr>
          <p:cNvSpPr txBox="1"/>
          <p:nvPr/>
        </p:nvSpPr>
        <p:spPr>
          <a:xfrm>
            <a:off x="7357404" y="4202916"/>
            <a:ext cx="4834596" cy="3010055"/>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pPr marL="645750" lvl="2" indent="-285750">
              <a:buFont typeface="Courier New" panose="02070309020205020404" pitchFamily="49" charset="0"/>
              <a:buChar char="o"/>
            </a:pPr>
            <a:endParaRPr lang="fr-FR" u="none" strike="noStrike" baseline="0" dirty="0">
              <a:solidFill>
                <a:srgbClr val="333333"/>
              </a:solidFill>
              <a:latin typeface="Times New Roman" panose="02020603050405020304" pitchFamily="18" charset="0"/>
            </a:endParaRPr>
          </a:p>
          <a:p>
            <a:pPr marL="645750" lvl="2" indent="-285750">
              <a:buFont typeface="Courier New" panose="02070309020205020404" pitchFamily="49" charset="0"/>
              <a:buChar char="o"/>
            </a:pPr>
            <a:r>
              <a:rPr lang="fr-FR" u="none" strike="noStrike" baseline="0" dirty="0">
                <a:solidFill>
                  <a:srgbClr val="333333"/>
                </a:solidFill>
                <a:latin typeface="Times New Roman" panose="02020603050405020304" pitchFamily="18" charset="0"/>
              </a:rPr>
              <a:t>Sont considérés comme </a:t>
            </a:r>
            <a:r>
              <a:rPr lang="fr-FR" b="1" u="none" strike="noStrike" baseline="0" dirty="0">
                <a:solidFill>
                  <a:srgbClr val="333333"/>
                </a:solidFill>
                <a:latin typeface="Times New Roman" panose="02020603050405020304" pitchFamily="18" charset="0"/>
              </a:rPr>
              <a:t>confidentielles</a:t>
            </a:r>
            <a:r>
              <a:rPr lang="fr-FR" u="none" strike="noStrike" baseline="0" dirty="0">
                <a:solidFill>
                  <a:srgbClr val="333333"/>
                </a:solidFill>
                <a:latin typeface="Times New Roman" panose="02020603050405020304" pitchFamily="18" charset="0"/>
              </a:rPr>
              <a:t> :</a:t>
            </a:r>
          </a:p>
          <a:p>
            <a:pPr marL="825750" lvl="3" indent="-285750">
              <a:buFont typeface="Courier New" panose="02070309020205020404" pitchFamily="49" charset="0"/>
              <a:buChar char="o"/>
            </a:pPr>
            <a:r>
              <a:rPr lang="fr-FR" dirty="0">
                <a:solidFill>
                  <a:srgbClr val="333333"/>
                </a:solidFill>
                <a:latin typeface="Times New Roman" panose="02020603050405020304" pitchFamily="18" charset="0"/>
              </a:rPr>
              <a:t>IMPD qualité</a:t>
            </a:r>
          </a:p>
          <a:p>
            <a:pPr marL="825750" lvl="3" indent="-285750">
              <a:buFont typeface="Courier New" panose="02070309020205020404" pitchFamily="49" charset="0"/>
              <a:buChar char="o"/>
            </a:pPr>
            <a:r>
              <a:rPr lang="fr-FR" dirty="0" err="1">
                <a:solidFill>
                  <a:srgbClr val="333333"/>
                </a:solidFill>
                <a:latin typeface="Times New Roman" panose="02020603050405020304" pitchFamily="18" charset="0"/>
              </a:rPr>
              <a:t>Quality</a:t>
            </a:r>
            <a:r>
              <a:rPr lang="fr-FR" dirty="0">
                <a:solidFill>
                  <a:srgbClr val="333333"/>
                </a:solidFill>
                <a:latin typeface="Times New Roman" panose="02020603050405020304" pitchFamily="18" charset="0"/>
              </a:rPr>
              <a:t> </a:t>
            </a:r>
            <a:r>
              <a:rPr lang="fr-FR" dirty="0" err="1">
                <a:solidFill>
                  <a:srgbClr val="333333"/>
                </a:solidFill>
                <a:latin typeface="Times New Roman" panose="02020603050405020304" pitchFamily="18" charset="0"/>
              </a:rPr>
              <a:t>assessment</a:t>
            </a:r>
            <a:r>
              <a:rPr lang="fr-FR" dirty="0">
                <a:solidFill>
                  <a:srgbClr val="333333"/>
                </a:solidFill>
                <a:latin typeface="Times New Roman" panose="02020603050405020304" pitchFamily="18" charset="0"/>
              </a:rPr>
              <a:t> reports and drafts QAR</a:t>
            </a:r>
          </a:p>
          <a:p>
            <a:pPr marL="825750" lvl="3" indent="-285750">
              <a:buFont typeface="Courier New" panose="02070309020205020404" pitchFamily="49" charset="0"/>
              <a:buChar char="o"/>
            </a:pPr>
            <a:r>
              <a:rPr lang="fr-FR" dirty="0">
                <a:solidFill>
                  <a:srgbClr val="333333"/>
                </a:solidFill>
                <a:latin typeface="Times New Roman" panose="02020603050405020304" pitchFamily="18" charset="0"/>
              </a:rPr>
              <a:t>Données perso experts, staff du Promoteur</a:t>
            </a:r>
          </a:p>
          <a:p>
            <a:pPr marL="825750" lvl="3" indent="-285750">
              <a:buFont typeface="Courier New" panose="02070309020205020404" pitchFamily="49" charset="0"/>
              <a:buChar char="o"/>
            </a:pPr>
            <a:r>
              <a:rPr lang="fr-FR" dirty="0">
                <a:solidFill>
                  <a:srgbClr val="333333"/>
                </a:solidFill>
                <a:latin typeface="Times New Roman" panose="02020603050405020304" pitchFamily="18" charset="0"/>
              </a:rPr>
              <a:t>Accords financier promoteur et Investigateurs/sites</a:t>
            </a:r>
          </a:p>
          <a:p>
            <a:pPr marL="285750" lvl="6" indent="-285750">
              <a:buFont typeface="Courier New" panose="02070309020205020404" pitchFamily="49" charset="0"/>
              <a:buChar char="o"/>
            </a:pPr>
            <a:endParaRPr lang="fr-FR" u="none" strike="noStrike" baseline="0" dirty="0">
              <a:solidFill>
                <a:srgbClr val="333333"/>
              </a:solidFill>
              <a:latin typeface="Times New Roman" panose="02020603050405020304" pitchFamily="18" charset="0"/>
            </a:endParaRPr>
          </a:p>
          <a:p>
            <a:pPr marL="702900" lvl="2" indent="-342900">
              <a:buFont typeface="+mj-lt"/>
              <a:buAutoNum type="alphaLcParenR"/>
            </a:pPr>
            <a:endParaRPr lang="fr-FR" u="none" strike="noStrike" baseline="0" dirty="0">
              <a:solidFill>
                <a:srgbClr val="333333"/>
              </a:solidFill>
              <a:latin typeface="Times New Roman" panose="02020603050405020304" pitchFamily="18" charset="0"/>
            </a:endParaRPr>
          </a:p>
        </p:txBody>
      </p:sp>
    </p:spTree>
    <p:extLst>
      <p:ext uri="{BB962C8B-B14F-4D97-AF65-F5344CB8AC3E}">
        <p14:creationId xmlns:p14="http://schemas.microsoft.com/office/powerpoint/2010/main" val="31430539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1415C55-0DAF-41BA-B2FA-571578FB69C7}"/>
              </a:ext>
            </a:extLst>
          </p:cNvPr>
          <p:cNvSpPr>
            <a:spLocks noGrp="1"/>
          </p:cNvSpPr>
          <p:nvPr>
            <p:ph type="dt" sz="half" idx="10"/>
          </p:nvPr>
        </p:nvSpPr>
        <p:spPr/>
        <p:txBody>
          <a:bodyPr/>
          <a:lstStyle/>
          <a:p>
            <a:r>
              <a:rPr lang="en-US"/>
              <a:t>19 octobre 2022</a:t>
            </a:r>
            <a:endParaRPr lang="en-GB" dirty="0"/>
          </a:p>
        </p:txBody>
      </p:sp>
      <p:sp>
        <p:nvSpPr>
          <p:cNvPr id="6" name="Content Placeholder 5">
            <a:extLst>
              <a:ext uri="{FF2B5EF4-FFF2-40B4-BE49-F238E27FC236}">
                <a16:creationId xmlns:a16="http://schemas.microsoft.com/office/drawing/2014/main" id="{99F513E5-F99C-4BC0-AB88-498B6BC0557E}"/>
              </a:ext>
            </a:extLst>
          </p:cNvPr>
          <p:cNvSpPr>
            <a:spLocks noGrp="1"/>
          </p:cNvSpPr>
          <p:nvPr>
            <p:ph idx="1"/>
          </p:nvPr>
        </p:nvSpPr>
        <p:spPr>
          <a:xfrm>
            <a:off x="485803" y="2151261"/>
            <a:ext cx="3748572" cy="4006800"/>
          </a:xfrm>
        </p:spPr>
        <p:txBody>
          <a:bodyPr/>
          <a:lstStyle/>
          <a:p>
            <a:pPr lvl="2" indent="0">
              <a:buNone/>
            </a:pPr>
            <a:endParaRPr lang="fr-FR" sz="1400" b="0" i="0" u="none" strike="noStrike" baseline="0" dirty="0">
              <a:latin typeface="Arial" panose="020B0604020202020204" pitchFamily="34" charset="0"/>
            </a:endParaRPr>
          </a:p>
          <a:p>
            <a:pPr marL="285750" indent="-285750">
              <a:buFont typeface="Courier New" panose="02070309020205020404" pitchFamily="49" charset="0"/>
              <a:buChar char="o"/>
            </a:pPr>
            <a:r>
              <a:rPr lang="fr-FR" sz="1400" dirty="0">
                <a:latin typeface="Arial" panose="020B0604020202020204" pitchFamily="34" charset="0"/>
              </a:rPr>
              <a:t>Seules les demandes ayant fait l'objet d'une décision par un EM seront rendues publique.</a:t>
            </a:r>
          </a:p>
          <a:p>
            <a:pPr marL="285750" indent="-285750">
              <a:buFont typeface="Courier New" panose="02070309020205020404" pitchFamily="49" charset="0"/>
              <a:buChar char="o"/>
            </a:pPr>
            <a:endParaRPr lang="fr-FR" sz="1400" dirty="0">
              <a:latin typeface="Arial" panose="020B0604020202020204" pitchFamily="34" charset="0"/>
            </a:endParaRPr>
          </a:p>
          <a:p>
            <a:pPr marL="285750" indent="-285750">
              <a:buFont typeface="Courier New" panose="02070309020205020404" pitchFamily="49" charset="0"/>
              <a:buChar char="o"/>
            </a:pPr>
            <a:r>
              <a:rPr lang="fr-FR" sz="1400" b="0" i="0" u="none" strike="noStrike" baseline="0" dirty="0">
                <a:latin typeface="Arial" panose="020B0604020202020204" pitchFamily="34" charset="0"/>
              </a:rPr>
              <a:t>L'</a:t>
            </a:r>
            <a:r>
              <a:rPr lang="fr-FR" sz="1400" b="1" i="0" u="none" strike="noStrike" baseline="0" dirty="0">
                <a:latin typeface="Arial" panose="020B0604020202020204" pitchFamily="34" charset="0"/>
              </a:rPr>
              <a:t>'Annexe sur les règles de divulgation des spécifications fonctionnelles</a:t>
            </a:r>
            <a:r>
              <a:rPr lang="fr-FR" sz="1400" b="0" i="0" u="none" strike="noStrike" baseline="0" dirty="0">
                <a:latin typeface="Arial" panose="020B0604020202020204" pitchFamily="34" charset="0"/>
              </a:rPr>
              <a:t>" précise que la publication peut être reportée à 5-7 ans après la fin de l'essai pour : le protocole, la sécurité/l'efficacité de l'IMPD, l'IB jusqu'à 12 mois après la fin de l'essai pour : le résumé des résultats de l'essai et le résumé. </a:t>
            </a:r>
          </a:p>
          <a:p>
            <a:pPr marL="285750" marR="0" indent="-285750" algn="l">
              <a:buFont typeface="Courier New" panose="02070309020205020404" pitchFamily="49" charset="0"/>
              <a:buChar char="o"/>
            </a:pPr>
            <a:endParaRPr lang="fr-FR" sz="1400" b="0" i="0" u="none" strike="noStrike" baseline="0" dirty="0">
              <a:latin typeface="Arial" panose="020B0604020202020204" pitchFamily="34" charset="0"/>
            </a:endParaRPr>
          </a:p>
          <a:p>
            <a:endParaRPr lang="fr-FR" dirty="0"/>
          </a:p>
        </p:txBody>
      </p:sp>
      <p:sp>
        <p:nvSpPr>
          <p:cNvPr id="4" name="Title 3">
            <a:extLst>
              <a:ext uri="{FF2B5EF4-FFF2-40B4-BE49-F238E27FC236}">
                <a16:creationId xmlns:a16="http://schemas.microsoft.com/office/drawing/2014/main" id="{7C631CCF-5CEE-4C80-BC43-9E5D3E99AF41}"/>
              </a:ext>
            </a:extLst>
          </p:cNvPr>
          <p:cNvSpPr>
            <a:spLocks noGrp="1"/>
          </p:cNvSpPr>
          <p:nvPr>
            <p:ph type="title"/>
          </p:nvPr>
        </p:nvSpPr>
        <p:spPr>
          <a:xfrm>
            <a:off x="719137" y="666745"/>
            <a:ext cx="9840913" cy="1484516"/>
          </a:xfrm>
        </p:spPr>
        <p:txBody>
          <a:bodyPr/>
          <a:lstStyle/>
          <a:p>
            <a:r>
              <a:rPr lang="fr-BE" dirty="0"/>
              <a:t>Limitations à la transparence</a:t>
            </a:r>
            <a:br>
              <a:rPr lang="fr-BE" dirty="0"/>
            </a:br>
            <a:r>
              <a:rPr lang="fr-BE" dirty="0"/>
              <a:t>Report</a:t>
            </a:r>
            <a:endParaRPr lang="fr-FR" dirty="0"/>
          </a:p>
        </p:txBody>
      </p:sp>
      <p:pic>
        <p:nvPicPr>
          <p:cNvPr id="9" name="Picture 8">
            <a:extLst>
              <a:ext uri="{FF2B5EF4-FFF2-40B4-BE49-F238E27FC236}">
                <a16:creationId xmlns:a16="http://schemas.microsoft.com/office/drawing/2014/main" id="{A639A59C-04B0-461D-AF00-4E302CE2C6DA}"/>
              </a:ext>
            </a:extLst>
          </p:cNvPr>
          <p:cNvPicPr>
            <a:picLocks noChangeAspect="1"/>
          </p:cNvPicPr>
          <p:nvPr/>
        </p:nvPicPr>
        <p:blipFill>
          <a:blip r:embed="rId2"/>
          <a:stretch>
            <a:fillRect/>
          </a:stretch>
        </p:blipFill>
        <p:spPr>
          <a:xfrm>
            <a:off x="7544845" y="272838"/>
            <a:ext cx="3248539" cy="1715433"/>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11" name="Picture 10">
            <a:extLst>
              <a:ext uri="{FF2B5EF4-FFF2-40B4-BE49-F238E27FC236}">
                <a16:creationId xmlns:a16="http://schemas.microsoft.com/office/drawing/2014/main" id="{7A9FE71E-CA37-4486-9E9D-2F6D2CC7BDE2}"/>
              </a:ext>
            </a:extLst>
          </p:cNvPr>
          <p:cNvPicPr>
            <a:picLocks noChangeAspect="1"/>
          </p:cNvPicPr>
          <p:nvPr/>
        </p:nvPicPr>
        <p:blipFill>
          <a:blip r:embed="rId3"/>
          <a:stretch>
            <a:fillRect/>
          </a:stretch>
        </p:blipFill>
        <p:spPr>
          <a:xfrm>
            <a:off x="4352769" y="2151261"/>
            <a:ext cx="7209715" cy="4591353"/>
          </a:xfrm>
          <a:prstGeom prst="rect">
            <a:avLst/>
          </a:prstGeom>
        </p:spPr>
      </p:pic>
    </p:spTree>
    <p:extLst>
      <p:ext uri="{BB962C8B-B14F-4D97-AF65-F5344CB8AC3E}">
        <p14:creationId xmlns:p14="http://schemas.microsoft.com/office/powerpoint/2010/main" val="24006256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D2B0230-A702-42A5-8769-8C69CC817F6E}"/>
              </a:ext>
            </a:extLst>
          </p:cNvPr>
          <p:cNvSpPr>
            <a:spLocks noGrp="1"/>
          </p:cNvSpPr>
          <p:nvPr>
            <p:ph type="dt" sz="half" idx="10"/>
          </p:nvPr>
        </p:nvSpPr>
        <p:spPr/>
        <p:txBody>
          <a:bodyPr/>
          <a:lstStyle/>
          <a:p>
            <a:r>
              <a:rPr lang="en-US"/>
              <a:t>19 octobre 2022</a:t>
            </a:r>
            <a:endParaRPr lang="en-GB" dirty="0"/>
          </a:p>
        </p:txBody>
      </p:sp>
      <p:sp>
        <p:nvSpPr>
          <p:cNvPr id="5" name="Title 4">
            <a:extLst>
              <a:ext uri="{FF2B5EF4-FFF2-40B4-BE49-F238E27FC236}">
                <a16:creationId xmlns:a16="http://schemas.microsoft.com/office/drawing/2014/main" id="{EF2F2A22-B6B8-4492-A44C-84D6E14BAE9A}"/>
              </a:ext>
            </a:extLst>
          </p:cNvPr>
          <p:cNvSpPr>
            <a:spLocks noGrp="1"/>
          </p:cNvSpPr>
          <p:nvPr>
            <p:ph type="title"/>
          </p:nvPr>
        </p:nvSpPr>
        <p:spPr>
          <a:xfrm>
            <a:off x="6096000" y="972237"/>
            <a:ext cx="5465761" cy="672823"/>
          </a:xfrm>
        </p:spPr>
        <p:txBody>
          <a:bodyPr/>
          <a:lstStyle/>
          <a:p>
            <a:r>
              <a:rPr lang="fr-BE" dirty="0" err="1"/>
              <a:t>Copromotion</a:t>
            </a:r>
            <a:endParaRPr lang="nl-NL" dirty="0"/>
          </a:p>
        </p:txBody>
      </p:sp>
      <p:sp>
        <p:nvSpPr>
          <p:cNvPr id="7" name="Rectangle: Rounded Corners 6">
            <a:extLst>
              <a:ext uri="{FF2B5EF4-FFF2-40B4-BE49-F238E27FC236}">
                <a16:creationId xmlns:a16="http://schemas.microsoft.com/office/drawing/2014/main" id="{FFF4A8C0-9A24-4D6E-B128-626841BE0402}"/>
              </a:ext>
            </a:extLst>
          </p:cNvPr>
          <p:cNvSpPr/>
          <p:nvPr/>
        </p:nvSpPr>
        <p:spPr>
          <a:xfrm>
            <a:off x="4034777" y="2444736"/>
            <a:ext cx="8101505" cy="3948686"/>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l"/>
            <a:endParaRPr lang="nl-NL" sz="1200" b="0" i="0" u="none" strike="noStrike" baseline="0" dirty="0">
              <a:solidFill>
                <a:srgbClr val="000000"/>
              </a:solidFill>
              <a:latin typeface="Arial" panose="020B0604020202020204" pitchFamily="34" charset="0"/>
            </a:endParaRPr>
          </a:p>
          <a:p>
            <a:endParaRPr lang="nl-NL" sz="1200" b="0" i="0" u="none" strike="noStrike" baseline="0" dirty="0">
              <a:solidFill>
                <a:schemeClr val="tx1"/>
              </a:solidFill>
              <a:latin typeface="Arial" panose="020B0604020202020204" pitchFamily="34" charset="0"/>
            </a:endParaRPr>
          </a:p>
          <a:p>
            <a:pPr marR="0" algn="l"/>
            <a:r>
              <a:rPr lang="fr-FR" sz="1600" b="1" i="0" u="none" strike="noStrike" baseline="0" dirty="0">
                <a:solidFill>
                  <a:schemeClr val="tx1"/>
                </a:solidFill>
                <a:latin typeface="Arial" panose="020B0604020202020204" pitchFamily="34" charset="0"/>
              </a:rPr>
              <a:t>Concept de copromotion (art. 72) : Responsabilité partagée de l'essai, sauf accord contraire (sous réserve d'exceptions).</a:t>
            </a:r>
          </a:p>
          <a:p>
            <a:pPr marL="285750" marR="0" indent="-285750" algn="l">
              <a:buFont typeface="Arial" panose="020B0604020202020204" pitchFamily="34" charset="0"/>
              <a:buChar char="•"/>
            </a:pPr>
            <a:r>
              <a:rPr lang="fr-FR" sz="1600" i="0" u="none" strike="noStrike" baseline="0" dirty="0">
                <a:solidFill>
                  <a:schemeClr val="tx1"/>
                </a:solidFill>
                <a:latin typeface="Arial" panose="020B0604020202020204" pitchFamily="34" charset="0"/>
              </a:rPr>
              <a:t>Tous les co-sponsors sont conjointement responsables de l'établissement </a:t>
            </a:r>
            <a:r>
              <a:rPr lang="fr-FR" sz="1600" b="1" i="0" u="none" strike="noStrike" baseline="0" dirty="0">
                <a:solidFill>
                  <a:schemeClr val="tx1"/>
                </a:solidFill>
                <a:latin typeface="Arial" panose="020B0604020202020204" pitchFamily="34" charset="0"/>
              </a:rPr>
              <a:t>d'un seul sponsor</a:t>
            </a:r>
            <a:r>
              <a:rPr lang="fr-FR" sz="1600" i="0" u="none" strike="noStrike" baseline="0" dirty="0">
                <a:solidFill>
                  <a:schemeClr val="tx1"/>
                </a:solidFill>
                <a:latin typeface="Arial" panose="020B0604020202020204" pitchFamily="34" charset="0"/>
              </a:rPr>
              <a:t> responsable de chacune des tâches suivantes (c'est-à-dire qu'il n'y a pas de responsabilité partagée pour ces tâches) : </a:t>
            </a:r>
          </a:p>
          <a:p>
            <a:pPr marL="645750" lvl="2" indent="-285750">
              <a:buFont typeface="Arial" panose="020B0604020202020204" pitchFamily="34" charset="0"/>
              <a:buChar char="•"/>
            </a:pPr>
            <a:r>
              <a:rPr lang="fr-FR" i="0" u="none" strike="noStrike" baseline="0" dirty="0">
                <a:solidFill>
                  <a:schemeClr val="tx1"/>
                </a:solidFill>
                <a:latin typeface="Arial" panose="020B0604020202020204" pitchFamily="34" charset="0"/>
              </a:rPr>
              <a:t>Respect des procédures d'autorisation du promoteur</a:t>
            </a:r>
          </a:p>
          <a:p>
            <a:pPr marL="645750" lvl="2" indent="-285750">
              <a:buFont typeface="Arial" panose="020B0604020202020204" pitchFamily="34" charset="0"/>
              <a:buChar char="•"/>
            </a:pPr>
            <a:r>
              <a:rPr lang="fr-FR" i="0" u="none" strike="noStrike" baseline="0" dirty="0">
                <a:solidFill>
                  <a:schemeClr val="tx1"/>
                </a:solidFill>
                <a:latin typeface="Arial" panose="020B0604020202020204" pitchFamily="34" charset="0"/>
              </a:rPr>
              <a:t>Être un point de contact pour les sujets, les IP et les MSC.</a:t>
            </a:r>
          </a:p>
          <a:p>
            <a:pPr marL="645750" lvl="2" indent="-285750">
              <a:buFont typeface="Arial" panose="020B0604020202020204" pitchFamily="34" charset="0"/>
              <a:buChar char="•"/>
            </a:pPr>
            <a:r>
              <a:rPr lang="fr-FR" i="0" u="none" strike="noStrike" baseline="0" dirty="0">
                <a:solidFill>
                  <a:schemeClr val="tx1"/>
                </a:solidFill>
                <a:latin typeface="Arial" panose="020B0604020202020204" pitchFamily="34" charset="0"/>
              </a:rPr>
              <a:t>prendre des mesures correctives si elles sont imposées par les CSM.</a:t>
            </a:r>
          </a:p>
          <a:p>
            <a:pPr marR="0" algn="l"/>
            <a:r>
              <a:rPr lang="fr-FR" sz="1600" b="1" i="0" u="none" strike="noStrike" baseline="0" dirty="0">
                <a:solidFill>
                  <a:schemeClr val="tx1"/>
                </a:solidFill>
                <a:latin typeface="Arial" panose="020B0604020202020204" pitchFamily="34" charset="0"/>
              </a:rPr>
              <a:t>Importance</a:t>
            </a:r>
            <a:r>
              <a:rPr lang="fr-FR" sz="1600" i="0" u="none" strike="noStrike" baseline="0" dirty="0">
                <a:solidFill>
                  <a:schemeClr val="tx1"/>
                </a:solidFill>
                <a:latin typeface="Arial" panose="020B0604020202020204" pitchFamily="34" charset="0"/>
              </a:rPr>
              <a:t> d'accords écrits précis définissant clairement les responsabilités</a:t>
            </a:r>
          </a:p>
          <a:p>
            <a:pPr marL="285750" marR="0" indent="-285750" algn="l">
              <a:buFont typeface="Arial" panose="020B0604020202020204" pitchFamily="34" charset="0"/>
              <a:buChar char="•"/>
            </a:pPr>
            <a:r>
              <a:rPr lang="fr-FR" sz="1600" i="0" u="none" strike="noStrike" baseline="0" dirty="0">
                <a:solidFill>
                  <a:schemeClr val="tx1"/>
                </a:solidFill>
                <a:latin typeface="Arial" panose="020B0604020202020204" pitchFamily="34" charset="0"/>
              </a:rPr>
              <a:t>Aide dans les essais collaboratifs impliquant plusieurs sociétés pharmaceutiques et/ou institutions scientifiques. </a:t>
            </a:r>
            <a:endParaRPr lang="nl-NL" sz="1500" i="0" u="none" strike="noStrike" baseline="0" dirty="0">
              <a:solidFill>
                <a:schemeClr val="tx1"/>
              </a:solidFill>
              <a:latin typeface="Arial" panose="020B0604020202020204" pitchFamily="34" charset="0"/>
            </a:endParaRPr>
          </a:p>
          <a:p>
            <a:pPr algn="ctr"/>
            <a:endParaRPr lang="nl-NL" sz="1400" dirty="0">
              <a:solidFill>
                <a:schemeClr val="tx1"/>
              </a:solidFill>
            </a:endParaRPr>
          </a:p>
        </p:txBody>
      </p:sp>
      <p:sp>
        <p:nvSpPr>
          <p:cNvPr id="9" name="Rectangle: Rounded Corners 8">
            <a:extLst>
              <a:ext uri="{FF2B5EF4-FFF2-40B4-BE49-F238E27FC236}">
                <a16:creationId xmlns:a16="http://schemas.microsoft.com/office/drawing/2014/main" id="{E03934D9-2174-4F6C-BB60-D28717B203A7}"/>
              </a:ext>
            </a:extLst>
          </p:cNvPr>
          <p:cNvSpPr/>
          <p:nvPr/>
        </p:nvSpPr>
        <p:spPr>
          <a:xfrm>
            <a:off x="151340" y="172560"/>
            <a:ext cx="4034777" cy="4104018"/>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r>
              <a:rPr lang="fr-FR" sz="1800" b="1" i="1" dirty="0">
                <a:solidFill>
                  <a:schemeClr val="tx1"/>
                </a:solidFill>
                <a:effectLst/>
                <a:latin typeface="Times New Roman" panose="02020603050405020304" pitchFamily="18" charset="0"/>
              </a:rPr>
              <a:t>"Sans préjudice de l'article 74, si un essai clinique a plus d'un promoteur, </a:t>
            </a:r>
            <a:r>
              <a:rPr lang="fr-FR" sz="1800" b="1" i="1" dirty="0">
                <a:solidFill>
                  <a:srgbClr val="477628"/>
                </a:solidFill>
                <a:effectLst/>
                <a:latin typeface="Times New Roman" panose="02020603050405020304" pitchFamily="18" charset="0"/>
              </a:rPr>
              <a:t>tous les promoteurs sont soumis aux responsabilités qui incombent au promoteur en vertu du présent règlement, à moins qu'ils n'en décident autrement dans un contrat écrit stipulant leurs responsabilités respectives</a:t>
            </a:r>
            <a:r>
              <a:rPr lang="fr-FR" sz="1800" b="1" i="1" dirty="0">
                <a:solidFill>
                  <a:schemeClr val="tx1"/>
                </a:solidFill>
                <a:effectLst/>
                <a:latin typeface="Times New Roman" panose="02020603050405020304" pitchFamily="18" charset="0"/>
              </a:rPr>
              <a:t>. Si le contrat ne précise pas l'identité du promoteur auquel est conférée une responsabilité donnée, celle-ci incombe à l'ensemble des promoteurs."</a:t>
            </a:r>
            <a:endParaRPr lang="nl-NL" sz="1800" b="1" i="1" dirty="0">
              <a:solidFill>
                <a:schemeClr val="tx1"/>
              </a:solidFill>
            </a:endParaRPr>
          </a:p>
        </p:txBody>
      </p:sp>
    </p:spTree>
    <p:extLst>
      <p:ext uri="{BB962C8B-B14F-4D97-AF65-F5344CB8AC3E}">
        <p14:creationId xmlns:p14="http://schemas.microsoft.com/office/powerpoint/2010/main" val="15586488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7910BB6-3B99-4D4C-B301-C2D6B7D18DDA}"/>
              </a:ext>
            </a:extLst>
          </p:cNvPr>
          <p:cNvSpPr>
            <a:spLocks noGrp="1"/>
          </p:cNvSpPr>
          <p:nvPr>
            <p:ph type="dt" sz="half" idx="10"/>
          </p:nvPr>
        </p:nvSpPr>
        <p:spPr/>
        <p:txBody>
          <a:bodyPr/>
          <a:lstStyle/>
          <a:p>
            <a:r>
              <a:rPr lang="en-US"/>
              <a:t>19 octobre 2022</a:t>
            </a:r>
            <a:endParaRPr lang="en-GB" dirty="0"/>
          </a:p>
        </p:txBody>
      </p:sp>
      <p:sp>
        <p:nvSpPr>
          <p:cNvPr id="7" name="Title 6">
            <a:extLst>
              <a:ext uri="{FF2B5EF4-FFF2-40B4-BE49-F238E27FC236}">
                <a16:creationId xmlns:a16="http://schemas.microsoft.com/office/drawing/2014/main" id="{EC5FC0C9-631D-43AF-8053-094C444E1E58}"/>
              </a:ext>
            </a:extLst>
          </p:cNvPr>
          <p:cNvSpPr>
            <a:spLocks noGrp="1"/>
          </p:cNvSpPr>
          <p:nvPr>
            <p:ph type="title"/>
          </p:nvPr>
        </p:nvSpPr>
        <p:spPr>
          <a:xfrm>
            <a:off x="5264331" y="384313"/>
            <a:ext cx="6608801" cy="672823"/>
          </a:xfrm>
        </p:spPr>
        <p:txBody>
          <a:bodyPr/>
          <a:lstStyle/>
          <a:p>
            <a:r>
              <a:rPr lang="fr-FR" sz="3200" dirty="0"/>
              <a:t>Nouveau concept d'essais cliniques à faible niveau d'intervention  </a:t>
            </a:r>
          </a:p>
        </p:txBody>
      </p:sp>
      <p:sp>
        <p:nvSpPr>
          <p:cNvPr id="21" name="Rectangle: Rounded Corners 20">
            <a:extLst>
              <a:ext uri="{FF2B5EF4-FFF2-40B4-BE49-F238E27FC236}">
                <a16:creationId xmlns:a16="http://schemas.microsoft.com/office/drawing/2014/main" id="{44F5BD2A-DEAA-4010-8DB6-EF8FE5449110}"/>
              </a:ext>
            </a:extLst>
          </p:cNvPr>
          <p:cNvSpPr/>
          <p:nvPr/>
        </p:nvSpPr>
        <p:spPr>
          <a:xfrm>
            <a:off x="4728754" y="1505244"/>
            <a:ext cx="7249885" cy="5032178"/>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l"/>
            <a:endParaRPr lang="nl-NL" sz="1800" b="0" i="0" u="none" strike="noStrike" baseline="0" dirty="0">
              <a:solidFill>
                <a:srgbClr val="000000"/>
              </a:solidFill>
              <a:latin typeface="Arial" panose="020B0604020202020204" pitchFamily="34" charset="0"/>
            </a:endParaRPr>
          </a:p>
          <a:p>
            <a:endParaRPr lang="nl-NL" sz="1800" b="0" i="0" u="none" strike="noStrike" baseline="0" dirty="0">
              <a:latin typeface="Arial" panose="020B0604020202020204" pitchFamily="34" charset="0"/>
            </a:endParaRPr>
          </a:p>
          <a:p>
            <a:pPr algn="l"/>
            <a:endParaRPr lang="nl-NL" sz="1800" b="0" i="0" u="none" strike="noStrike" baseline="0" dirty="0">
              <a:solidFill>
                <a:srgbClr val="000000"/>
              </a:solidFill>
              <a:latin typeface="Arial" panose="020B0604020202020204" pitchFamily="34" charset="0"/>
            </a:endParaRPr>
          </a:p>
          <a:p>
            <a:pPr marL="285750" marR="0" indent="-285750" algn="l">
              <a:buFont typeface="Courier New" panose="02070309020205020404" pitchFamily="49" charset="0"/>
              <a:buChar char="o"/>
            </a:pPr>
            <a:r>
              <a:rPr lang="fr-FR" sz="1800" i="0" u="none" strike="noStrike" baseline="0" dirty="0">
                <a:solidFill>
                  <a:schemeClr val="tx1"/>
                </a:solidFill>
                <a:latin typeface="Arial" panose="020B0604020202020204" pitchFamily="34" charset="0"/>
              </a:rPr>
              <a:t>Conditions (art. 2(3)):</a:t>
            </a:r>
          </a:p>
          <a:p>
            <a:pPr marL="465750" lvl="1" indent="-285750">
              <a:buFont typeface="Courier New" panose="02070309020205020404" pitchFamily="49" charset="0"/>
              <a:buChar char="o"/>
            </a:pPr>
            <a:r>
              <a:rPr lang="fr-FR" sz="1800" i="0" u="none" strike="noStrike" baseline="0" dirty="0">
                <a:solidFill>
                  <a:schemeClr val="tx1"/>
                </a:solidFill>
                <a:latin typeface="Arial" panose="020B0604020202020204" pitchFamily="34" charset="0"/>
              </a:rPr>
              <a:t>(i) IMP déjà autorisé est utilisé conformément à l'AMM </a:t>
            </a:r>
            <a:r>
              <a:rPr lang="fr-FR" sz="1800" i="1" u="none" strike="noStrike" baseline="0" dirty="0">
                <a:solidFill>
                  <a:schemeClr val="tx1"/>
                </a:solidFill>
                <a:latin typeface="Arial" panose="020B0604020202020204" pitchFamily="34" charset="0"/>
              </a:rPr>
              <a:t>ou</a:t>
            </a:r>
            <a:r>
              <a:rPr lang="fr-FR" sz="1800" i="0" u="none" strike="noStrike" baseline="0" dirty="0">
                <a:solidFill>
                  <a:schemeClr val="tx1"/>
                </a:solidFill>
                <a:latin typeface="Arial" panose="020B0604020202020204" pitchFamily="34" charset="0"/>
              </a:rPr>
              <a:t> (ii) son utilisation basée sur des preuves scientifiques sur la sécurité et l'efficacité; </a:t>
            </a:r>
            <a:r>
              <a:rPr lang="fr-FR" sz="1800" i="1" u="none" strike="noStrike" baseline="0" dirty="0">
                <a:solidFill>
                  <a:schemeClr val="tx1"/>
                </a:solidFill>
                <a:latin typeface="Arial" panose="020B0604020202020204" pitchFamily="34" charset="0"/>
              </a:rPr>
              <a:t>et</a:t>
            </a:r>
          </a:p>
          <a:p>
            <a:pPr marL="465750" lvl="1" indent="-285750">
              <a:buFont typeface="Courier New" panose="02070309020205020404" pitchFamily="49" charset="0"/>
              <a:buChar char="o"/>
            </a:pPr>
            <a:r>
              <a:rPr lang="fr-FR" sz="1800" i="0" u="none" strike="noStrike" baseline="0" dirty="0">
                <a:solidFill>
                  <a:schemeClr val="tx1"/>
                </a:solidFill>
                <a:latin typeface="Arial" panose="020B0604020202020204" pitchFamily="34" charset="0"/>
              </a:rPr>
              <a:t>L'intervention ne présente pas de risque ou de charge supplémentaire plus que minime pour le sujet par rapport à la pratique clinique normale dans le CSM. </a:t>
            </a:r>
          </a:p>
          <a:p>
            <a:pPr marL="285750" marR="0" indent="-285750" algn="l">
              <a:buFont typeface="Courier New" panose="02070309020205020404" pitchFamily="49" charset="0"/>
              <a:buChar char="o"/>
            </a:pPr>
            <a:r>
              <a:rPr lang="fr-FR" sz="1800" i="0" u="none" strike="noStrike" baseline="0" dirty="0">
                <a:solidFill>
                  <a:schemeClr val="tx1"/>
                </a:solidFill>
                <a:latin typeface="Arial" panose="020B0604020202020204" pitchFamily="34" charset="0"/>
              </a:rPr>
              <a:t>Exemples : questionnaires, analyse des fluides corporels, mesure de la taille/du poids, ...</a:t>
            </a:r>
          </a:p>
          <a:p>
            <a:pPr marL="285750" marR="0" indent="-285750" algn="l">
              <a:buFont typeface="Courier New" panose="02070309020205020404" pitchFamily="49" charset="0"/>
              <a:buChar char="o"/>
            </a:pPr>
            <a:r>
              <a:rPr lang="fr-FR" sz="1800" i="0" u="none" strike="noStrike" baseline="0" dirty="0">
                <a:solidFill>
                  <a:schemeClr val="tx1"/>
                </a:solidFill>
                <a:latin typeface="Arial" panose="020B0604020202020204" pitchFamily="34" charset="0"/>
              </a:rPr>
              <a:t>Exigences moins strictes en ce qui concerne le suivi, la traçabilité et le contenu du dossier permanent de l'EC (CTMF). </a:t>
            </a:r>
          </a:p>
          <a:p>
            <a:pPr marL="285750" marR="0" indent="-285750" algn="l">
              <a:buFont typeface="Courier New" panose="02070309020205020404" pitchFamily="49" charset="0"/>
              <a:buChar char="o"/>
            </a:pPr>
            <a:r>
              <a:rPr lang="fr-FR" sz="1800" i="0" u="none" strike="noStrike" baseline="0" dirty="0">
                <a:solidFill>
                  <a:schemeClr val="tx1"/>
                </a:solidFill>
                <a:latin typeface="Arial" panose="020B0604020202020204" pitchFamily="34" charset="0"/>
              </a:rPr>
              <a:t>Les études non interventionnelles sont exclues (art.1</a:t>
            </a:r>
            <a:r>
              <a:rPr lang="en-GB" sz="1800" dirty="0">
                <a:solidFill>
                  <a:schemeClr val="tx1"/>
                </a:solidFill>
                <a:latin typeface="Arial" panose="020B0604020202020204" pitchFamily="34" charset="0"/>
              </a:rPr>
              <a:t>)</a:t>
            </a:r>
            <a:endParaRPr lang="en-GB" sz="1800" i="0" u="none" strike="noStrike" baseline="0" dirty="0">
              <a:solidFill>
                <a:schemeClr val="tx1"/>
              </a:solidFill>
              <a:latin typeface="Arial" panose="020B0604020202020204" pitchFamily="34" charset="0"/>
            </a:endParaRPr>
          </a:p>
          <a:p>
            <a:pPr marR="0" algn="l"/>
            <a:endParaRPr lang="nl-NL" sz="1800" b="0" i="0" u="none" strike="noStrike" baseline="0" dirty="0">
              <a:latin typeface="Arial" panose="020B0604020202020204" pitchFamily="34" charset="0"/>
            </a:endParaRPr>
          </a:p>
          <a:p>
            <a:pPr marR="0" algn="l"/>
            <a:endParaRPr lang="nl-NL" sz="1800" b="0" i="0" u="none" strike="noStrike" baseline="0" dirty="0">
              <a:latin typeface="Arial" panose="020B0604020202020204" pitchFamily="34" charset="0"/>
            </a:endParaRPr>
          </a:p>
          <a:p>
            <a:pPr algn="ctr"/>
            <a:endParaRPr lang="nl-NL" sz="1400" dirty="0">
              <a:solidFill>
                <a:schemeClr val="tx1"/>
              </a:solidFill>
            </a:endParaRPr>
          </a:p>
        </p:txBody>
      </p:sp>
      <p:pic>
        <p:nvPicPr>
          <p:cNvPr id="2052" name="Picture 4" descr="Free Close-Up Photo Of A Person Pouring Mixture On A Tube  Stock Photo">
            <a:extLst>
              <a:ext uri="{FF2B5EF4-FFF2-40B4-BE49-F238E27FC236}">
                <a16:creationId xmlns:a16="http://schemas.microsoft.com/office/drawing/2014/main" id="{4029BC24-C588-4EAF-9199-A12AEA23746F}"/>
              </a:ext>
            </a:extLst>
          </p:cNvPr>
          <p:cNvPicPr>
            <a:picLocks noGrp="1" noChangeAspect="1" noChangeArrowheads="1"/>
          </p:cNvPicPr>
          <p:nvPr>
            <p:ph type="pic" sz="quarter" idx="13"/>
          </p:nvPr>
        </p:nvPicPr>
        <p:blipFill>
          <a:blip r:embed="rId3">
            <a:extLst>
              <a:ext uri="{28A0092B-C50C-407E-A947-70E740481C1C}">
                <a14:useLocalDpi xmlns:a14="http://schemas.microsoft.com/office/drawing/2010/main" val="0"/>
              </a:ext>
            </a:extLst>
          </a:blip>
          <a:srcRect t="15185" b="15185"/>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19518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404FAB-9CE7-417F-A5D3-3E1956B4CF2F}"/>
              </a:ext>
            </a:extLst>
          </p:cNvPr>
          <p:cNvSpPr>
            <a:spLocks noGrp="1"/>
          </p:cNvSpPr>
          <p:nvPr>
            <p:ph type="dt" sz="half" idx="10"/>
          </p:nvPr>
        </p:nvSpPr>
        <p:spPr/>
        <p:txBody>
          <a:bodyPr/>
          <a:lstStyle/>
          <a:p>
            <a:r>
              <a:rPr lang="en-US"/>
              <a:t>19 octobre 2022</a:t>
            </a:r>
            <a:endParaRPr lang="en-GB" dirty="0"/>
          </a:p>
        </p:txBody>
      </p:sp>
      <p:sp>
        <p:nvSpPr>
          <p:cNvPr id="6" name="Title 5">
            <a:extLst>
              <a:ext uri="{FF2B5EF4-FFF2-40B4-BE49-F238E27FC236}">
                <a16:creationId xmlns:a16="http://schemas.microsoft.com/office/drawing/2014/main" id="{21ACD0AD-E5AE-4821-BD4B-1D552491C9ED}"/>
              </a:ext>
            </a:extLst>
          </p:cNvPr>
          <p:cNvSpPr>
            <a:spLocks noGrp="1"/>
          </p:cNvSpPr>
          <p:nvPr>
            <p:ph type="title"/>
          </p:nvPr>
        </p:nvSpPr>
        <p:spPr>
          <a:xfrm>
            <a:off x="2503830" y="573159"/>
            <a:ext cx="9313031" cy="672823"/>
          </a:xfrm>
        </p:spPr>
        <p:txBody>
          <a:bodyPr/>
          <a:lstStyle/>
          <a:p>
            <a:r>
              <a:rPr lang="fr-FR" i="1" dirty="0"/>
              <a:t>Mise en œuvre du Règlement en France</a:t>
            </a:r>
          </a:p>
        </p:txBody>
      </p:sp>
      <p:sp>
        <p:nvSpPr>
          <p:cNvPr id="9" name="Rectangle: Rounded Corners 8">
            <a:extLst>
              <a:ext uri="{FF2B5EF4-FFF2-40B4-BE49-F238E27FC236}">
                <a16:creationId xmlns:a16="http://schemas.microsoft.com/office/drawing/2014/main" id="{11D1CF66-986F-45D0-A6E1-813079971CB4}"/>
              </a:ext>
            </a:extLst>
          </p:cNvPr>
          <p:cNvSpPr/>
          <p:nvPr/>
        </p:nvSpPr>
        <p:spPr>
          <a:xfrm>
            <a:off x="234042" y="1475231"/>
            <a:ext cx="5513615" cy="4688942"/>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r>
              <a:rPr lang="fr-FR" sz="1800" dirty="0">
                <a:solidFill>
                  <a:schemeClr val="tx1"/>
                </a:solidFill>
              </a:rPr>
              <a:t>Les essais cliniques doivent être soumis à deux évaluations : </a:t>
            </a:r>
          </a:p>
          <a:p>
            <a:r>
              <a:rPr lang="fr-FR" sz="1800" b="1" dirty="0">
                <a:solidFill>
                  <a:schemeClr val="tx1"/>
                </a:solidFill>
              </a:rPr>
              <a:t>1. Une évaluation coordonnée au niveau de l'UE</a:t>
            </a:r>
          </a:p>
          <a:p>
            <a:pPr marL="285750" indent="-285750">
              <a:buFont typeface="Arial" panose="020B0604020202020204" pitchFamily="34" charset="0"/>
              <a:buChar char="•"/>
            </a:pPr>
            <a:r>
              <a:rPr lang="fr-FR" sz="1800" dirty="0">
                <a:solidFill>
                  <a:schemeClr val="tx1"/>
                </a:solidFill>
              </a:rPr>
              <a:t>Protocole de recherche, documents scientifiques sur les médicaments</a:t>
            </a:r>
          </a:p>
          <a:p>
            <a:pPr marL="285750" indent="-285750">
              <a:buFont typeface="Arial" panose="020B0604020202020204" pitchFamily="34" charset="0"/>
              <a:buChar char="•"/>
            </a:pPr>
            <a:r>
              <a:rPr lang="fr-FR" sz="1800" dirty="0">
                <a:solidFill>
                  <a:schemeClr val="tx1"/>
                </a:solidFill>
              </a:rPr>
              <a:t>Par les autorités sanitaires, </a:t>
            </a:r>
            <a:r>
              <a:rPr lang="fr-FR" sz="1800" b="1" dirty="0">
                <a:solidFill>
                  <a:schemeClr val="tx1"/>
                </a:solidFill>
              </a:rPr>
              <a:t>l'ANSM</a:t>
            </a:r>
            <a:r>
              <a:rPr lang="fr-FR" sz="1800" dirty="0">
                <a:solidFill>
                  <a:schemeClr val="tx1"/>
                </a:solidFill>
              </a:rPr>
              <a:t> en France </a:t>
            </a:r>
          </a:p>
          <a:p>
            <a:r>
              <a:rPr lang="fr-FR" sz="1800" b="1" dirty="0">
                <a:solidFill>
                  <a:schemeClr val="tx1"/>
                </a:solidFill>
              </a:rPr>
              <a:t>2. Une évaluation systématique en France </a:t>
            </a:r>
          </a:p>
          <a:p>
            <a:pPr marL="285750" indent="-285750">
              <a:buFont typeface="Arial" panose="020B0604020202020204" pitchFamily="34" charset="0"/>
              <a:buChar char="•"/>
            </a:pPr>
            <a:r>
              <a:rPr lang="fr-FR" sz="1800" dirty="0">
                <a:solidFill>
                  <a:schemeClr val="tx1"/>
                </a:solidFill>
              </a:rPr>
              <a:t>Protection des personnes participant à l'essai, méthodes de recrutement, information fournie, adéquation du site</a:t>
            </a:r>
          </a:p>
          <a:p>
            <a:pPr marL="285750" indent="-285750">
              <a:buFont typeface="Arial" panose="020B0604020202020204" pitchFamily="34" charset="0"/>
              <a:buChar char="•"/>
            </a:pPr>
            <a:r>
              <a:rPr lang="fr-FR" sz="1800" dirty="0">
                <a:solidFill>
                  <a:schemeClr val="tx1"/>
                </a:solidFill>
              </a:rPr>
              <a:t>Par les </a:t>
            </a:r>
            <a:r>
              <a:rPr lang="fr-FR" sz="1800" b="1" dirty="0">
                <a:solidFill>
                  <a:schemeClr val="tx1"/>
                </a:solidFill>
              </a:rPr>
              <a:t>comités de protection des personnes</a:t>
            </a:r>
            <a:endParaRPr lang="en-US" sz="1800" b="1" dirty="0">
              <a:solidFill>
                <a:schemeClr val="tx1"/>
              </a:solidFill>
            </a:endParaRPr>
          </a:p>
        </p:txBody>
      </p:sp>
      <p:sp>
        <p:nvSpPr>
          <p:cNvPr id="10" name="Rectangle: Rounded Corners 9">
            <a:extLst>
              <a:ext uri="{FF2B5EF4-FFF2-40B4-BE49-F238E27FC236}">
                <a16:creationId xmlns:a16="http://schemas.microsoft.com/office/drawing/2014/main" id="{635CF649-EF99-4688-85DD-36EFCDCE2958}"/>
              </a:ext>
            </a:extLst>
          </p:cNvPr>
          <p:cNvSpPr/>
          <p:nvPr/>
        </p:nvSpPr>
        <p:spPr>
          <a:xfrm>
            <a:off x="6096000" y="1475231"/>
            <a:ext cx="5861958" cy="4688942"/>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r>
              <a:rPr lang="fr-FR" sz="1800" dirty="0">
                <a:solidFill>
                  <a:schemeClr val="tx1"/>
                </a:solidFill>
              </a:rPr>
              <a:t>Le procès se déroule uniquement en France</a:t>
            </a:r>
          </a:p>
          <a:p>
            <a:pPr marL="285750" indent="-285750">
              <a:buFont typeface="Arial" panose="020B0604020202020204" pitchFamily="34" charset="0"/>
              <a:buChar char="•"/>
            </a:pPr>
            <a:r>
              <a:rPr lang="fr-FR" sz="1800" dirty="0">
                <a:solidFill>
                  <a:schemeClr val="tx1"/>
                </a:solidFill>
              </a:rPr>
              <a:t>L'évaluation de la demande sera effectuée uniquement en France pour les deux décisions. </a:t>
            </a:r>
          </a:p>
          <a:p>
            <a:pPr marL="285750" indent="-285750">
              <a:buFont typeface="Arial" panose="020B0604020202020204" pitchFamily="34" charset="0"/>
              <a:buChar char="•"/>
            </a:pPr>
            <a:r>
              <a:rPr lang="fr-FR" sz="1800" dirty="0">
                <a:solidFill>
                  <a:schemeClr val="tx1"/>
                </a:solidFill>
              </a:rPr>
              <a:t>L'essai est mené dans plusieurs États membres de l'UE</a:t>
            </a:r>
          </a:p>
          <a:p>
            <a:pPr marL="645750" lvl="2" indent="-285750">
              <a:buFont typeface="Arial" panose="020B0604020202020204" pitchFamily="34" charset="0"/>
              <a:buChar char="•"/>
            </a:pPr>
            <a:r>
              <a:rPr lang="fr-FR" sz="1800" dirty="0">
                <a:solidFill>
                  <a:schemeClr val="tx1"/>
                </a:solidFill>
              </a:rPr>
              <a:t>La décision sur les documents scientifiques et le protocole de recherche sera une décision conjointe des autorités sanitaires des pays impliqués dans cette recherche (l'ANSM en France). </a:t>
            </a:r>
          </a:p>
          <a:p>
            <a:pPr marL="645750" lvl="2" indent="-285750">
              <a:buFont typeface="Arial" panose="020B0604020202020204" pitchFamily="34" charset="0"/>
              <a:buChar char="•"/>
            </a:pPr>
            <a:r>
              <a:rPr lang="fr-FR" sz="1800" dirty="0">
                <a:solidFill>
                  <a:schemeClr val="tx1"/>
                </a:solidFill>
              </a:rPr>
              <a:t>La décision relative à la protection des personnes sera une décision prise uniquement par la France (les CPP)</a:t>
            </a:r>
          </a:p>
          <a:p>
            <a:pPr marL="645750" lvl="2" indent="-285750">
              <a:buFont typeface="Arial" panose="020B0604020202020204" pitchFamily="34" charset="0"/>
              <a:buChar char="•"/>
            </a:pPr>
            <a:r>
              <a:rPr lang="fr-FR" sz="1800" dirty="0">
                <a:solidFill>
                  <a:schemeClr val="tx1"/>
                </a:solidFill>
              </a:rPr>
              <a:t>L'ANSM délivre l'autorisation </a:t>
            </a:r>
            <a:endParaRPr lang="en-US" sz="1800" dirty="0">
              <a:solidFill>
                <a:schemeClr val="tx1"/>
              </a:solidFill>
            </a:endParaRPr>
          </a:p>
        </p:txBody>
      </p:sp>
    </p:spTree>
    <p:extLst>
      <p:ext uri="{BB962C8B-B14F-4D97-AF65-F5344CB8AC3E}">
        <p14:creationId xmlns:p14="http://schemas.microsoft.com/office/powerpoint/2010/main" val="4151570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7BBFEFD-4383-4195-AD69-057070B5748C}"/>
              </a:ext>
            </a:extLst>
          </p:cNvPr>
          <p:cNvSpPr>
            <a:spLocks noGrp="1"/>
          </p:cNvSpPr>
          <p:nvPr>
            <p:ph type="dt" sz="half" idx="10"/>
          </p:nvPr>
        </p:nvSpPr>
        <p:spPr/>
        <p:txBody>
          <a:bodyPr/>
          <a:lstStyle/>
          <a:p>
            <a:r>
              <a:rPr lang="en-US"/>
              <a:t>19 octobre 2022</a:t>
            </a:r>
            <a:endParaRPr lang="en-GB" dirty="0"/>
          </a:p>
        </p:txBody>
      </p:sp>
      <p:sp>
        <p:nvSpPr>
          <p:cNvPr id="4" name="Title 3">
            <a:extLst>
              <a:ext uri="{FF2B5EF4-FFF2-40B4-BE49-F238E27FC236}">
                <a16:creationId xmlns:a16="http://schemas.microsoft.com/office/drawing/2014/main" id="{523F18FB-18ED-4DD6-BE6E-A8916CE4F765}"/>
              </a:ext>
            </a:extLst>
          </p:cNvPr>
          <p:cNvSpPr>
            <a:spLocks noGrp="1"/>
          </p:cNvSpPr>
          <p:nvPr>
            <p:ph type="title"/>
          </p:nvPr>
        </p:nvSpPr>
        <p:spPr>
          <a:xfrm>
            <a:off x="5352370" y="248759"/>
            <a:ext cx="3791689" cy="433109"/>
          </a:xfrm>
        </p:spPr>
        <p:txBody>
          <a:bodyPr/>
          <a:lstStyle/>
          <a:p>
            <a:r>
              <a:rPr lang="fr-BE" sz="2400" i="1" dirty="0">
                <a:solidFill>
                  <a:schemeClr val="tx2"/>
                </a:solidFill>
              </a:rPr>
              <a:t>Avantages</a:t>
            </a:r>
            <a:endParaRPr lang="nl-NL" sz="2400" i="1" dirty="0">
              <a:solidFill>
                <a:schemeClr val="tx2"/>
              </a:solidFill>
            </a:endParaRPr>
          </a:p>
        </p:txBody>
      </p:sp>
      <p:sp>
        <p:nvSpPr>
          <p:cNvPr id="18" name="Subtitle 17">
            <a:extLst>
              <a:ext uri="{FF2B5EF4-FFF2-40B4-BE49-F238E27FC236}">
                <a16:creationId xmlns:a16="http://schemas.microsoft.com/office/drawing/2014/main" id="{52EA3B8D-2B2F-464C-8BC9-F28FA77F8E96}"/>
              </a:ext>
            </a:extLst>
          </p:cNvPr>
          <p:cNvSpPr>
            <a:spLocks noGrp="1"/>
          </p:cNvSpPr>
          <p:nvPr>
            <p:ph type="subTitle" idx="12"/>
          </p:nvPr>
        </p:nvSpPr>
        <p:spPr>
          <a:xfrm>
            <a:off x="9144059" y="3482557"/>
            <a:ext cx="5465761" cy="527734"/>
          </a:xfrm>
        </p:spPr>
        <p:txBody>
          <a:bodyPr/>
          <a:lstStyle/>
          <a:p>
            <a:r>
              <a:rPr lang="fr-BE" dirty="0"/>
              <a:t>Les principaux défis</a:t>
            </a:r>
            <a:endParaRPr lang="nl-NL" dirty="0"/>
          </a:p>
        </p:txBody>
      </p:sp>
      <p:sp>
        <p:nvSpPr>
          <p:cNvPr id="20" name="Rectangle: Rounded Corners 19">
            <a:extLst>
              <a:ext uri="{FF2B5EF4-FFF2-40B4-BE49-F238E27FC236}">
                <a16:creationId xmlns:a16="http://schemas.microsoft.com/office/drawing/2014/main" id="{B24D6BA3-40B0-4831-9701-D15C8B407E74}"/>
              </a:ext>
            </a:extLst>
          </p:cNvPr>
          <p:cNvSpPr/>
          <p:nvPr/>
        </p:nvSpPr>
        <p:spPr>
          <a:xfrm>
            <a:off x="4403188" y="3878864"/>
            <a:ext cx="7605869" cy="2847708"/>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marL="285750" marR="0" indent="-285750" algn="l">
              <a:buFont typeface="Courier New" panose="02070309020205020404" pitchFamily="49" charset="0"/>
              <a:buChar char="o"/>
            </a:pPr>
            <a:r>
              <a:rPr lang="fr-FR" sz="1400" b="0" i="0" u="none" strike="noStrike" baseline="0" dirty="0">
                <a:solidFill>
                  <a:schemeClr val="tx1"/>
                </a:solidFill>
                <a:latin typeface="Arial" panose="020B0604020202020204" pitchFamily="34" charset="0"/>
              </a:rPr>
              <a:t>Deux cadres concomitants pour mener des essais pendant la période transitoire</a:t>
            </a:r>
          </a:p>
          <a:p>
            <a:pPr marL="285750" marR="0" indent="-285750" algn="l">
              <a:buFont typeface="Courier New" panose="02070309020205020404" pitchFamily="49" charset="0"/>
              <a:buChar char="o"/>
            </a:pPr>
            <a:r>
              <a:rPr lang="fr-FR" sz="1400" b="0" i="0" u="none" strike="noStrike" baseline="0" dirty="0">
                <a:solidFill>
                  <a:schemeClr val="tx1"/>
                </a:solidFill>
                <a:latin typeface="Arial" panose="020B0604020202020204" pitchFamily="34" charset="0"/>
              </a:rPr>
              <a:t>Une évaluation en deux parties : comment cela fonctionnera-t-il en pratique ?</a:t>
            </a:r>
          </a:p>
          <a:p>
            <a:pPr marL="285750" marR="0" indent="-285750" algn="l">
              <a:buFont typeface="Courier New" panose="02070309020205020404" pitchFamily="49" charset="0"/>
              <a:buChar char="o"/>
            </a:pPr>
            <a:r>
              <a:rPr lang="fr-FR" sz="1400" b="0" i="0" u="none" strike="noStrike" baseline="0" dirty="0">
                <a:solidFill>
                  <a:schemeClr val="tx1"/>
                </a:solidFill>
                <a:latin typeface="Arial" panose="020B0604020202020204" pitchFamily="34" charset="0"/>
              </a:rPr>
              <a:t>Les États membres doivent définir les interactions entre les AC et les CE.</a:t>
            </a:r>
          </a:p>
          <a:p>
            <a:pPr marL="285750" marR="0" indent="-285750" algn="l">
              <a:buFont typeface="Courier New" panose="02070309020205020404" pitchFamily="49" charset="0"/>
              <a:buChar char="o"/>
            </a:pPr>
            <a:r>
              <a:rPr lang="fr-FR" sz="1400" b="0" i="0" u="none" strike="noStrike" baseline="0" dirty="0">
                <a:solidFill>
                  <a:schemeClr val="tx1"/>
                </a:solidFill>
                <a:latin typeface="Arial" panose="020B0604020202020204" pitchFamily="34" charset="0"/>
              </a:rPr>
              <a:t>Obligation de mettre à jour la plupart des procédures/systèmes internes pour se conformer au règlement</a:t>
            </a:r>
          </a:p>
          <a:p>
            <a:pPr marL="285750" marR="0" indent="-285750" algn="l">
              <a:buFont typeface="Courier New" panose="02070309020205020404" pitchFamily="49" charset="0"/>
              <a:buChar char="o"/>
            </a:pPr>
            <a:r>
              <a:rPr lang="fr-FR" sz="1400" b="0" i="0" u="none" strike="noStrike" baseline="0" dirty="0">
                <a:solidFill>
                  <a:schemeClr val="tx1"/>
                </a:solidFill>
                <a:latin typeface="Arial" panose="020B0604020202020204" pitchFamily="34" charset="0"/>
              </a:rPr>
              <a:t>Transparence ! Incertitude concernant l'infrastructure informatique - base de données/portail de l'UE (par exemple, rôles et systèmes associés à la conservation et à l'archivage des dossiers, droits d'accès et de gestion des données introduites par le portail de l'UE).</a:t>
            </a:r>
          </a:p>
          <a:p>
            <a:pPr marL="285750" marR="0" indent="-285750" algn="l">
              <a:buFont typeface="Courier New" panose="02070309020205020404" pitchFamily="49" charset="0"/>
              <a:buChar char="o"/>
            </a:pPr>
            <a:r>
              <a:rPr lang="fr-FR" sz="1400" b="0" i="0" u="none" strike="noStrike" baseline="0" dirty="0">
                <a:solidFill>
                  <a:schemeClr val="tx1"/>
                </a:solidFill>
                <a:latin typeface="Arial" panose="020B0604020202020204" pitchFamily="34" charset="0"/>
              </a:rPr>
              <a:t>Interactions avec d'autres nouveaux textes législatifs (en particulier le GDPR/les directives sur la protection de la vie privée) </a:t>
            </a:r>
            <a:endParaRPr lang="en-GB" sz="1400" b="0" i="0" u="none" strike="noStrike" baseline="0" dirty="0">
              <a:solidFill>
                <a:schemeClr val="tx1"/>
              </a:solidFill>
              <a:latin typeface="Arial" panose="020B0604020202020204" pitchFamily="34" charset="0"/>
            </a:endParaRPr>
          </a:p>
        </p:txBody>
      </p:sp>
      <p:sp>
        <p:nvSpPr>
          <p:cNvPr id="21" name="Rectangle: Rounded Corners 20">
            <a:extLst>
              <a:ext uri="{FF2B5EF4-FFF2-40B4-BE49-F238E27FC236}">
                <a16:creationId xmlns:a16="http://schemas.microsoft.com/office/drawing/2014/main" id="{D834C29F-432F-4FAF-BDDA-1C347D8AFDE9}"/>
              </a:ext>
            </a:extLst>
          </p:cNvPr>
          <p:cNvSpPr/>
          <p:nvPr/>
        </p:nvSpPr>
        <p:spPr>
          <a:xfrm>
            <a:off x="1512796" y="1489165"/>
            <a:ext cx="45719" cy="4571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22" name="Rectangle: Rounded Corners 21">
            <a:extLst>
              <a:ext uri="{FF2B5EF4-FFF2-40B4-BE49-F238E27FC236}">
                <a16:creationId xmlns:a16="http://schemas.microsoft.com/office/drawing/2014/main" id="{415D4500-C482-4FA7-B352-7D16BDA1EBB6}"/>
              </a:ext>
            </a:extLst>
          </p:cNvPr>
          <p:cNvSpPr/>
          <p:nvPr/>
        </p:nvSpPr>
        <p:spPr>
          <a:xfrm>
            <a:off x="99603" y="573842"/>
            <a:ext cx="9044456" cy="3125961"/>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marR="0" algn="l"/>
            <a:r>
              <a:rPr lang="en-GB" sz="1400" b="1" i="1" dirty="0">
                <a:latin typeface="Arial" panose="020B0604020202020204" pitchFamily="34" charset="0"/>
              </a:rPr>
              <a:t>  </a:t>
            </a:r>
          </a:p>
          <a:p>
            <a:pPr marL="285750" marR="0" indent="-285750" algn="l">
              <a:buFont typeface="Courier New" panose="02070309020205020404" pitchFamily="49" charset="0"/>
              <a:buChar char="o"/>
            </a:pPr>
            <a:r>
              <a:rPr lang="fr-FR" sz="1400" b="0" i="0" u="none" strike="noStrike" baseline="0" dirty="0">
                <a:solidFill>
                  <a:schemeClr val="tx1"/>
                </a:solidFill>
                <a:latin typeface="Arial" panose="020B0604020202020204" pitchFamily="34" charset="0"/>
              </a:rPr>
              <a:t>Procédure de demande rationalisée par un point d'entrée unique pour les promoteurs menant des essais dans plusieurs États membres.</a:t>
            </a:r>
          </a:p>
          <a:p>
            <a:pPr marL="285750" marR="0" indent="-285750" algn="l">
              <a:buFont typeface="Courier New" panose="02070309020205020404" pitchFamily="49" charset="0"/>
              <a:buChar char="o"/>
            </a:pPr>
            <a:r>
              <a:rPr lang="fr-FR" sz="1400" b="0" i="0" u="none" strike="noStrike" baseline="0" dirty="0">
                <a:solidFill>
                  <a:schemeClr val="tx1"/>
                </a:solidFill>
                <a:latin typeface="Arial" panose="020B0604020202020204" pitchFamily="34" charset="0"/>
              </a:rPr>
              <a:t>Une seule demande, quel que soit l'État membre concerné.</a:t>
            </a:r>
          </a:p>
          <a:p>
            <a:pPr marL="285750" marR="0" indent="-285750" algn="l">
              <a:buFont typeface="Courier New" panose="02070309020205020404" pitchFamily="49" charset="0"/>
              <a:buChar char="o"/>
            </a:pPr>
            <a:r>
              <a:rPr lang="fr-FR" sz="1400" b="0" i="0" u="none" strike="noStrike" baseline="0" dirty="0">
                <a:solidFill>
                  <a:schemeClr val="tx1"/>
                </a:solidFill>
                <a:latin typeface="Arial" panose="020B0604020202020204" pitchFamily="34" charset="0"/>
              </a:rPr>
              <a:t>Une seule décision par les États membres concernés</a:t>
            </a:r>
          </a:p>
          <a:p>
            <a:pPr marL="285750" marR="0" indent="-285750" algn="l">
              <a:buFont typeface="Courier New" panose="02070309020205020404" pitchFamily="49" charset="0"/>
              <a:buChar char="o"/>
            </a:pPr>
            <a:r>
              <a:rPr lang="fr-FR" sz="1400" b="0" i="0" u="none" strike="noStrike" baseline="0" dirty="0">
                <a:solidFill>
                  <a:schemeClr val="tx1"/>
                </a:solidFill>
                <a:latin typeface="Arial" panose="020B0604020202020204" pitchFamily="34" charset="0"/>
              </a:rPr>
              <a:t>Un seul dossier harmonisé </a:t>
            </a:r>
          </a:p>
          <a:p>
            <a:pPr marL="285750" marR="0" indent="-285750" algn="l">
              <a:buFont typeface="Courier New" panose="02070309020205020404" pitchFamily="49" charset="0"/>
              <a:buChar char="o"/>
            </a:pPr>
            <a:r>
              <a:rPr lang="fr-FR" sz="1400" b="0" i="0" u="none" strike="noStrike" baseline="0" dirty="0">
                <a:solidFill>
                  <a:schemeClr val="tx1"/>
                </a:solidFill>
                <a:latin typeface="Arial" panose="020B0604020202020204" pitchFamily="34" charset="0"/>
              </a:rPr>
              <a:t>Un seul jeu de documents pour la demande</a:t>
            </a:r>
          </a:p>
          <a:p>
            <a:pPr marL="285750" marR="0" indent="-285750" algn="l">
              <a:buFont typeface="Courier New" panose="02070309020205020404" pitchFamily="49" charset="0"/>
              <a:buChar char="o"/>
            </a:pPr>
            <a:r>
              <a:rPr lang="fr-FR" sz="1400" b="0" i="0" u="none" strike="noStrike" baseline="0" dirty="0">
                <a:solidFill>
                  <a:schemeClr val="tx1"/>
                </a:solidFill>
                <a:latin typeface="Arial" panose="020B0604020202020204" pitchFamily="34" charset="0"/>
              </a:rPr>
              <a:t>Des délais stricts et relativement courts pour l'évaluation</a:t>
            </a:r>
          </a:p>
          <a:p>
            <a:pPr marL="285750" marR="0" indent="-285750" algn="l">
              <a:buFont typeface="Courier New" panose="02070309020205020404" pitchFamily="49" charset="0"/>
              <a:buChar char="o"/>
            </a:pPr>
            <a:r>
              <a:rPr lang="fr-FR" sz="1400" b="0" i="0" u="none" strike="noStrike" baseline="0" dirty="0">
                <a:solidFill>
                  <a:schemeClr val="tx1"/>
                </a:solidFill>
                <a:latin typeface="Arial" panose="020B0604020202020204" pitchFamily="34" charset="0"/>
              </a:rPr>
              <a:t>Procédures simplifiées de notification et de déclaration du promoteur (guichet unique)</a:t>
            </a:r>
          </a:p>
          <a:p>
            <a:pPr marL="285750" marR="0" indent="-285750" algn="l">
              <a:buFont typeface="Courier New" panose="02070309020205020404" pitchFamily="49" charset="0"/>
              <a:buChar char="o"/>
            </a:pPr>
            <a:r>
              <a:rPr lang="fr-FR" sz="1400" b="0" i="0" u="none" strike="noStrike" baseline="0" dirty="0">
                <a:solidFill>
                  <a:schemeClr val="tx1"/>
                </a:solidFill>
                <a:latin typeface="Arial" panose="020B0604020202020204" pitchFamily="34" charset="0"/>
              </a:rPr>
              <a:t>Portail européen unique en ligne et base de données pour les soumissions et le stockage des données/informations. </a:t>
            </a:r>
            <a:endParaRPr lang="nl-NL" sz="1400" dirty="0">
              <a:solidFill>
                <a:schemeClr val="tx1"/>
              </a:solidFill>
            </a:endParaRPr>
          </a:p>
        </p:txBody>
      </p:sp>
    </p:spTree>
    <p:extLst>
      <p:ext uri="{BB962C8B-B14F-4D97-AF65-F5344CB8AC3E}">
        <p14:creationId xmlns:p14="http://schemas.microsoft.com/office/powerpoint/2010/main" val="26171055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13F8D5D-9A61-40DA-80CF-D7D3A1B346E7}"/>
              </a:ext>
            </a:extLst>
          </p:cNvPr>
          <p:cNvSpPr>
            <a:spLocks noGrp="1"/>
          </p:cNvSpPr>
          <p:nvPr>
            <p:ph type="dt" sz="half" idx="10"/>
          </p:nvPr>
        </p:nvSpPr>
        <p:spPr/>
        <p:txBody>
          <a:bodyPr/>
          <a:lstStyle/>
          <a:p>
            <a:r>
              <a:rPr lang="en-US"/>
              <a:t>19 octobre 2022</a:t>
            </a:r>
            <a:endParaRPr lang="en-GB" dirty="0"/>
          </a:p>
        </p:txBody>
      </p:sp>
      <p:sp>
        <p:nvSpPr>
          <p:cNvPr id="9" name="Text Placeholder 8">
            <a:extLst>
              <a:ext uri="{FF2B5EF4-FFF2-40B4-BE49-F238E27FC236}">
                <a16:creationId xmlns:a16="http://schemas.microsoft.com/office/drawing/2014/main" id="{73A10AA0-1C45-4388-8650-9E67352BA064}"/>
              </a:ext>
            </a:extLst>
          </p:cNvPr>
          <p:cNvSpPr>
            <a:spLocks noGrp="1"/>
          </p:cNvSpPr>
          <p:nvPr>
            <p:ph type="body" sz="quarter" idx="12"/>
          </p:nvPr>
        </p:nvSpPr>
        <p:spPr>
          <a:xfrm>
            <a:off x="433388" y="2060197"/>
            <a:ext cx="5110162" cy="3455231"/>
          </a:xfrm>
        </p:spPr>
        <p:txBody>
          <a:bodyPr/>
          <a:lstStyle/>
          <a:p>
            <a:pPr marL="285750" indent="-285750">
              <a:buFont typeface="Arial" panose="020B0604020202020204" pitchFamily="34" charset="0"/>
              <a:buChar char="•"/>
            </a:pPr>
            <a:endParaRPr lang="fr-BE" sz="2000" dirty="0"/>
          </a:p>
          <a:p>
            <a:pPr marL="285750" indent="-285750">
              <a:buFont typeface="Arial" panose="020B0604020202020204" pitchFamily="34" charset="0"/>
              <a:buChar char="•"/>
            </a:pPr>
            <a:r>
              <a:rPr lang="fr-BE" sz="2000" dirty="0"/>
              <a:t>Bref historique</a:t>
            </a:r>
          </a:p>
          <a:p>
            <a:pPr marL="285750" indent="-285750">
              <a:buFont typeface="Arial" panose="020B0604020202020204" pitchFamily="34" charset="0"/>
              <a:buChar char="•"/>
            </a:pPr>
            <a:r>
              <a:rPr lang="fr-BE" sz="2000" dirty="0"/>
              <a:t>Intro nouveau règlement</a:t>
            </a:r>
          </a:p>
          <a:p>
            <a:pPr marL="285750" indent="-285750">
              <a:buFont typeface="Arial" panose="020B0604020202020204" pitchFamily="34" charset="0"/>
              <a:buChar char="•"/>
            </a:pPr>
            <a:r>
              <a:rPr lang="fr-BE" sz="2000" dirty="0"/>
              <a:t>Rappel du champ d'application</a:t>
            </a:r>
          </a:p>
          <a:p>
            <a:pPr marL="285750" indent="-285750">
              <a:buFont typeface="Arial" panose="020B0604020202020204" pitchFamily="34" charset="0"/>
              <a:buChar char="•"/>
            </a:pPr>
            <a:r>
              <a:rPr lang="fr-BE" sz="2000" dirty="0"/>
              <a:t>Nouvelle procédure d'approbation</a:t>
            </a:r>
          </a:p>
          <a:p>
            <a:pPr marL="285750" indent="-285750">
              <a:buFont typeface="Arial" panose="020B0604020202020204" pitchFamily="34" charset="0"/>
              <a:buChar char="•"/>
            </a:pPr>
            <a:r>
              <a:rPr lang="fr-BE" sz="2000" dirty="0"/>
              <a:t>Nouveau système d'information CTIS</a:t>
            </a:r>
          </a:p>
          <a:p>
            <a:pPr marL="285750" indent="-285750">
              <a:buFont typeface="Arial" panose="020B0604020202020204" pitchFamily="34" charset="0"/>
              <a:buChar char="•"/>
            </a:pPr>
            <a:r>
              <a:rPr lang="fr-BE" sz="2000" dirty="0"/>
              <a:t>Nouvelles règles de transparence et limitations</a:t>
            </a:r>
          </a:p>
          <a:p>
            <a:pPr marL="285750" indent="-285750">
              <a:buFont typeface="Arial" panose="020B0604020202020204" pitchFamily="34" charset="0"/>
              <a:buChar char="•"/>
            </a:pPr>
            <a:r>
              <a:rPr lang="fr-BE" sz="2000" dirty="0"/>
              <a:t>Co-promotions</a:t>
            </a:r>
          </a:p>
          <a:p>
            <a:endParaRPr lang="fr-FR" dirty="0"/>
          </a:p>
        </p:txBody>
      </p:sp>
      <p:sp>
        <p:nvSpPr>
          <p:cNvPr id="8" name="Title 7">
            <a:extLst>
              <a:ext uri="{FF2B5EF4-FFF2-40B4-BE49-F238E27FC236}">
                <a16:creationId xmlns:a16="http://schemas.microsoft.com/office/drawing/2014/main" id="{DD0A7AC0-AE71-442E-94E1-6C913223B932}"/>
              </a:ext>
            </a:extLst>
          </p:cNvPr>
          <p:cNvSpPr>
            <a:spLocks noGrp="1"/>
          </p:cNvSpPr>
          <p:nvPr>
            <p:ph type="title"/>
          </p:nvPr>
        </p:nvSpPr>
        <p:spPr/>
        <p:txBody>
          <a:bodyPr/>
          <a:lstStyle/>
          <a:p>
            <a:r>
              <a:rPr lang="fr-BE" dirty="0"/>
              <a:t>Agenda</a:t>
            </a:r>
            <a:endParaRPr lang="fr-FR" dirty="0"/>
          </a:p>
        </p:txBody>
      </p:sp>
    </p:spTree>
    <p:extLst>
      <p:ext uri="{BB962C8B-B14F-4D97-AF65-F5344CB8AC3E}">
        <p14:creationId xmlns:p14="http://schemas.microsoft.com/office/powerpoint/2010/main" val="41125259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D0FF3-FD7D-4198-B625-F59CFEDCDA00}"/>
              </a:ext>
            </a:extLst>
          </p:cNvPr>
          <p:cNvSpPr>
            <a:spLocks noGrp="1"/>
          </p:cNvSpPr>
          <p:nvPr>
            <p:ph type="ctrTitle"/>
          </p:nvPr>
        </p:nvSpPr>
        <p:spPr/>
        <p:txBody>
          <a:bodyPr/>
          <a:lstStyle/>
          <a:p>
            <a:r>
              <a:rPr lang="nl-NL"/>
              <a:t>Q&amp;A</a:t>
            </a:r>
          </a:p>
        </p:txBody>
      </p:sp>
    </p:spTree>
    <p:extLst>
      <p:ext uri="{BB962C8B-B14F-4D97-AF65-F5344CB8AC3E}">
        <p14:creationId xmlns:p14="http://schemas.microsoft.com/office/powerpoint/2010/main" val="33311101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BB158BA-7805-43BD-BA04-16C6AF77BBA6}"/>
              </a:ext>
            </a:extLst>
          </p:cNvPr>
          <p:cNvSpPr>
            <a:spLocks noGrp="1"/>
          </p:cNvSpPr>
          <p:nvPr>
            <p:ph type="dt" sz="half" idx="10"/>
          </p:nvPr>
        </p:nvSpPr>
        <p:spPr/>
        <p:txBody>
          <a:bodyPr/>
          <a:lstStyle/>
          <a:p>
            <a:r>
              <a:rPr lang="en-US"/>
              <a:t>19 octobre 2022</a:t>
            </a:r>
            <a:endParaRPr lang="en-GB" dirty="0"/>
          </a:p>
        </p:txBody>
      </p:sp>
      <p:sp>
        <p:nvSpPr>
          <p:cNvPr id="8" name="Title 7">
            <a:extLst>
              <a:ext uri="{FF2B5EF4-FFF2-40B4-BE49-F238E27FC236}">
                <a16:creationId xmlns:a16="http://schemas.microsoft.com/office/drawing/2014/main" id="{DE704F3B-0DB6-442E-8034-40A161A5157B}"/>
              </a:ext>
            </a:extLst>
          </p:cNvPr>
          <p:cNvSpPr>
            <a:spLocks noGrp="1"/>
          </p:cNvSpPr>
          <p:nvPr>
            <p:ph type="title"/>
          </p:nvPr>
        </p:nvSpPr>
        <p:spPr>
          <a:xfrm>
            <a:off x="2518116" y="729452"/>
            <a:ext cx="9984377" cy="672823"/>
          </a:xfrm>
        </p:spPr>
        <p:txBody>
          <a:bodyPr/>
          <a:lstStyle/>
          <a:p>
            <a:r>
              <a:rPr lang="fr-FR" sz="3600" dirty="0"/>
              <a:t>Mise à jour des conditions en matière de consentement éclairé</a:t>
            </a:r>
            <a:endParaRPr lang="nl-NL" sz="3600" dirty="0"/>
          </a:p>
        </p:txBody>
      </p:sp>
      <p:sp>
        <p:nvSpPr>
          <p:cNvPr id="11" name="Rectangle: Rounded Corners 10">
            <a:extLst>
              <a:ext uri="{FF2B5EF4-FFF2-40B4-BE49-F238E27FC236}">
                <a16:creationId xmlns:a16="http://schemas.microsoft.com/office/drawing/2014/main" id="{FB1A60CF-DC58-47AA-964C-989F8D5F4FF6}"/>
              </a:ext>
            </a:extLst>
          </p:cNvPr>
          <p:cNvSpPr/>
          <p:nvPr/>
        </p:nvSpPr>
        <p:spPr>
          <a:xfrm>
            <a:off x="322217" y="1918844"/>
            <a:ext cx="11547565" cy="4618578"/>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marL="285750" marR="0" indent="-285750" algn="l">
              <a:buFont typeface="Courier New" panose="02070309020205020404" pitchFamily="49" charset="0"/>
              <a:buChar char="o"/>
            </a:pPr>
            <a:r>
              <a:rPr lang="fr-FR" sz="1800" i="0" u="none" strike="noStrike" baseline="0" dirty="0">
                <a:solidFill>
                  <a:schemeClr val="tx1"/>
                </a:solidFill>
                <a:latin typeface="Arial" panose="020B0604020202020204" pitchFamily="34" charset="0"/>
              </a:rPr>
              <a:t>Article 29-35: Dispositions plus détaillées sur la manière dont la CI doit être obtenue.</a:t>
            </a:r>
          </a:p>
          <a:p>
            <a:pPr marL="285750" marR="0" indent="-285750" algn="l">
              <a:buFont typeface="Courier New" panose="02070309020205020404" pitchFamily="49" charset="0"/>
              <a:buChar char="o"/>
            </a:pPr>
            <a:r>
              <a:rPr lang="fr-FR" sz="1800" i="0" u="none" strike="noStrike" baseline="0" dirty="0">
                <a:solidFill>
                  <a:schemeClr val="tx1"/>
                </a:solidFill>
                <a:latin typeface="Arial" panose="020B0604020202020204" pitchFamily="34" charset="0"/>
              </a:rPr>
              <a:t>Processus : s'assurer que le patient a compris et dispose d'un temps de réflexion suffisant.</a:t>
            </a:r>
          </a:p>
          <a:p>
            <a:pPr marL="285750" marR="0" indent="-285750" algn="l">
              <a:buFont typeface="Courier New" panose="02070309020205020404" pitchFamily="49" charset="0"/>
              <a:buChar char="o"/>
            </a:pPr>
            <a:r>
              <a:rPr lang="fr-FR" sz="1800" i="0" u="none" strike="noStrike" baseline="0" dirty="0">
                <a:solidFill>
                  <a:schemeClr val="tx1"/>
                </a:solidFill>
                <a:latin typeface="Arial" panose="020B0604020202020204" pitchFamily="34" charset="0"/>
              </a:rPr>
              <a:t>Des informations sur l'indemnisation des dommages et la disponibilité des résultats des essais doivent être fournies.</a:t>
            </a:r>
          </a:p>
          <a:p>
            <a:pPr marL="285750" marR="0" indent="-285750" algn="l">
              <a:buFont typeface="Courier New" panose="02070309020205020404" pitchFamily="49" charset="0"/>
              <a:buChar char="o"/>
            </a:pPr>
            <a:r>
              <a:rPr lang="fr-FR" sz="1800" i="0" u="none" strike="noStrike" baseline="0" dirty="0">
                <a:solidFill>
                  <a:schemeClr val="tx1"/>
                </a:solidFill>
                <a:latin typeface="Arial" panose="020B0604020202020204" pitchFamily="34" charset="0"/>
              </a:rPr>
              <a:t>Règles désormais claires concernant le consentement éclairé dans les situations d'urgence (c'est-à-dire le consentement éclairé après recrutement)</a:t>
            </a:r>
          </a:p>
          <a:p>
            <a:pPr marL="285750" marR="0" indent="-285750" algn="l">
              <a:buFont typeface="Courier New" panose="02070309020205020404" pitchFamily="49" charset="0"/>
              <a:buChar char="o"/>
            </a:pPr>
            <a:r>
              <a:rPr lang="fr-FR" sz="1800" i="0" u="none" strike="noStrike" baseline="0" dirty="0">
                <a:solidFill>
                  <a:schemeClr val="tx1"/>
                </a:solidFill>
                <a:latin typeface="Arial" panose="020B0604020202020204" pitchFamily="34" charset="0"/>
              </a:rPr>
              <a:t>Possibilité de révoquer le consentement éclairé : retrait de l'essai clinique</a:t>
            </a:r>
          </a:p>
          <a:p>
            <a:pPr marL="285750" marR="0" indent="-285750" algn="l">
              <a:buFont typeface="Courier New" panose="02070309020205020404" pitchFamily="49" charset="0"/>
              <a:buChar char="o"/>
            </a:pPr>
            <a:r>
              <a:rPr lang="fr-FR" sz="1800" i="0" u="none" strike="noStrike" baseline="0" dirty="0">
                <a:solidFill>
                  <a:schemeClr val="tx1"/>
                </a:solidFill>
                <a:latin typeface="Arial" panose="020B0604020202020204" pitchFamily="34" charset="0"/>
              </a:rPr>
              <a:t>Sans préjudice de la législation du DP, le retrait ne doit pas affecter les activités déjà réalisées et l'utilisation des données obtenues : pas de rétroactivité </a:t>
            </a:r>
          </a:p>
          <a:p>
            <a:pPr marL="285750" marR="0" indent="-285750" algn="l">
              <a:buFont typeface="Courier New" panose="02070309020205020404" pitchFamily="49" charset="0"/>
              <a:buChar char="o"/>
            </a:pPr>
            <a:r>
              <a:rPr lang="fr-FR" sz="1800" i="0" u="none" strike="noStrike" baseline="0" dirty="0">
                <a:solidFill>
                  <a:schemeClr val="tx1"/>
                </a:solidFill>
                <a:latin typeface="Arial" panose="020B0604020202020204" pitchFamily="34" charset="0"/>
              </a:rPr>
              <a:t>Lorsque le patient est incapable d'écrire : consentement obtenu par des moyens alternatifs appropriés (vidéo, audio, etc.)</a:t>
            </a:r>
          </a:p>
          <a:p>
            <a:pPr marL="285750" marR="0" indent="-285750" algn="l">
              <a:buFont typeface="Courier New" panose="02070309020205020404" pitchFamily="49" charset="0"/>
              <a:buChar char="o"/>
            </a:pPr>
            <a:r>
              <a:rPr lang="fr-FR" sz="1800" i="0" u="none" strike="noStrike" baseline="0" dirty="0">
                <a:solidFill>
                  <a:schemeClr val="tx1"/>
                </a:solidFill>
                <a:latin typeface="Arial" panose="020B0604020202020204" pitchFamily="34" charset="0"/>
              </a:rPr>
              <a:t>Règles relatives au consentement éclairé dans les essais en grappe, sujets incapables, mineurs, femmes enceintes ou allaitantes, situations d'urgence </a:t>
            </a:r>
            <a:endParaRPr lang="en-GB" sz="1800" i="0" u="none" strike="noStrike" baseline="0" dirty="0">
              <a:solidFill>
                <a:schemeClr val="tx1"/>
              </a:solidFill>
              <a:latin typeface="Arial" panose="020B0604020202020204" pitchFamily="34" charset="0"/>
            </a:endParaRPr>
          </a:p>
        </p:txBody>
      </p:sp>
    </p:spTree>
    <p:extLst>
      <p:ext uri="{BB962C8B-B14F-4D97-AF65-F5344CB8AC3E}">
        <p14:creationId xmlns:p14="http://schemas.microsoft.com/office/powerpoint/2010/main" val="1362885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930F55E-B189-4268-B35D-9DA050C5BDA3}"/>
              </a:ext>
            </a:extLst>
          </p:cNvPr>
          <p:cNvSpPr>
            <a:spLocks noGrp="1"/>
          </p:cNvSpPr>
          <p:nvPr>
            <p:ph type="dt" sz="half" idx="10"/>
          </p:nvPr>
        </p:nvSpPr>
        <p:spPr/>
        <p:txBody>
          <a:bodyPr/>
          <a:lstStyle/>
          <a:p>
            <a:r>
              <a:rPr lang="en-US"/>
              <a:t>19 octobre 2022</a:t>
            </a:r>
            <a:endParaRPr lang="en-GB" dirty="0"/>
          </a:p>
        </p:txBody>
      </p:sp>
      <p:sp>
        <p:nvSpPr>
          <p:cNvPr id="7" name="Picture Placeholder 6">
            <a:extLst>
              <a:ext uri="{FF2B5EF4-FFF2-40B4-BE49-F238E27FC236}">
                <a16:creationId xmlns:a16="http://schemas.microsoft.com/office/drawing/2014/main" id="{89337F45-92E5-4BBC-887E-F4229E4E83B0}"/>
              </a:ext>
            </a:extLst>
          </p:cNvPr>
          <p:cNvSpPr>
            <a:spLocks noGrp="1"/>
          </p:cNvSpPr>
          <p:nvPr>
            <p:ph type="pic" sz="quarter" idx="13"/>
          </p:nvPr>
        </p:nvSpPr>
        <p:spPr/>
      </p:sp>
      <p:sp>
        <p:nvSpPr>
          <p:cNvPr id="5" name="Title 4">
            <a:extLst>
              <a:ext uri="{FF2B5EF4-FFF2-40B4-BE49-F238E27FC236}">
                <a16:creationId xmlns:a16="http://schemas.microsoft.com/office/drawing/2014/main" id="{AEB23F7C-C0F8-4E17-ABA4-3599F3BBA3FB}"/>
              </a:ext>
            </a:extLst>
          </p:cNvPr>
          <p:cNvSpPr>
            <a:spLocks noGrp="1"/>
          </p:cNvSpPr>
          <p:nvPr>
            <p:ph type="title"/>
          </p:nvPr>
        </p:nvSpPr>
        <p:spPr>
          <a:xfrm>
            <a:off x="4866057" y="1082838"/>
            <a:ext cx="7298871" cy="672823"/>
          </a:xfrm>
        </p:spPr>
        <p:txBody>
          <a:bodyPr/>
          <a:lstStyle/>
          <a:p>
            <a:r>
              <a:rPr lang="fr-FR" sz="2800" dirty="0">
                <a:effectLst/>
              </a:rPr>
              <a:t>Utilisation secondaire des données pour la recherche scientifique - nouvelle base juridique ? </a:t>
            </a:r>
          </a:p>
        </p:txBody>
      </p:sp>
      <p:pic>
        <p:nvPicPr>
          <p:cNvPr id="3080" name="Picture 8" descr="Free From above of unrecognizable ethnic scientist in uniform holding in hands stand with different reagents in test tubes while waiting for chemical reaction during test in lab Stock Photo">
            <a:extLst>
              <a:ext uri="{FF2B5EF4-FFF2-40B4-BE49-F238E27FC236}">
                <a16:creationId xmlns:a16="http://schemas.microsoft.com/office/drawing/2014/main" id="{CF6C2722-E71B-442A-B31D-105E728FCA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072" y="1082838"/>
            <a:ext cx="4340819" cy="5374899"/>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Rounded Corners 9">
            <a:extLst>
              <a:ext uri="{FF2B5EF4-FFF2-40B4-BE49-F238E27FC236}">
                <a16:creationId xmlns:a16="http://schemas.microsoft.com/office/drawing/2014/main" id="{364C6E72-A898-4A53-A2EF-FA1C95246C95}"/>
              </a:ext>
            </a:extLst>
          </p:cNvPr>
          <p:cNvSpPr/>
          <p:nvPr/>
        </p:nvSpPr>
        <p:spPr>
          <a:xfrm>
            <a:off x="4770057" y="2595863"/>
            <a:ext cx="6731641" cy="3541411"/>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marL="285750" indent="-285750">
              <a:buFont typeface="Arial" panose="020B0604020202020204" pitchFamily="34" charset="0"/>
              <a:buChar char="•"/>
            </a:pPr>
            <a:r>
              <a:rPr lang="fr-FR" dirty="0">
                <a:solidFill>
                  <a:schemeClr val="tx1"/>
                </a:solidFill>
                <a:ea typeface="Calibri" panose="020F0502020204030204" pitchFamily="34" charset="0"/>
                <a:cs typeface="Times New Roman" panose="02020603050405020304" pitchFamily="18" charset="0"/>
              </a:rPr>
              <a:t>L</a:t>
            </a:r>
            <a:r>
              <a:rPr lang="fr-FR" dirty="0">
                <a:solidFill>
                  <a:schemeClr val="tx1"/>
                </a:solidFill>
                <a:effectLst/>
                <a:ea typeface="Calibri" panose="020F0502020204030204" pitchFamily="34" charset="0"/>
                <a:cs typeface="Times New Roman" panose="02020603050405020304" pitchFamily="18" charset="0"/>
              </a:rPr>
              <a:t>'article 28 (2) mentionne que les données seront utilisées en </a:t>
            </a:r>
            <a:r>
              <a:rPr lang="fr-FR" b="1" dirty="0">
                <a:solidFill>
                  <a:schemeClr val="tx1"/>
                </a:solidFill>
                <a:effectLst/>
                <a:ea typeface="Calibri" panose="020F0502020204030204" pitchFamily="34" charset="0"/>
                <a:cs typeface="Times New Roman" panose="02020603050405020304" pitchFamily="18" charset="0"/>
              </a:rPr>
              <a:t>dehors du protocole </a:t>
            </a:r>
            <a:r>
              <a:rPr lang="fr-FR" dirty="0">
                <a:solidFill>
                  <a:schemeClr val="tx1"/>
                </a:solidFill>
                <a:effectLst/>
                <a:ea typeface="Calibri" panose="020F0502020204030204" pitchFamily="34" charset="0"/>
                <a:cs typeface="Times New Roman" panose="02020603050405020304" pitchFamily="18" charset="0"/>
              </a:rPr>
              <a:t>de l'essai clinique, exclusivement à des fins scientifiques.</a:t>
            </a:r>
          </a:p>
          <a:p>
            <a:pPr marL="285750" indent="-285750">
              <a:buFont typeface="Arial" panose="020B0604020202020204" pitchFamily="34" charset="0"/>
              <a:buChar char="•"/>
            </a:pPr>
            <a:r>
              <a:rPr lang="fr-FR" dirty="0">
                <a:solidFill>
                  <a:schemeClr val="tx1"/>
                </a:solidFill>
                <a:ea typeface="Calibri" panose="020F0502020204030204" pitchFamily="34" charset="0"/>
                <a:cs typeface="Times New Roman" panose="02020603050405020304" pitchFamily="18" charset="0"/>
              </a:rPr>
              <a:t>L</a:t>
            </a:r>
            <a:r>
              <a:rPr lang="fr-FR" dirty="0">
                <a:solidFill>
                  <a:schemeClr val="tx1"/>
                </a:solidFill>
                <a:effectLst/>
                <a:ea typeface="Calibri" panose="020F0502020204030204" pitchFamily="34" charset="0"/>
                <a:cs typeface="Times New Roman" panose="02020603050405020304" pitchFamily="18" charset="0"/>
              </a:rPr>
              <a:t>'article 28, paragraphe 2, précise en outre que ce </a:t>
            </a:r>
            <a:r>
              <a:rPr lang="fr-FR" b="1" dirty="0">
                <a:solidFill>
                  <a:schemeClr val="tx1"/>
                </a:solidFill>
                <a:effectLst/>
                <a:ea typeface="Calibri" panose="020F0502020204030204" pitchFamily="34" charset="0"/>
                <a:cs typeface="Times New Roman" panose="02020603050405020304" pitchFamily="18" charset="0"/>
              </a:rPr>
              <a:t>consentement</a:t>
            </a:r>
            <a:r>
              <a:rPr lang="fr-FR" dirty="0">
                <a:solidFill>
                  <a:schemeClr val="tx1"/>
                </a:solidFill>
                <a:effectLst/>
                <a:ea typeface="Calibri" panose="020F0502020204030204" pitchFamily="34" charset="0"/>
                <a:cs typeface="Times New Roman" panose="02020603050405020304" pitchFamily="18" charset="0"/>
              </a:rPr>
              <a:t> peut être retiré à tout moment. </a:t>
            </a:r>
          </a:p>
          <a:p>
            <a:pPr marL="465750" lvl="1" indent="-285750">
              <a:buFont typeface="Arial" panose="020B0604020202020204" pitchFamily="34" charset="0"/>
              <a:buChar char="•"/>
            </a:pPr>
            <a:r>
              <a:rPr lang="fr-FR" i="1" dirty="0">
                <a:solidFill>
                  <a:schemeClr val="tx1"/>
                </a:solidFill>
                <a:ea typeface="Calibri" panose="020F0502020204030204" pitchFamily="34" charset="0"/>
                <a:cs typeface="Times New Roman" panose="02020603050405020304" pitchFamily="18" charset="0"/>
              </a:rPr>
              <a:t>D</a:t>
            </a:r>
            <a:r>
              <a:rPr lang="fr-FR" i="1" dirty="0">
                <a:solidFill>
                  <a:schemeClr val="tx1"/>
                </a:solidFill>
                <a:effectLst/>
                <a:ea typeface="Calibri" panose="020F0502020204030204" pitchFamily="34" charset="0"/>
                <a:cs typeface="Times New Roman" panose="02020603050405020304" pitchFamily="18" charset="0"/>
              </a:rPr>
              <a:t>outes quant à la validité de la base juridique du législateur européen pour fixer cette </a:t>
            </a:r>
            <a:r>
              <a:rPr lang="fr-FR" b="1" i="1" dirty="0">
                <a:solidFill>
                  <a:schemeClr val="tx1"/>
                </a:solidFill>
                <a:effectLst/>
                <a:ea typeface="Calibri" panose="020F0502020204030204" pitchFamily="34" charset="0"/>
                <a:cs typeface="Times New Roman" panose="02020603050405020304" pitchFamily="18" charset="0"/>
              </a:rPr>
              <a:t>obligation légale supplémentaire</a:t>
            </a:r>
            <a:r>
              <a:rPr lang="fr-FR" i="1" dirty="0">
                <a:solidFill>
                  <a:schemeClr val="tx1"/>
                </a:solidFill>
                <a:effectLst/>
                <a:ea typeface="Calibri" panose="020F0502020204030204" pitchFamily="34" charset="0"/>
                <a:cs typeface="Times New Roman" panose="02020603050405020304" pitchFamily="18" charset="0"/>
              </a:rPr>
              <a:t>. </a:t>
            </a:r>
          </a:p>
          <a:p>
            <a:pPr marL="285750" indent="-285750">
              <a:buFont typeface="Arial" panose="020B0604020202020204" pitchFamily="34" charset="0"/>
              <a:buChar char="•"/>
            </a:pPr>
            <a:r>
              <a:rPr lang="fr-FR" dirty="0">
                <a:solidFill>
                  <a:schemeClr val="tx1"/>
                </a:solidFill>
                <a:effectLst/>
                <a:ea typeface="Calibri" panose="020F0502020204030204" pitchFamily="34" charset="0"/>
                <a:cs typeface="Times New Roman" panose="02020603050405020304" pitchFamily="18" charset="0"/>
              </a:rPr>
              <a:t>Était-ce </a:t>
            </a:r>
            <a:r>
              <a:rPr lang="fr-FR" b="1" dirty="0">
                <a:solidFill>
                  <a:schemeClr val="tx1"/>
                </a:solidFill>
                <a:effectLst/>
                <a:ea typeface="Calibri" panose="020F0502020204030204" pitchFamily="34" charset="0"/>
                <a:cs typeface="Times New Roman" panose="02020603050405020304" pitchFamily="18" charset="0"/>
              </a:rPr>
              <a:t>l'intention</a:t>
            </a:r>
            <a:r>
              <a:rPr lang="fr-FR" dirty="0">
                <a:solidFill>
                  <a:schemeClr val="tx1"/>
                </a:solidFill>
                <a:effectLst/>
                <a:ea typeface="Calibri" panose="020F0502020204030204" pitchFamily="34" charset="0"/>
                <a:cs typeface="Times New Roman" panose="02020603050405020304" pitchFamily="18" charset="0"/>
              </a:rPr>
              <a:t> du législateur de l'UE ? </a:t>
            </a:r>
          </a:p>
          <a:p>
            <a:pPr marL="465750" lvl="1" indent="-285750">
              <a:buFont typeface="Arial" panose="020B0604020202020204" pitchFamily="34" charset="0"/>
              <a:buChar char="•"/>
            </a:pPr>
            <a:r>
              <a:rPr lang="fr-FR" dirty="0">
                <a:solidFill>
                  <a:schemeClr val="tx1"/>
                </a:solidFill>
                <a:effectLst/>
                <a:ea typeface="Calibri" panose="020F0502020204030204" pitchFamily="34" charset="0"/>
                <a:cs typeface="Times New Roman" panose="02020603050405020304" pitchFamily="18" charset="0"/>
              </a:rPr>
              <a:t>Le </a:t>
            </a:r>
            <a:r>
              <a:rPr lang="fr-FR" b="1" dirty="0">
                <a:solidFill>
                  <a:schemeClr val="tx1"/>
                </a:solidFill>
                <a:effectLst/>
                <a:ea typeface="Calibri" panose="020F0502020204030204" pitchFamily="34" charset="0"/>
                <a:cs typeface="Times New Roman" panose="02020603050405020304" pitchFamily="18" charset="0"/>
              </a:rPr>
              <a:t>considérant 29 </a:t>
            </a:r>
            <a:r>
              <a:rPr lang="fr-FR" dirty="0">
                <a:solidFill>
                  <a:schemeClr val="tx1"/>
                </a:solidFill>
                <a:effectLst/>
                <a:ea typeface="Calibri" panose="020F0502020204030204" pitchFamily="34" charset="0"/>
                <a:cs typeface="Times New Roman" panose="02020603050405020304" pitchFamily="18" charset="0"/>
              </a:rPr>
              <a:t>donne une indication de l'intention du législateur européen.</a:t>
            </a:r>
          </a:p>
          <a:p>
            <a:pPr marL="465750" lvl="1" indent="-285750">
              <a:buFont typeface="Arial" panose="020B0604020202020204" pitchFamily="34" charset="0"/>
              <a:buChar char="•"/>
            </a:pPr>
            <a:r>
              <a:rPr lang="fr-FR" dirty="0">
                <a:solidFill>
                  <a:schemeClr val="tx1"/>
                </a:solidFill>
                <a:cs typeface="Times New Roman" panose="02020603050405020304" pitchFamily="18" charset="0"/>
              </a:rPr>
              <a:t>L'article 28(2) n'est pas conforme au principe de </a:t>
            </a:r>
            <a:r>
              <a:rPr lang="fr-FR" b="1" dirty="0">
                <a:solidFill>
                  <a:schemeClr val="tx1"/>
                </a:solidFill>
                <a:cs typeface="Times New Roman" panose="02020603050405020304" pitchFamily="18" charset="0"/>
              </a:rPr>
              <a:t>proportionnalité</a:t>
            </a:r>
            <a:endParaRPr lang="fr-BE" b="1" dirty="0">
              <a:solidFill>
                <a:schemeClr val="tx1"/>
              </a:solidFill>
            </a:endParaRPr>
          </a:p>
        </p:txBody>
      </p:sp>
    </p:spTree>
    <p:extLst>
      <p:ext uri="{BB962C8B-B14F-4D97-AF65-F5344CB8AC3E}">
        <p14:creationId xmlns:p14="http://schemas.microsoft.com/office/powerpoint/2010/main" val="104206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2FB3E3-CA3D-48AB-9894-A10FE622E8FC}"/>
              </a:ext>
            </a:extLst>
          </p:cNvPr>
          <p:cNvSpPr>
            <a:spLocks noGrp="1"/>
          </p:cNvSpPr>
          <p:nvPr>
            <p:ph type="dt" sz="half" idx="10"/>
          </p:nvPr>
        </p:nvSpPr>
        <p:spPr/>
        <p:txBody>
          <a:bodyPr/>
          <a:lstStyle/>
          <a:p>
            <a:r>
              <a:rPr lang="en-US"/>
              <a:t>19 octobre 2022</a:t>
            </a:r>
            <a:endParaRPr lang="en-GB" dirty="0"/>
          </a:p>
        </p:txBody>
      </p:sp>
      <p:sp>
        <p:nvSpPr>
          <p:cNvPr id="5" name="Title 4">
            <a:extLst>
              <a:ext uri="{FF2B5EF4-FFF2-40B4-BE49-F238E27FC236}">
                <a16:creationId xmlns:a16="http://schemas.microsoft.com/office/drawing/2014/main" id="{19838745-211E-4E47-A5A7-EBB2311DD173}"/>
              </a:ext>
            </a:extLst>
          </p:cNvPr>
          <p:cNvSpPr>
            <a:spLocks noGrp="1"/>
          </p:cNvSpPr>
          <p:nvPr>
            <p:ph type="title"/>
          </p:nvPr>
        </p:nvSpPr>
        <p:spPr>
          <a:xfrm>
            <a:off x="5783445" y="549178"/>
            <a:ext cx="6047484" cy="672823"/>
          </a:xfrm>
        </p:spPr>
        <p:txBody>
          <a:bodyPr/>
          <a:lstStyle/>
          <a:p>
            <a:r>
              <a:rPr lang="fr-BE" sz="3200" i="1" dirty="0"/>
              <a:t>Autres changements importants</a:t>
            </a:r>
            <a:endParaRPr lang="nl-NL" sz="3200" i="1" dirty="0"/>
          </a:p>
        </p:txBody>
      </p:sp>
      <p:sp>
        <p:nvSpPr>
          <p:cNvPr id="7" name="Rectangle: Rounded Corners 6">
            <a:extLst>
              <a:ext uri="{FF2B5EF4-FFF2-40B4-BE49-F238E27FC236}">
                <a16:creationId xmlns:a16="http://schemas.microsoft.com/office/drawing/2014/main" id="{271AC48F-AA35-404C-B8D8-9A7B1907FF3C}"/>
              </a:ext>
            </a:extLst>
          </p:cNvPr>
          <p:cNvSpPr/>
          <p:nvPr/>
        </p:nvSpPr>
        <p:spPr>
          <a:xfrm>
            <a:off x="5783445" y="1567545"/>
            <a:ext cx="6171154" cy="4569732"/>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marL="285750" marR="0" indent="-285750" algn="l">
              <a:buFont typeface="Courier New" panose="02070309020205020404" pitchFamily="49" charset="0"/>
              <a:buChar char="o"/>
            </a:pPr>
            <a:r>
              <a:rPr lang="fr-FR" sz="1800" i="0" u="none" strike="noStrike" baseline="0" dirty="0">
                <a:solidFill>
                  <a:schemeClr val="tx1"/>
                </a:solidFill>
                <a:latin typeface="Arial" panose="020B0604020202020204" pitchFamily="34" charset="0"/>
              </a:rPr>
              <a:t>Un système de compensation des dommages doit être en place, par exemple une assurance/garantie (art. 76). </a:t>
            </a:r>
          </a:p>
          <a:p>
            <a:pPr marL="285750" marR="0" indent="-285750" algn="l">
              <a:buFont typeface="Courier New" panose="02070309020205020404" pitchFamily="49" charset="0"/>
              <a:buChar char="o"/>
            </a:pPr>
            <a:r>
              <a:rPr lang="fr-FR" sz="1800" i="0" u="none" strike="noStrike" baseline="0" dirty="0">
                <a:solidFill>
                  <a:schemeClr val="tx1"/>
                </a:solidFill>
                <a:latin typeface="Arial" panose="020B0604020202020204" pitchFamily="34" charset="0"/>
              </a:rPr>
              <a:t>Représentant légal des promoteurs non européens (art. 74) : "</a:t>
            </a:r>
            <a:r>
              <a:rPr lang="fr-FR" sz="1800" i="1" u="none" strike="noStrike" baseline="0" dirty="0">
                <a:solidFill>
                  <a:schemeClr val="tx1"/>
                </a:solidFill>
                <a:latin typeface="Arial" panose="020B0604020202020204" pitchFamily="34" charset="0"/>
              </a:rPr>
              <a:t>est chargé de veiller au respect des obligations du promoteur</a:t>
            </a:r>
            <a:r>
              <a:rPr lang="fr-FR" sz="1800" i="0" u="none" strike="noStrike" baseline="0" dirty="0">
                <a:solidFill>
                  <a:schemeClr val="tx1"/>
                </a:solidFill>
                <a:latin typeface="Arial" panose="020B0604020202020204" pitchFamily="34" charset="0"/>
              </a:rPr>
              <a:t>" (les dérogations nationales peuvent exiger une simple "personne de contact").</a:t>
            </a:r>
          </a:p>
          <a:p>
            <a:pPr marL="285750" marR="0" indent="-285750" algn="l">
              <a:buFont typeface="Courier New" panose="02070309020205020404" pitchFamily="49" charset="0"/>
              <a:buChar char="o"/>
            </a:pPr>
            <a:r>
              <a:rPr lang="fr-FR" sz="1800" i="0" u="none" strike="noStrike" baseline="0" dirty="0">
                <a:solidFill>
                  <a:schemeClr val="tx1"/>
                </a:solidFill>
                <a:latin typeface="Arial" panose="020B0604020202020204" pitchFamily="34" charset="0"/>
              </a:rPr>
              <a:t>Clinical Trial Master File (CTMF) (Art. 57-58) : contenu de base et exigences d'archivage définis.</a:t>
            </a:r>
          </a:p>
          <a:p>
            <a:pPr marL="285750" marR="0" indent="-285750" algn="l">
              <a:buFont typeface="Courier New" panose="02070309020205020404" pitchFamily="49" charset="0"/>
              <a:buChar char="o"/>
            </a:pPr>
            <a:r>
              <a:rPr lang="fr-FR" sz="1800" i="0" u="none" strike="noStrike" baseline="0" dirty="0">
                <a:solidFill>
                  <a:schemeClr val="tx1"/>
                </a:solidFill>
                <a:latin typeface="Arial" panose="020B0604020202020204" pitchFamily="34" charset="0"/>
              </a:rPr>
              <a:t>Médicaments auxiliaires : utilisés pour les besoins des essais cliniques mais pas en tant que médicaments expérimentaux (par exemple, médicaments de fond, médicaments de secours, diagnostics, etc. </a:t>
            </a:r>
            <a:endParaRPr lang="en-GB" sz="1800" i="0" u="none" strike="noStrike" baseline="0" dirty="0">
              <a:solidFill>
                <a:schemeClr val="tx1"/>
              </a:solidFill>
              <a:latin typeface="Arial" panose="020B0604020202020204" pitchFamily="34" charset="0"/>
            </a:endParaRPr>
          </a:p>
        </p:txBody>
      </p:sp>
      <p:sp>
        <p:nvSpPr>
          <p:cNvPr id="9" name="Rectangle: Rounded Corners 8">
            <a:extLst>
              <a:ext uri="{FF2B5EF4-FFF2-40B4-BE49-F238E27FC236}">
                <a16:creationId xmlns:a16="http://schemas.microsoft.com/office/drawing/2014/main" id="{51ED39A1-0E08-47FE-B81F-8799F196D88E}"/>
              </a:ext>
            </a:extLst>
          </p:cNvPr>
          <p:cNvSpPr/>
          <p:nvPr/>
        </p:nvSpPr>
        <p:spPr>
          <a:xfrm>
            <a:off x="237401" y="320578"/>
            <a:ext cx="5288187" cy="6072843"/>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l"/>
            <a:r>
              <a:rPr lang="fr-FR" sz="1800" b="1" i="0" u="sng" strike="noStrike" baseline="0" dirty="0">
                <a:solidFill>
                  <a:schemeClr val="tx1"/>
                </a:solidFill>
              </a:rPr>
              <a:t>Rapports de sécurité</a:t>
            </a:r>
          </a:p>
          <a:p>
            <a:pPr algn="l"/>
            <a:r>
              <a:rPr lang="fr-FR" sz="1800" i="0" strike="noStrike" baseline="0" dirty="0">
                <a:solidFill>
                  <a:schemeClr val="tx1"/>
                </a:solidFill>
              </a:rPr>
              <a:t>Le règlement vise également à simplifier les règles relatives aux rapports de sécurité de sorte que :</a:t>
            </a:r>
          </a:p>
          <a:p>
            <a:pPr marL="285750" indent="-285750" algn="l">
              <a:buFont typeface="Arial" panose="020B0604020202020204" pitchFamily="34" charset="0"/>
              <a:buChar char="•"/>
            </a:pPr>
            <a:r>
              <a:rPr lang="fr-FR" sz="1800" i="0" strike="noStrike" baseline="0" dirty="0">
                <a:solidFill>
                  <a:schemeClr val="tx1"/>
                </a:solidFill>
              </a:rPr>
              <a:t>tous les événements indésirables (EI) et les événements indésirables graves ne soient pas enregistrés et rapportés</a:t>
            </a:r>
          </a:p>
          <a:p>
            <a:pPr marL="285750" indent="-285750" algn="l">
              <a:buFont typeface="Arial" panose="020B0604020202020204" pitchFamily="34" charset="0"/>
              <a:buChar char="•"/>
            </a:pPr>
            <a:r>
              <a:rPr lang="fr-FR" sz="1800" i="0" strike="noStrike" baseline="0" dirty="0">
                <a:solidFill>
                  <a:schemeClr val="tx1"/>
                </a:solidFill>
              </a:rPr>
              <a:t>pour les essais cliniques qui impliquent plus d'un médicament expérimental (IMP), un seul rapport de sécurité peut être soumis via le système </a:t>
            </a:r>
            <a:r>
              <a:rPr lang="fr-FR" sz="1800" i="0" strike="noStrike" baseline="0" dirty="0" err="1">
                <a:solidFill>
                  <a:schemeClr val="tx1"/>
                </a:solidFill>
              </a:rPr>
              <a:t>Eudravigilance</a:t>
            </a:r>
            <a:endParaRPr lang="fr-FR" sz="1800" i="0" strike="noStrike" baseline="0" dirty="0">
              <a:solidFill>
                <a:schemeClr val="tx1"/>
              </a:solidFill>
            </a:endParaRPr>
          </a:p>
          <a:p>
            <a:pPr marL="285750" indent="-285750" algn="l">
              <a:buFont typeface="Arial" panose="020B0604020202020204" pitchFamily="34" charset="0"/>
              <a:buChar char="•"/>
            </a:pPr>
            <a:r>
              <a:rPr lang="fr-FR" sz="1800" i="0" strike="noStrike" baseline="0" dirty="0">
                <a:solidFill>
                  <a:schemeClr val="tx1"/>
                </a:solidFill>
              </a:rPr>
              <a:t>les effets indésirables graves inattendus suspectés (SUSAR) seront signalés via le nouveau système </a:t>
            </a:r>
            <a:r>
              <a:rPr lang="fr-FR" sz="1800" i="0" strike="noStrike" baseline="0" dirty="0" err="1">
                <a:solidFill>
                  <a:schemeClr val="tx1"/>
                </a:solidFill>
              </a:rPr>
              <a:t>Eudravigilance</a:t>
            </a:r>
            <a:endParaRPr lang="fr-FR" sz="1800" i="0" strike="noStrike" baseline="0" dirty="0">
              <a:solidFill>
                <a:schemeClr val="tx1"/>
              </a:solidFill>
            </a:endParaRPr>
          </a:p>
          <a:p>
            <a:pPr marL="285750" indent="-285750" algn="l">
              <a:buFont typeface="Arial" panose="020B0604020202020204" pitchFamily="34" charset="0"/>
              <a:buChar char="•"/>
            </a:pPr>
            <a:r>
              <a:rPr lang="fr-FR" sz="1800" i="0" strike="noStrike" baseline="0" dirty="0">
                <a:solidFill>
                  <a:schemeClr val="tx1"/>
                </a:solidFill>
              </a:rPr>
              <a:t> les rapports annuels de sécurité (ASR) peuvent être soumis via le portail et la base de données CT par le promoteur de l'essai clinique.</a:t>
            </a:r>
          </a:p>
        </p:txBody>
      </p:sp>
    </p:spTree>
    <p:extLst>
      <p:ext uri="{BB962C8B-B14F-4D97-AF65-F5344CB8AC3E}">
        <p14:creationId xmlns:p14="http://schemas.microsoft.com/office/powerpoint/2010/main" val="15428401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FF19C91-90E8-44D8-AEBF-EFEB18FF2DC0}"/>
              </a:ext>
            </a:extLst>
          </p:cNvPr>
          <p:cNvSpPr>
            <a:spLocks noGrp="1"/>
          </p:cNvSpPr>
          <p:nvPr>
            <p:ph type="dt" sz="half" idx="10"/>
          </p:nvPr>
        </p:nvSpPr>
        <p:spPr/>
        <p:txBody>
          <a:bodyPr/>
          <a:lstStyle/>
          <a:p>
            <a:r>
              <a:rPr lang="en-US"/>
              <a:t>19 octobre 2022</a:t>
            </a:r>
            <a:endParaRPr lang="en-GB" dirty="0"/>
          </a:p>
        </p:txBody>
      </p:sp>
      <p:pic>
        <p:nvPicPr>
          <p:cNvPr id="11" name="Content Placeholder 10">
            <a:extLst>
              <a:ext uri="{FF2B5EF4-FFF2-40B4-BE49-F238E27FC236}">
                <a16:creationId xmlns:a16="http://schemas.microsoft.com/office/drawing/2014/main" id="{3078A4AF-12B9-4138-99A3-34BD741FC3CD}"/>
              </a:ext>
            </a:extLst>
          </p:cNvPr>
          <p:cNvPicPr>
            <a:picLocks noGrp="1" noChangeAspect="1"/>
          </p:cNvPicPr>
          <p:nvPr>
            <p:ph idx="1"/>
          </p:nvPr>
        </p:nvPicPr>
        <p:blipFill>
          <a:blip r:embed="rId2"/>
          <a:stretch>
            <a:fillRect/>
          </a:stretch>
        </p:blipFill>
        <p:spPr>
          <a:xfrm>
            <a:off x="1630362" y="1203278"/>
            <a:ext cx="8984836" cy="4987977"/>
          </a:xfrm>
        </p:spPr>
      </p:pic>
      <p:sp>
        <p:nvSpPr>
          <p:cNvPr id="7" name="Title 6">
            <a:extLst>
              <a:ext uri="{FF2B5EF4-FFF2-40B4-BE49-F238E27FC236}">
                <a16:creationId xmlns:a16="http://schemas.microsoft.com/office/drawing/2014/main" id="{8EE0EB62-7D73-4E3C-9ECE-0AD18FB17AB5}"/>
              </a:ext>
            </a:extLst>
          </p:cNvPr>
          <p:cNvSpPr>
            <a:spLocks noGrp="1"/>
          </p:cNvSpPr>
          <p:nvPr>
            <p:ph type="title"/>
          </p:nvPr>
        </p:nvSpPr>
        <p:spPr/>
        <p:txBody>
          <a:bodyPr/>
          <a:lstStyle/>
          <a:p>
            <a:r>
              <a:rPr lang="fr-BE" dirty="0"/>
              <a:t>Transparency</a:t>
            </a:r>
            <a:endParaRPr lang="fr-FR" dirty="0"/>
          </a:p>
        </p:txBody>
      </p:sp>
    </p:spTree>
    <p:extLst>
      <p:ext uri="{BB962C8B-B14F-4D97-AF65-F5344CB8AC3E}">
        <p14:creationId xmlns:p14="http://schemas.microsoft.com/office/powerpoint/2010/main" val="13543524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69B598D-3DA9-40B2-9FF1-4C911936C069}"/>
              </a:ext>
            </a:extLst>
          </p:cNvPr>
          <p:cNvSpPr>
            <a:spLocks noGrp="1"/>
          </p:cNvSpPr>
          <p:nvPr>
            <p:ph type="dt" sz="half" idx="10"/>
          </p:nvPr>
        </p:nvSpPr>
        <p:spPr/>
        <p:txBody>
          <a:bodyPr/>
          <a:lstStyle/>
          <a:p>
            <a:r>
              <a:rPr lang="en-US" dirty="0"/>
              <a:t>19 </a:t>
            </a:r>
            <a:r>
              <a:rPr lang="en-US" dirty="0" err="1"/>
              <a:t>octobre</a:t>
            </a:r>
            <a:r>
              <a:rPr lang="en-US" dirty="0"/>
              <a:t> 2022</a:t>
            </a:r>
            <a:endParaRPr lang="en-GB" dirty="0"/>
          </a:p>
        </p:txBody>
      </p:sp>
      <p:sp>
        <p:nvSpPr>
          <p:cNvPr id="10" name="Title 9">
            <a:extLst>
              <a:ext uri="{FF2B5EF4-FFF2-40B4-BE49-F238E27FC236}">
                <a16:creationId xmlns:a16="http://schemas.microsoft.com/office/drawing/2014/main" id="{1574BD8E-9329-47D6-9191-4B477EB40CDC}"/>
              </a:ext>
            </a:extLst>
          </p:cNvPr>
          <p:cNvSpPr>
            <a:spLocks noGrp="1"/>
          </p:cNvSpPr>
          <p:nvPr>
            <p:ph type="title"/>
          </p:nvPr>
        </p:nvSpPr>
        <p:spPr/>
        <p:txBody>
          <a:bodyPr/>
          <a:lstStyle/>
          <a:p>
            <a:r>
              <a:rPr lang="fr-BE" dirty="0"/>
              <a:t>Essais Cliniques dans le temps</a:t>
            </a:r>
            <a:endParaRPr lang="fr-FR" dirty="0"/>
          </a:p>
        </p:txBody>
      </p:sp>
      <p:sp>
        <p:nvSpPr>
          <p:cNvPr id="13" name="Rectangle 12">
            <a:extLst>
              <a:ext uri="{FF2B5EF4-FFF2-40B4-BE49-F238E27FC236}">
                <a16:creationId xmlns:a16="http://schemas.microsoft.com/office/drawing/2014/main" id="{6810A9F9-15D9-4EDB-902D-E09F20544395}"/>
              </a:ext>
            </a:extLst>
          </p:cNvPr>
          <p:cNvSpPr/>
          <p:nvPr/>
        </p:nvSpPr>
        <p:spPr>
          <a:xfrm>
            <a:off x="390262" y="3569082"/>
            <a:ext cx="2718697" cy="2823303"/>
          </a:xfrm>
          <a:prstGeom prst="rect">
            <a:avLst/>
          </a:prstGeom>
          <a:solidFill>
            <a:srgbClr val="DAE6F7"/>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r>
              <a:rPr lang="fr-BE" sz="1400" b="1" dirty="0">
                <a:solidFill>
                  <a:schemeClr val="tx1"/>
                </a:solidFill>
              </a:rPr>
              <a:t>… </a:t>
            </a:r>
            <a:r>
              <a:rPr lang="fr-BE" sz="1800" b="1" dirty="0">
                <a:solidFill>
                  <a:schemeClr val="tx1"/>
                </a:solidFill>
              </a:rPr>
              <a:t>Avant May 2004</a:t>
            </a:r>
          </a:p>
          <a:p>
            <a:endParaRPr lang="fr-BE" sz="1800" b="1" dirty="0">
              <a:solidFill>
                <a:schemeClr val="tx1"/>
              </a:solidFill>
            </a:endParaRPr>
          </a:p>
          <a:p>
            <a:pPr marL="285750" indent="-285750">
              <a:buFont typeface="Arial" panose="020B0604020202020204" pitchFamily="34" charset="0"/>
              <a:buChar char="•"/>
            </a:pPr>
            <a:r>
              <a:rPr lang="fr-BE" sz="1800" dirty="0">
                <a:solidFill>
                  <a:schemeClr val="tx1"/>
                </a:solidFill>
              </a:rPr>
              <a:t>Règles nationales, obligations divergentes dans chaque Etat Membre </a:t>
            </a:r>
            <a:endParaRPr lang="fr-BE" sz="1400" b="1" dirty="0">
              <a:solidFill>
                <a:schemeClr val="tx1"/>
              </a:solidFill>
            </a:endParaRPr>
          </a:p>
          <a:p>
            <a:endParaRPr lang="fr-BE" sz="1400" b="1" dirty="0">
              <a:solidFill>
                <a:schemeClr val="tx1"/>
              </a:solidFill>
            </a:endParaRPr>
          </a:p>
        </p:txBody>
      </p:sp>
      <p:sp>
        <p:nvSpPr>
          <p:cNvPr id="14" name="Rectangle 13">
            <a:extLst>
              <a:ext uri="{FF2B5EF4-FFF2-40B4-BE49-F238E27FC236}">
                <a16:creationId xmlns:a16="http://schemas.microsoft.com/office/drawing/2014/main" id="{6B1246FB-7EDD-4631-8E3F-15FE3EF47787}"/>
              </a:ext>
            </a:extLst>
          </p:cNvPr>
          <p:cNvSpPr/>
          <p:nvPr/>
        </p:nvSpPr>
        <p:spPr>
          <a:xfrm>
            <a:off x="4065563" y="3569083"/>
            <a:ext cx="3197955" cy="2824339"/>
          </a:xfrm>
          <a:prstGeom prst="rect">
            <a:avLst/>
          </a:prstGeom>
          <a:solidFill>
            <a:srgbClr val="DAE6F7"/>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r>
              <a:rPr lang="fr-BE" sz="1800" dirty="0">
                <a:solidFill>
                  <a:schemeClr val="tx1"/>
                </a:solidFill>
              </a:rPr>
              <a:t>… </a:t>
            </a:r>
            <a:r>
              <a:rPr lang="fr-BE" sz="1800" b="1" dirty="0">
                <a:solidFill>
                  <a:schemeClr val="tx1"/>
                </a:solidFill>
              </a:rPr>
              <a:t>Directive 2001/20</a:t>
            </a:r>
          </a:p>
          <a:p>
            <a:r>
              <a:rPr lang="fr-BE" sz="1800" dirty="0">
                <a:solidFill>
                  <a:schemeClr val="tx1"/>
                </a:solidFill>
              </a:rPr>
              <a:t>(1</a:t>
            </a:r>
            <a:r>
              <a:rPr lang="fr-BE" sz="1800" baseline="30000" dirty="0">
                <a:solidFill>
                  <a:schemeClr val="tx1"/>
                </a:solidFill>
              </a:rPr>
              <a:t>er</a:t>
            </a:r>
            <a:r>
              <a:rPr lang="fr-BE" sz="1800" dirty="0">
                <a:solidFill>
                  <a:schemeClr val="tx1"/>
                </a:solidFill>
              </a:rPr>
              <a:t> mai 2004)</a:t>
            </a:r>
          </a:p>
          <a:p>
            <a:pPr marL="285750" indent="-285750">
              <a:buFont typeface="Arial" panose="020B0604020202020204" pitchFamily="34" charset="0"/>
              <a:buChar char="•"/>
            </a:pPr>
            <a:r>
              <a:rPr lang="fr-BE" sz="1800" dirty="0">
                <a:solidFill>
                  <a:schemeClr val="tx1"/>
                </a:solidFill>
              </a:rPr>
              <a:t>Première étape d'harmonisation des procédures et obligations</a:t>
            </a:r>
          </a:p>
          <a:p>
            <a:pPr marL="285750" indent="-285750">
              <a:buFont typeface="Arial" panose="020B0604020202020204" pitchFamily="34" charset="0"/>
              <a:buChar char="•"/>
            </a:pPr>
            <a:r>
              <a:rPr lang="fr-BE" sz="1800" dirty="0">
                <a:solidFill>
                  <a:schemeClr val="tx1"/>
                </a:solidFill>
              </a:rPr>
              <a:t>Applications nationales</a:t>
            </a:r>
          </a:p>
          <a:p>
            <a:pPr marL="285750" indent="-285750">
              <a:buFont typeface="Arial" panose="020B0604020202020204" pitchFamily="34" charset="0"/>
              <a:buChar char="•"/>
            </a:pPr>
            <a:r>
              <a:rPr lang="fr-BE" sz="1800" dirty="0">
                <a:solidFill>
                  <a:schemeClr val="tx1"/>
                </a:solidFill>
              </a:rPr>
              <a:t>Introduction de l'e-application</a:t>
            </a:r>
            <a:endParaRPr lang="fr-FR" sz="1800" dirty="0">
              <a:solidFill>
                <a:schemeClr val="tx1"/>
              </a:solidFill>
            </a:endParaRPr>
          </a:p>
        </p:txBody>
      </p:sp>
      <p:sp>
        <p:nvSpPr>
          <p:cNvPr id="18" name="Content Placeholder 17">
            <a:extLst>
              <a:ext uri="{FF2B5EF4-FFF2-40B4-BE49-F238E27FC236}">
                <a16:creationId xmlns:a16="http://schemas.microsoft.com/office/drawing/2014/main" id="{FA680895-39B0-4984-9C35-C7888DBE7573}"/>
              </a:ext>
            </a:extLst>
          </p:cNvPr>
          <p:cNvSpPr>
            <a:spLocks noGrp="1"/>
          </p:cNvSpPr>
          <p:nvPr>
            <p:ph idx="1"/>
          </p:nvPr>
        </p:nvSpPr>
        <p:spPr>
          <a:xfrm>
            <a:off x="8478230" y="3570118"/>
            <a:ext cx="3197955" cy="2823304"/>
          </a:xfrm>
          <a:prstGeom prst="rect">
            <a:avLst/>
          </a:prstGeom>
          <a:solidFill>
            <a:srgbClr val="DAE6F7"/>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r>
              <a:rPr lang="fr-BE" sz="1800" b="1" dirty="0">
                <a:solidFill>
                  <a:schemeClr val="tx1"/>
                </a:solidFill>
              </a:rPr>
              <a:t>… Règlement 536/2014</a:t>
            </a:r>
          </a:p>
          <a:p>
            <a:endParaRPr lang="fr-BE" sz="1800" b="1" dirty="0">
              <a:solidFill>
                <a:schemeClr val="tx1"/>
              </a:solidFill>
            </a:endParaRPr>
          </a:p>
          <a:p>
            <a:pPr marL="285750" indent="-285750">
              <a:buFont typeface="Arial" panose="020B0604020202020204" pitchFamily="34" charset="0"/>
              <a:buChar char="•"/>
            </a:pPr>
            <a:r>
              <a:rPr lang="fr-BE" sz="1800" dirty="0">
                <a:solidFill>
                  <a:schemeClr val="tx1"/>
                </a:solidFill>
              </a:rPr>
              <a:t>Evaluation conjointe des EC multinationaux</a:t>
            </a:r>
          </a:p>
          <a:p>
            <a:pPr marL="285750" indent="-285750">
              <a:buFont typeface="Arial" panose="020B0604020202020204" pitchFamily="34" charset="0"/>
              <a:buChar char="•"/>
            </a:pPr>
            <a:r>
              <a:rPr lang="fr-BE" sz="1800" dirty="0">
                <a:solidFill>
                  <a:schemeClr val="tx1"/>
                </a:solidFill>
              </a:rPr>
              <a:t>EU Portail et Banque de données</a:t>
            </a:r>
          </a:p>
          <a:p>
            <a:pPr marL="285750" indent="-285750">
              <a:buFont typeface="Arial" panose="020B0604020202020204" pitchFamily="34" charset="0"/>
              <a:buChar char="•"/>
            </a:pPr>
            <a:r>
              <a:rPr lang="fr-BE" sz="1800" dirty="0">
                <a:solidFill>
                  <a:schemeClr val="tx1"/>
                </a:solidFill>
              </a:rPr>
              <a:t>E-</a:t>
            </a:r>
            <a:r>
              <a:rPr lang="fr-BE" sz="1800" dirty="0" err="1">
                <a:solidFill>
                  <a:schemeClr val="tx1"/>
                </a:solidFill>
              </a:rPr>
              <a:t>submission</a:t>
            </a:r>
            <a:endParaRPr lang="fr-FR" sz="1800" dirty="0">
              <a:solidFill>
                <a:schemeClr val="tx1"/>
              </a:solidFill>
            </a:endParaRPr>
          </a:p>
        </p:txBody>
      </p:sp>
      <p:pic>
        <p:nvPicPr>
          <p:cNvPr id="22" name="Picture 21">
            <a:extLst>
              <a:ext uri="{FF2B5EF4-FFF2-40B4-BE49-F238E27FC236}">
                <a16:creationId xmlns:a16="http://schemas.microsoft.com/office/drawing/2014/main" id="{6F81C897-5A82-4693-B7AC-2546EF288B2B}"/>
              </a:ext>
            </a:extLst>
          </p:cNvPr>
          <p:cNvPicPr>
            <a:picLocks noChangeAspect="1"/>
          </p:cNvPicPr>
          <p:nvPr/>
        </p:nvPicPr>
        <p:blipFill>
          <a:blip r:embed="rId3"/>
          <a:stretch>
            <a:fillRect/>
          </a:stretch>
        </p:blipFill>
        <p:spPr>
          <a:xfrm>
            <a:off x="224027" y="1391720"/>
            <a:ext cx="11591778" cy="2055900"/>
          </a:xfrm>
          <a:prstGeom prst="rect">
            <a:avLst/>
          </a:prstGeom>
        </p:spPr>
      </p:pic>
    </p:spTree>
    <p:extLst>
      <p:ext uri="{BB962C8B-B14F-4D97-AF65-F5344CB8AC3E}">
        <p14:creationId xmlns:p14="http://schemas.microsoft.com/office/powerpoint/2010/main" val="34654297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7910BB6-3B99-4D4C-B301-C2D6B7D18DDA}"/>
              </a:ext>
            </a:extLst>
          </p:cNvPr>
          <p:cNvSpPr>
            <a:spLocks noGrp="1"/>
          </p:cNvSpPr>
          <p:nvPr>
            <p:ph type="dt" sz="half" idx="10"/>
          </p:nvPr>
        </p:nvSpPr>
        <p:spPr/>
        <p:txBody>
          <a:bodyPr/>
          <a:lstStyle/>
          <a:p>
            <a:r>
              <a:rPr lang="en-US"/>
              <a:t>19 octobre 2022</a:t>
            </a:r>
            <a:endParaRPr lang="en-GB" dirty="0"/>
          </a:p>
        </p:txBody>
      </p:sp>
      <p:sp>
        <p:nvSpPr>
          <p:cNvPr id="8" name="Content Placeholder 7">
            <a:extLst>
              <a:ext uri="{FF2B5EF4-FFF2-40B4-BE49-F238E27FC236}">
                <a16:creationId xmlns:a16="http://schemas.microsoft.com/office/drawing/2014/main" id="{182194D7-C6B4-448A-8236-E8001C645266}"/>
              </a:ext>
            </a:extLst>
          </p:cNvPr>
          <p:cNvSpPr>
            <a:spLocks noGrp="1"/>
          </p:cNvSpPr>
          <p:nvPr>
            <p:ph type="body" sz="quarter" idx="12"/>
          </p:nvPr>
        </p:nvSpPr>
        <p:spPr>
          <a:xfrm>
            <a:off x="130629" y="1933303"/>
            <a:ext cx="5760720" cy="3510894"/>
          </a:xfrm>
        </p:spPr>
        <p:txBody>
          <a:bodyPr/>
          <a:lstStyle/>
          <a:p>
            <a:r>
              <a:rPr lang="fr-FR" sz="1400" dirty="0"/>
              <a:t>Règlement 536/2014  Entrée en vigueur </a:t>
            </a:r>
            <a:r>
              <a:rPr lang="fr-FR" sz="1400" b="1" dirty="0"/>
              <a:t>31 janvier </a:t>
            </a:r>
            <a:r>
              <a:rPr lang="fr-FR" sz="1400" dirty="0"/>
              <a:t>:</a:t>
            </a:r>
          </a:p>
          <a:p>
            <a:r>
              <a:rPr lang="fr-FR" sz="1400" dirty="0"/>
              <a:t>A abrogé la directive sur les essais cliniques (CE) n° 2001/20/CE</a:t>
            </a:r>
          </a:p>
          <a:p>
            <a:pPr marL="285750" indent="-285750">
              <a:buFont typeface="Courier New" panose="02070309020205020404" pitchFamily="49" charset="0"/>
              <a:buChar char="o"/>
            </a:pPr>
            <a:r>
              <a:rPr lang="fr-FR" sz="1400" dirty="0"/>
              <a:t>A abrogé la législation nationale de mise en œuvre </a:t>
            </a:r>
          </a:p>
          <a:p>
            <a:pPr marL="285750" indent="-285750">
              <a:buFont typeface="Courier New" panose="02070309020205020404" pitchFamily="49" charset="0"/>
              <a:buChar char="o"/>
            </a:pPr>
            <a:r>
              <a:rPr lang="fr-FR" sz="1400" dirty="0"/>
              <a:t>Période de transition </a:t>
            </a:r>
          </a:p>
          <a:p>
            <a:r>
              <a:rPr lang="fr-FR" sz="1400" b="1" dirty="0"/>
              <a:t>Objectifs et avantages du règlement : </a:t>
            </a:r>
          </a:p>
          <a:p>
            <a:pPr marL="285750" indent="-285750">
              <a:buFont typeface="Courier New" panose="02070309020205020404" pitchFamily="49" charset="0"/>
              <a:buChar char="o"/>
            </a:pPr>
            <a:r>
              <a:rPr lang="fr-FR" sz="1400" b="0" i="0" u="none" strike="noStrike" baseline="0" dirty="0"/>
              <a:t>la rationalisation du processus</a:t>
            </a:r>
          </a:p>
          <a:p>
            <a:pPr marL="285750" indent="-285750">
              <a:buFont typeface="Courier New" panose="02070309020205020404" pitchFamily="49" charset="0"/>
              <a:buChar char="o"/>
            </a:pPr>
            <a:r>
              <a:rPr lang="fr-FR" sz="1400" b="0" i="0" u="none" strike="noStrike" baseline="0" dirty="0"/>
              <a:t>régime allégé pour essais de niveau faible </a:t>
            </a:r>
          </a:p>
          <a:p>
            <a:pPr marL="285750" indent="-285750">
              <a:buFont typeface="Courier New" panose="02070309020205020404" pitchFamily="49" charset="0"/>
              <a:buChar char="o"/>
            </a:pPr>
            <a:r>
              <a:rPr lang="fr-FR" sz="1400" dirty="0"/>
              <a:t>Simplification administrative</a:t>
            </a:r>
          </a:p>
          <a:p>
            <a:pPr marL="285750" indent="-285750">
              <a:buFont typeface="Courier New" panose="02070309020205020404" pitchFamily="49" charset="0"/>
              <a:buChar char="o"/>
            </a:pPr>
            <a:r>
              <a:rPr lang="fr-FR" sz="1400" b="0" i="0" u="none" strike="noStrike" baseline="0" dirty="0"/>
              <a:t>reconnaissance formelle du </a:t>
            </a:r>
            <a:r>
              <a:rPr lang="fr-FR" sz="1400" b="0" i="0" u="none" strike="noStrike" baseline="0" dirty="0" err="1"/>
              <a:t>co</a:t>
            </a:r>
            <a:r>
              <a:rPr lang="fr-FR" sz="1400" b="0" i="0" u="none" strike="noStrike" baseline="0" dirty="0"/>
              <a:t>-sponsoring</a:t>
            </a:r>
          </a:p>
          <a:p>
            <a:pPr marL="285750" indent="-285750">
              <a:buFont typeface="Courier New" panose="02070309020205020404" pitchFamily="49" charset="0"/>
              <a:buChar char="o"/>
            </a:pPr>
            <a:r>
              <a:rPr lang="fr-FR" sz="1400" b="0" i="0" u="none" strike="noStrike" baseline="0" dirty="0"/>
              <a:t>décision unique sur un essai clinique</a:t>
            </a:r>
            <a:endParaRPr lang="en-GB" sz="1400" dirty="0"/>
          </a:p>
        </p:txBody>
      </p:sp>
      <p:sp>
        <p:nvSpPr>
          <p:cNvPr id="7" name="Title 6">
            <a:extLst>
              <a:ext uri="{FF2B5EF4-FFF2-40B4-BE49-F238E27FC236}">
                <a16:creationId xmlns:a16="http://schemas.microsoft.com/office/drawing/2014/main" id="{EC5FC0C9-631D-43AF-8053-094C444E1E58}"/>
              </a:ext>
            </a:extLst>
          </p:cNvPr>
          <p:cNvSpPr>
            <a:spLocks noGrp="1"/>
          </p:cNvSpPr>
          <p:nvPr>
            <p:ph type="title"/>
          </p:nvPr>
        </p:nvSpPr>
        <p:spPr/>
        <p:txBody>
          <a:bodyPr/>
          <a:lstStyle/>
          <a:p>
            <a:r>
              <a:rPr lang="fr-FR" dirty="0"/>
              <a:t>Introduction au règlement sur les essais cliniques</a:t>
            </a:r>
            <a:endParaRPr lang="en-GB" dirty="0"/>
          </a:p>
        </p:txBody>
      </p:sp>
      <p:sp>
        <p:nvSpPr>
          <p:cNvPr id="5" name="Rectangle: Rounded Corners 4">
            <a:extLst>
              <a:ext uri="{FF2B5EF4-FFF2-40B4-BE49-F238E27FC236}">
                <a16:creationId xmlns:a16="http://schemas.microsoft.com/office/drawing/2014/main" id="{211F88E2-7043-469A-B37A-998325B08983}"/>
              </a:ext>
            </a:extLst>
          </p:cNvPr>
          <p:cNvSpPr/>
          <p:nvPr/>
        </p:nvSpPr>
        <p:spPr>
          <a:xfrm>
            <a:off x="7034348" y="1246462"/>
            <a:ext cx="3507378" cy="1371600"/>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endParaRPr lang="en-GB" sz="1800" b="1" dirty="0">
              <a:latin typeface="Arial" panose="020B0604020202020204" pitchFamily="34" charset="0"/>
            </a:endParaRPr>
          </a:p>
          <a:p>
            <a:r>
              <a:rPr lang="fr-FR" sz="1800" b="1" dirty="0">
                <a:solidFill>
                  <a:schemeClr val="tx1"/>
                </a:solidFill>
                <a:latin typeface="Arial" panose="020B0604020202020204" pitchFamily="34" charset="0"/>
              </a:rPr>
              <a:t>Une soumission commune de l'UE couvrant tous les pays participants dans les mêmes délais.</a:t>
            </a:r>
          </a:p>
          <a:p>
            <a:pPr algn="l"/>
            <a:endParaRPr lang="nl-NL" sz="1800" b="0" i="0" u="none" strike="noStrike" baseline="0" dirty="0">
              <a:solidFill>
                <a:srgbClr val="000000"/>
              </a:solidFill>
              <a:latin typeface="Arial" panose="020B0604020202020204" pitchFamily="34" charset="0"/>
            </a:endParaRPr>
          </a:p>
        </p:txBody>
      </p:sp>
      <p:sp>
        <p:nvSpPr>
          <p:cNvPr id="11" name="Rectangle: Rounded Corners 10">
            <a:extLst>
              <a:ext uri="{FF2B5EF4-FFF2-40B4-BE49-F238E27FC236}">
                <a16:creationId xmlns:a16="http://schemas.microsoft.com/office/drawing/2014/main" id="{D0585036-C6EB-488E-B2D0-087CD4CE7006}"/>
              </a:ext>
            </a:extLst>
          </p:cNvPr>
          <p:cNvSpPr/>
          <p:nvPr/>
        </p:nvSpPr>
        <p:spPr>
          <a:xfrm>
            <a:off x="7027816" y="2599510"/>
            <a:ext cx="3507378" cy="1371600"/>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r>
              <a:rPr lang="fr-FR" sz="1800" b="1" i="0" u="none" strike="noStrike" baseline="0" dirty="0">
                <a:solidFill>
                  <a:schemeClr val="tx1"/>
                </a:solidFill>
                <a:latin typeface="Arial" panose="020B0604020202020204" pitchFamily="34" charset="0"/>
              </a:rPr>
              <a:t>L'approbation couvre l'autorisation et l'avis du comité d'éthique (même procédures).</a:t>
            </a:r>
          </a:p>
        </p:txBody>
      </p:sp>
      <p:sp>
        <p:nvSpPr>
          <p:cNvPr id="13" name="Rectangle: Rounded Corners 12">
            <a:extLst>
              <a:ext uri="{FF2B5EF4-FFF2-40B4-BE49-F238E27FC236}">
                <a16:creationId xmlns:a16="http://schemas.microsoft.com/office/drawing/2014/main" id="{FF6E3D0F-A28F-4F5E-A76C-64589120798F}"/>
              </a:ext>
            </a:extLst>
          </p:cNvPr>
          <p:cNvSpPr/>
          <p:nvPr/>
        </p:nvSpPr>
        <p:spPr>
          <a:xfrm>
            <a:off x="7027815" y="3969028"/>
            <a:ext cx="3507378" cy="979715"/>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r>
              <a:rPr lang="fr-FR" sz="1800" b="1" i="0" u="none" strike="noStrike" baseline="0" dirty="0">
                <a:solidFill>
                  <a:schemeClr val="tx1"/>
                </a:solidFill>
                <a:latin typeface="Arial" panose="020B0604020202020204" pitchFamily="34" charset="0"/>
              </a:rPr>
              <a:t>Procédures et délais simplifiés pour les essais à faible risque</a:t>
            </a:r>
          </a:p>
        </p:txBody>
      </p:sp>
      <p:sp>
        <p:nvSpPr>
          <p:cNvPr id="14" name="Rectangle: Rounded Corners 13">
            <a:extLst>
              <a:ext uri="{FF2B5EF4-FFF2-40B4-BE49-F238E27FC236}">
                <a16:creationId xmlns:a16="http://schemas.microsoft.com/office/drawing/2014/main" id="{25E6DCF0-C89D-4386-B5BE-7D1B35E4CEFA}"/>
              </a:ext>
            </a:extLst>
          </p:cNvPr>
          <p:cNvSpPr/>
          <p:nvPr/>
        </p:nvSpPr>
        <p:spPr>
          <a:xfrm>
            <a:off x="7027815" y="4946663"/>
            <a:ext cx="3513912" cy="1590759"/>
          </a:xfrm>
          <a:prstGeom prst="roundRect">
            <a:avLst/>
          </a:prstGeom>
          <a:ln/>
        </p:spPr>
        <p:style>
          <a:lnRef idx="1">
            <a:schemeClr val="accent4"/>
          </a:lnRef>
          <a:fillRef idx="3">
            <a:schemeClr val="accent4"/>
          </a:fillRef>
          <a:effectRef idx="2">
            <a:schemeClr val="accent4"/>
          </a:effectRef>
          <a:fontRef idx="minor">
            <a:schemeClr val="lt1"/>
          </a:fontRef>
        </p:style>
        <p:txBody>
          <a:bodyPr lIns="108000" tIns="72000" rIns="108000" bIns="72000" rtlCol="0" anchor="ctr"/>
          <a:lstStyle/>
          <a:p>
            <a:r>
              <a:rPr lang="fr-FR" sz="1800" b="1" i="0" u="none" strike="noStrike" baseline="0" dirty="0">
                <a:solidFill>
                  <a:schemeClr val="tx1"/>
                </a:solidFill>
                <a:latin typeface="Arial" panose="020B0604020202020204" pitchFamily="34" charset="0"/>
              </a:rPr>
              <a:t>Toutes les communications et soumissions pour tous les pays se feront via le portail unique de l'UE</a:t>
            </a:r>
            <a:endParaRPr lang="nl-NL" sz="1400" b="1" dirty="0">
              <a:solidFill>
                <a:schemeClr val="tx1"/>
              </a:solidFill>
            </a:endParaRPr>
          </a:p>
        </p:txBody>
      </p:sp>
    </p:spTree>
    <p:extLst>
      <p:ext uri="{BB962C8B-B14F-4D97-AF65-F5344CB8AC3E}">
        <p14:creationId xmlns:p14="http://schemas.microsoft.com/office/powerpoint/2010/main" val="42185235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0F4E504-2CC8-4336-A047-E5AA268DF90D}"/>
              </a:ext>
            </a:extLst>
          </p:cNvPr>
          <p:cNvSpPr>
            <a:spLocks noGrp="1"/>
          </p:cNvSpPr>
          <p:nvPr>
            <p:ph type="dt" sz="half" idx="10"/>
          </p:nvPr>
        </p:nvSpPr>
        <p:spPr/>
        <p:txBody>
          <a:bodyPr/>
          <a:lstStyle/>
          <a:p>
            <a:r>
              <a:rPr lang="en-US"/>
              <a:t>19 octobre 2022</a:t>
            </a:r>
            <a:endParaRPr lang="en-GB" dirty="0"/>
          </a:p>
        </p:txBody>
      </p:sp>
      <p:sp>
        <p:nvSpPr>
          <p:cNvPr id="14" name="Content Placeholder 13">
            <a:extLst>
              <a:ext uri="{FF2B5EF4-FFF2-40B4-BE49-F238E27FC236}">
                <a16:creationId xmlns:a16="http://schemas.microsoft.com/office/drawing/2014/main" id="{C9F00F93-BD60-440B-8243-B219E5E69C42}"/>
              </a:ext>
            </a:extLst>
          </p:cNvPr>
          <p:cNvSpPr>
            <a:spLocks noGrp="1"/>
          </p:cNvSpPr>
          <p:nvPr>
            <p:ph idx="13"/>
          </p:nvPr>
        </p:nvSpPr>
        <p:spPr>
          <a:xfrm>
            <a:off x="6186486" y="2269518"/>
            <a:ext cx="5286376" cy="4006800"/>
          </a:xfrm>
          <a:ln/>
        </p:spPr>
        <p:style>
          <a:lnRef idx="1">
            <a:schemeClr val="accent5"/>
          </a:lnRef>
          <a:fillRef idx="2">
            <a:schemeClr val="accent5"/>
          </a:fillRef>
          <a:effectRef idx="1">
            <a:schemeClr val="accent5"/>
          </a:effectRef>
          <a:fontRef idx="minor">
            <a:schemeClr val="dk1"/>
          </a:fontRef>
        </p:style>
        <p:txBody>
          <a:bodyPr/>
          <a:lstStyle/>
          <a:p>
            <a:endParaRPr lang="fr-FR" dirty="0"/>
          </a:p>
        </p:txBody>
      </p:sp>
      <p:sp>
        <p:nvSpPr>
          <p:cNvPr id="12" name="Content Placeholder 11">
            <a:extLst>
              <a:ext uri="{FF2B5EF4-FFF2-40B4-BE49-F238E27FC236}">
                <a16:creationId xmlns:a16="http://schemas.microsoft.com/office/drawing/2014/main" id="{F7DA2195-769B-4E8D-BC4F-CCC3A424686C}"/>
              </a:ext>
            </a:extLst>
          </p:cNvPr>
          <p:cNvSpPr>
            <a:spLocks noGrp="1"/>
          </p:cNvSpPr>
          <p:nvPr>
            <p:ph idx="1"/>
          </p:nvPr>
        </p:nvSpPr>
        <p:spPr>
          <a:xfrm>
            <a:off x="719138" y="2269518"/>
            <a:ext cx="5286376" cy="4006800"/>
          </a:xfrm>
          <a:ln/>
        </p:spPr>
        <p:style>
          <a:lnRef idx="1">
            <a:schemeClr val="accent2"/>
          </a:lnRef>
          <a:fillRef idx="2">
            <a:schemeClr val="accent2"/>
          </a:fillRef>
          <a:effectRef idx="1">
            <a:schemeClr val="accent2"/>
          </a:effectRef>
          <a:fontRef idx="minor">
            <a:schemeClr val="dk1"/>
          </a:fontRef>
        </p:style>
        <p:txBody>
          <a:bodyPr/>
          <a:lstStyle/>
          <a:p>
            <a:pPr marL="285750" indent="-285750">
              <a:buFont typeface="Arial" panose="020B0604020202020204" pitchFamily="34" charset="0"/>
              <a:buChar char="•"/>
            </a:pPr>
            <a:endParaRPr lang="fr-BE" dirty="0"/>
          </a:p>
          <a:p>
            <a:pPr marL="285750" indent="-285750">
              <a:buFont typeface="Arial" panose="020B0604020202020204" pitchFamily="34" charset="0"/>
              <a:buChar char="•"/>
            </a:pPr>
            <a:r>
              <a:rPr lang="fr-BE" b="1" dirty="0"/>
              <a:t>Essais cliniques interventionnels </a:t>
            </a:r>
            <a:r>
              <a:rPr lang="fr-BE" dirty="0"/>
              <a:t>avec médicaments à usage humain</a:t>
            </a:r>
          </a:p>
          <a:p>
            <a:pPr marL="285750" indent="-285750">
              <a:buFont typeface="Arial" panose="020B0604020202020204" pitchFamily="34" charset="0"/>
              <a:buChar char="•"/>
            </a:pPr>
            <a:endParaRPr lang="fr-BE" dirty="0"/>
          </a:p>
          <a:p>
            <a:pPr marL="285750" indent="-285750">
              <a:buFont typeface="Arial" panose="020B0604020202020204" pitchFamily="34" charset="0"/>
              <a:buChar char="•"/>
            </a:pPr>
            <a:r>
              <a:rPr lang="fr-FR" dirty="0"/>
              <a:t>Essais </a:t>
            </a:r>
            <a:r>
              <a:rPr lang="fr-FR" b="1" dirty="0"/>
              <a:t>à faible niveau interventionnel</a:t>
            </a:r>
          </a:p>
          <a:p>
            <a:pPr marL="465750" lvl="1" indent="-285750">
              <a:buFont typeface="Arial" panose="020B0604020202020204" pitchFamily="34" charset="0"/>
              <a:buChar char="•"/>
            </a:pPr>
            <a:r>
              <a:rPr lang="fr-FR" dirty="0"/>
              <a:t>Médicaments expérimentaux (IMP)</a:t>
            </a:r>
          </a:p>
          <a:p>
            <a:pPr marL="645750" lvl="2" indent="-285750">
              <a:buFont typeface="Arial" panose="020B0604020202020204" pitchFamily="34" charset="0"/>
              <a:buChar char="•"/>
            </a:pPr>
            <a:r>
              <a:rPr lang="fr-FR" dirty="0"/>
              <a:t>utilisés conformément aux conditions de l'AMM ou</a:t>
            </a:r>
          </a:p>
          <a:p>
            <a:pPr marL="645750" lvl="2" indent="-285750">
              <a:buFont typeface="Arial" panose="020B0604020202020204" pitchFamily="34" charset="0"/>
              <a:buChar char="•"/>
            </a:pPr>
            <a:r>
              <a:rPr lang="fr-FR" dirty="0"/>
              <a:t>Utilisation fondée sur des publications scientifiques concernant la sécurité et l'efficacité 	</a:t>
            </a:r>
          </a:p>
          <a:p>
            <a:pPr marL="645750" lvl="2" indent="-285750">
              <a:buFont typeface="Arial" panose="020B0604020202020204" pitchFamily="34" charset="0"/>
              <a:buChar char="•"/>
            </a:pPr>
            <a:r>
              <a:rPr lang="fr-FR" dirty="0"/>
              <a:t>risque ou une contrainte supplémentaire minimale pour la sécurité des participants par rapport à la pratique clinique normale</a:t>
            </a:r>
          </a:p>
          <a:p>
            <a:pPr marL="465750" lvl="1" indent="-285750">
              <a:buFont typeface="Arial" panose="020B0604020202020204" pitchFamily="34" charset="0"/>
              <a:buChar char="•"/>
            </a:pPr>
            <a:endParaRPr lang="fr-FR" b="1" dirty="0"/>
          </a:p>
          <a:p>
            <a:pPr marL="465750" lvl="1" indent="-285750">
              <a:buFont typeface="Arial" panose="020B0604020202020204" pitchFamily="34" charset="0"/>
              <a:buChar char="•"/>
            </a:pPr>
            <a:endParaRPr lang="fr-FR" b="1" dirty="0"/>
          </a:p>
        </p:txBody>
      </p:sp>
      <p:sp>
        <p:nvSpPr>
          <p:cNvPr id="13" name="Subtitle 12">
            <a:extLst>
              <a:ext uri="{FF2B5EF4-FFF2-40B4-BE49-F238E27FC236}">
                <a16:creationId xmlns:a16="http://schemas.microsoft.com/office/drawing/2014/main" id="{2AC8CB54-C2B7-4290-97F9-C75D767931AE}"/>
              </a:ext>
            </a:extLst>
          </p:cNvPr>
          <p:cNvSpPr>
            <a:spLocks noGrp="1"/>
          </p:cNvSpPr>
          <p:nvPr>
            <p:ph type="subTitle" idx="12"/>
          </p:nvPr>
        </p:nvSpPr>
        <p:spPr>
          <a:xfrm>
            <a:off x="719138" y="1407419"/>
            <a:ext cx="5286376" cy="756000"/>
          </a:xfrm>
          <a:ln/>
        </p:spPr>
        <p:style>
          <a:lnRef idx="1">
            <a:schemeClr val="accent2"/>
          </a:lnRef>
          <a:fillRef idx="2">
            <a:schemeClr val="accent2"/>
          </a:fillRef>
          <a:effectRef idx="1">
            <a:schemeClr val="accent2"/>
          </a:effectRef>
          <a:fontRef idx="minor">
            <a:schemeClr val="dk1"/>
          </a:fontRef>
        </p:style>
        <p:txBody>
          <a:bodyPr anchor="ctr"/>
          <a:lstStyle/>
          <a:p>
            <a:pPr algn="r"/>
            <a:r>
              <a:rPr lang="fr-BE" dirty="0">
                <a:solidFill>
                  <a:srgbClr val="477628"/>
                </a:solidFill>
              </a:rPr>
              <a:t>	</a:t>
            </a:r>
          </a:p>
          <a:p>
            <a:pPr algn="r"/>
            <a:endParaRPr lang="fr-BE" b="1" i="0" dirty="0">
              <a:solidFill>
                <a:srgbClr val="477628"/>
              </a:solidFill>
            </a:endParaRPr>
          </a:p>
          <a:p>
            <a:pPr algn="r"/>
            <a:r>
              <a:rPr lang="fr-BE" b="1" i="0" dirty="0">
                <a:solidFill>
                  <a:srgbClr val="477628"/>
                </a:solidFill>
              </a:rPr>
              <a:t>	In scope </a:t>
            </a:r>
            <a:r>
              <a:rPr lang="fr-BE" i="0" dirty="0">
                <a:solidFill>
                  <a:schemeClr val="tx1"/>
                </a:solidFill>
              </a:rPr>
              <a:t>	</a:t>
            </a:r>
            <a:r>
              <a:rPr lang="fr-BE" dirty="0"/>
              <a:t>											</a:t>
            </a:r>
            <a:endParaRPr lang="fr-FR" dirty="0"/>
          </a:p>
        </p:txBody>
      </p:sp>
      <p:sp>
        <p:nvSpPr>
          <p:cNvPr id="5" name="Title 4">
            <a:extLst>
              <a:ext uri="{FF2B5EF4-FFF2-40B4-BE49-F238E27FC236}">
                <a16:creationId xmlns:a16="http://schemas.microsoft.com/office/drawing/2014/main" id="{E8A85305-5010-466D-9C01-40C861FB9FBB}"/>
              </a:ext>
            </a:extLst>
          </p:cNvPr>
          <p:cNvSpPr>
            <a:spLocks noGrp="1"/>
          </p:cNvSpPr>
          <p:nvPr>
            <p:ph type="title"/>
          </p:nvPr>
        </p:nvSpPr>
        <p:spPr>
          <a:xfrm>
            <a:off x="719136" y="258518"/>
            <a:ext cx="9110663" cy="720000"/>
          </a:xfrm>
        </p:spPr>
        <p:txBody>
          <a:bodyPr/>
          <a:lstStyle/>
          <a:p>
            <a:r>
              <a:rPr lang="fr-BE" dirty="0"/>
              <a:t>Rappel Champ d'application du Règlement EC</a:t>
            </a:r>
            <a:endParaRPr lang="fr-FR" dirty="0"/>
          </a:p>
        </p:txBody>
      </p:sp>
      <p:sp>
        <p:nvSpPr>
          <p:cNvPr id="15" name="Subtitle 12">
            <a:extLst>
              <a:ext uri="{FF2B5EF4-FFF2-40B4-BE49-F238E27FC236}">
                <a16:creationId xmlns:a16="http://schemas.microsoft.com/office/drawing/2014/main" id="{39BEE073-A163-4DAD-892D-3A850AA48A13}"/>
              </a:ext>
            </a:extLst>
          </p:cNvPr>
          <p:cNvSpPr txBox="1">
            <a:spLocks/>
          </p:cNvSpPr>
          <p:nvPr/>
        </p:nvSpPr>
        <p:spPr>
          <a:xfrm>
            <a:off x="6184898" y="1407419"/>
            <a:ext cx="3789096" cy="756000"/>
          </a:xfrm>
          <a:prstGeom prst="rect">
            <a:avLst/>
          </a:prstGeom>
          <a:ln/>
        </p:spPr>
        <p:style>
          <a:lnRef idx="1">
            <a:schemeClr val="accent5"/>
          </a:lnRef>
          <a:fillRef idx="2">
            <a:schemeClr val="accent5"/>
          </a:fillRef>
          <a:effectRef idx="1">
            <a:schemeClr val="accent5"/>
          </a:effectRef>
          <a:fontRef idx="minor">
            <a:schemeClr val="dk1"/>
          </a:fontRef>
        </p:style>
        <p:txBody>
          <a:bodyPr vert="horz" lIns="0" tIns="0" rIns="0" bIns="0" rtlCol="0">
            <a:noAutofit/>
          </a:bodyPr>
          <a:lstStyle>
            <a:lvl1pPr marL="0" indent="0" algn="l" defTabSz="914377" rtl="0" eaLnBrk="1" latinLnBrk="0" hangingPunct="1">
              <a:lnSpc>
                <a:spcPct val="100000"/>
              </a:lnSpc>
              <a:spcBef>
                <a:spcPts val="0"/>
              </a:spcBef>
              <a:buFont typeface="Arial" panose="020B0604020202020204" pitchFamily="34" charset="0"/>
              <a:buNone/>
              <a:defRPr sz="2400" i="1" kern="1200">
                <a:solidFill>
                  <a:schemeClr val="tx2"/>
                </a:solidFill>
                <a:latin typeface="+mj-lt"/>
                <a:ea typeface="+mn-ea"/>
                <a:cs typeface="+mn-cs"/>
              </a:defRPr>
            </a:lvl1pPr>
            <a:lvl2pPr marL="0" indent="0" algn="l" defTabSz="914377" rtl="0" eaLnBrk="1" latinLnBrk="0" hangingPunct="1">
              <a:lnSpc>
                <a:spcPct val="100000"/>
              </a:lnSpc>
              <a:spcBef>
                <a:spcPts val="0"/>
              </a:spcBef>
              <a:buClr>
                <a:schemeClr val="tx2"/>
              </a:buClr>
              <a:buFont typeface="Symbol" panose="05050102010706020507" pitchFamily="18" charset="2"/>
              <a:buNone/>
              <a:defRPr sz="2400" i="1" kern="1200">
                <a:solidFill>
                  <a:schemeClr val="tx1"/>
                </a:solidFill>
                <a:latin typeface="+mj-lt"/>
                <a:ea typeface="+mn-ea"/>
                <a:cs typeface="+mn-cs"/>
              </a:defRPr>
            </a:lvl2pPr>
            <a:lvl3pPr marL="0" indent="0" algn="l" defTabSz="914377" rtl="0" eaLnBrk="1" latinLnBrk="0" hangingPunct="1">
              <a:lnSpc>
                <a:spcPct val="100000"/>
              </a:lnSpc>
              <a:spcBef>
                <a:spcPts val="0"/>
              </a:spcBef>
              <a:buClr>
                <a:schemeClr val="tx2"/>
              </a:buClr>
              <a:buFont typeface="Arial" panose="020B0604020202020204" pitchFamily="34" charset="0"/>
              <a:buNone/>
              <a:defRPr sz="2400" i="1" kern="1200">
                <a:solidFill>
                  <a:schemeClr val="bg1"/>
                </a:solidFill>
                <a:latin typeface="+mj-lt"/>
                <a:ea typeface="+mn-ea"/>
                <a:cs typeface="+mn-cs"/>
              </a:defRPr>
            </a:lvl3pPr>
            <a:lvl4pPr marL="0" indent="0" algn="l" defTabSz="914377" rtl="0" eaLnBrk="1" latinLnBrk="0" hangingPunct="1">
              <a:lnSpc>
                <a:spcPct val="100000"/>
              </a:lnSpc>
              <a:spcBef>
                <a:spcPts val="0"/>
              </a:spcBef>
              <a:buClr>
                <a:schemeClr val="tx2"/>
              </a:buClr>
              <a:buFont typeface="Arial" panose="020B0604020202020204" pitchFamily="34" charset="0"/>
              <a:buNone/>
              <a:defRPr sz="2000" i="1" kern="1200">
                <a:solidFill>
                  <a:schemeClr val="tx2"/>
                </a:solidFill>
                <a:latin typeface="+mj-lt"/>
                <a:ea typeface="+mn-ea"/>
                <a:cs typeface="+mn-cs"/>
              </a:defRPr>
            </a:lvl4pPr>
            <a:lvl5pPr marL="0" indent="0" algn="l" defTabSz="914377" rtl="0" eaLnBrk="1" latinLnBrk="0" hangingPunct="1">
              <a:lnSpc>
                <a:spcPct val="100000"/>
              </a:lnSpc>
              <a:spcBef>
                <a:spcPts val="0"/>
              </a:spcBef>
              <a:buClr>
                <a:schemeClr val="tx2"/>
              </a:buClr>
              <a:buFont typeface="+mj-lt"/>
              <a:buNone/>
              <a:defRPr sz="2000" i="1" kern="1200">
                <a:solidFill>
                  <a:schemeClr val="tx1"/>
                </a:solidFill>
                <a:latin typeface="+mj-lt"/>
                <a:ea typeface="+mn-ea"/>
                <a:cs typeface="+mn-cs"/>
              </a:defRPr>
            </a:lvl5pPr>
            <a:lvl6pPr marL="0" indent="0" algn="l" defTabSz="914377" rtl="0" eaLnBrk="1" latinLnBrk="0" hangingPunct="1">
              <a:lnSpc>
                <a:spcPct val="100000"/>
              </a:lnSpc>
              <a:spcBef>
                <a:spcPts val="0"/>
              </a:spcBef>
              <a:buClr>
                <a:schemeClr val="tx2"/>
              </a:buClr>
              <a:buFont typeface="+mj-lt"/>
              <a:buNone/>
              <a:defRPr sz="2000" i="1" kern="1200">
                <a:solidFill>
                  <a:schemeClr val="bg1"/>
                </a:solidFill>
                <a:latin typeface="+mj-lt"/>
                <a:ea typeface="+mn-ea"/>
                <a:cs typeface="+mn-cs"/>
              </a:defRPr>
            </a:lvl6pPr>
            <a:lvl7pPr marL="0" indent="0" algn="l" defTabSz="914377" rtl="0" eaLnBrk="1" latinLnBrk="0" hangingPunct="1">
              <a:lnSpc>
                <a:spcPct val="100000"/>
              </a:lnSpc>
              <a:spcBef>
                <a:spcPts val="0"/>
              </a:spcBef>
              <a:buFontTx/>
              <a:buNone/>
              <a:defRPr sz="1800" i="1" kern="1200">
                <a:solidFill>
                  <a:schemeClr val="tx2"/>
                </a:solidFill>
                <a:latin typeface="+mj-lt"/>
                <a:ea typeface="+mn-ea"/>
                <a:cs typeface="+mn-cs"/>
              </a:defRPr>
            </a:lvl7pPr>
            <a:lvl8pPr marL="0" indent="0" algn="l" defTabSz="914377" rtl="0" eaLnBrk="1" latinLnBrk="0" hangingPunct="1">
              <a:lnSpc>
                <a:spcPct val="100000"/>
              </a:lnSpc>
              <a:spcBef>
                <a:spcPts val="0"/>
              </a:spcBef>
              <a:buFont typeface="Arial" panose="020B0604020202020204" pitchFamily="34" charset="0"/>
              <a:buNone/>
              <a:defRPr sz="1800" i="1" kern="1200">
                <a:solidFill>
                  <a:schemeClr val="tx1"/>
                </a:solidFill>
                <a:latin typeface="+mj-lt"/>
                <a:ea typeface="+mn-ea"/>
                <a:cs typeface="+mn-cs"/>
              </a:defRPr>
            </a:lvl8pPr>
            <a:lvl9pPr marL="0" indent="0" algn="l" defTabSz="914377" rtl="0" eaLnBrk="1" latinLnBrk="0" hangingPunct="1">
              <a:lnSpc>
                <a:spcPct val="100000"/>
              </a:lnSpc>
              <a:spcBef>
                <a:spcPts val="0"/>
              </a:spcBef>
              <a:buFont typeface="Arial" panose="020B0604020202020204" pitchFamily="34" charset="0"/>
              <a:buNone/>
              <a:defRPr sz="1800" i="1" kern="1200">
                <a:solidFill>
                  <a:schemeClr val="bg1"/>
                </a:solidFill>
                <a:latin typeface="+mj-lt"/>
                <a:ea typeface="+mn-ea"/>
                <a:cs typeface="+mn-cs"/>
              </a:defRPr>
            </a:lvl9pPr>
          </a:lstStyle>
          <a:p>
            <a:pPr algn="ctr"/>
            <a:r>
              <a:rPr lang="fr-BE" dirty="0">
                <a:solidFill>
                  <a:srgbClr val="CB3665"/>
                </a:solidFill>
              </a:rPr>
              <a:t>	</a:t>
            </a:r>
            <a:r>
              <a:rPr lang="fr-BE" b="1" i="0" dirty="0">
                <a:solidFill>
                  <a:srgbClr val="CB3665"/>
                </a:solidFill>
              </a:rPr>
              <a:t>Not in scope </a:t>
            </a:r>
            <a:r>
              <a:rPr lang="fr-BE" dirty="0"/>
              <a:t>						</a:t>
            </a:r>
          </a:p>
          <a:p>
            <a:pPr marL="285750" lvl="2" indent="-285750">
              <a:buFont typeface="Arial" panose="020B0604020202020204" pitchFamily="34" charset="0"/>
              <a:buChar char="•"/>
            </a:pPr>
            <a:r>
              <a:rPr lang="fr-FR" sz="1600" b="1" i="0" dirty="0">
                <a:solidFill>
                  <a:srgbClr val="333333"/>
                </a:solidFill>
                <a:effectLst/>
                <a:latin typeface="+mn-lt"/>
              </a:rPr>
              <a:t>Etude non interventionnelle (observationnelle) </a:t>
            </a:r>
            <a:r>
              <a:rPr lang="fr-FR" sz="1600" b="0" i="0" dirty="0">
                <a:solidFill>
                  <a:srgbClr val="333333"/>
                </a:solidFill>
                <a:effectLst/>
                <a:latin typeface="+mn-lt"/>
              </a:rPr>
              <a:t>une étude clinique autre qu'un essai clinique</a:t>
            </a:r>
          </a:p>
          <a:p>
            <a:pPr marL="285750" lvl="2" indent="-285750">
              <a:buFont typeface="Arial" panose="020B0604020202020204" pitchFamily="34" charset="0"/>
              <a:buChar char="•"/>
            </a:pPr>
            <a:endParaRPr lang="fr-FR" sz="1600" b="0" i="0" dirty="0">
              <a:solidFill>
                <a:srgbClr val="333333"/>
              </a:solidFill>
              <a:effectLst/>
              <a:latin typeface="+mn-lt"/>
            </a:endParaRPr>
          </a:p>
          <a:p>
            <a:pPr marL="285750" lvl="8" indent="-285750">
              <a:buFont typeface="Arial" panose="020B0604020202020204" pitchFamily="34" charset="0"/>
              <a:buChar char="•"/>
            </a:pPr>
            <a:r>
              <a:rPr lang="fr-FR" sz="1600" i="0" dirty="0">
                <a:solidFill>
                  <a:srgbClr val="333333"/>
                </a:solidFill>
                <a:latin typeface="+mn-lt"/>
              </a:rPr>
              <a:t>Etudes sans médicaments</a:t>
            </a:r>
            <a:r>
              <a:rPr lang="fr-BE" sz="1600" dirty="0"/>
              <a:t>		</a:t>
            </a:r>
            <a:endParaRPr lang="fr-FR" sz="1600" dirty="0"/>
          </a:p>
        </p:txBody>
      </p:sp>
    </p:spTree>
    <p:extLst>
      <p:ext uri="{BB962C8B-B14F-4D97-AF65-F5344CB8AC3E}">
        <p14:creationId xmlns:p14="http://schemas.microsoft.com/office/powerpoint/2010/main" val="35892884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7910BB6-3B99-4D4C-B301-C2D6B7D18DDA}"/>
              </a:ext>
            </a:extLst>
          </p:cNvPr>
          <p:cNvSpPr>
            <a:spLocks noGrp="1"/>
          </p:cNvSpPr>
          <p:nvPr>
            <p:ph type="dt" sz="half" idx="10"/>
          </p:nvPr>
        </p:nvSpPr>
        <p:spPr/>
        <p:txBody>
          <a:bodyPr/>
          <a:lstStyle/>
          <a:p>
            <a:r>
              <a:rPr lang="en-US"/>
              <a:t>19 octobre 2022</a:t>
            </a:r>
            <a:endParaRPr lang="en-GB" dirty="0"/>
          </a:p>
        </p:txBody>
      </p:sp>
      <p:sp>
        <p:nvSpPr>
          <p:cNvPr id="7" name="Title 6">
            <a:extLst>
              <a:ext uri="{FF2B5EF4-FFF2-40B4-BE49-F238E27FC236}">
                <a16:creationId xmlns:a16="http://schemas.microsoft.com/office/drawing/2014/main" id="{EC5FC0C9-631D-43AF-8053-094C444E1E58}"/>
              </a:ext>
            </a:extLst>
          </p:cNvPr>
          <p:cNvSpPr>
            <a:spLocks noGrp="1"/>
          </p:cNvSpPr>
          <p:nvPr>
            <p:ph type="title"/>
          </p:nvPr>
        </p:nvSpPr>
        <p:spPr>
          <a:xfrm>
            <a:off x="5835696" y="483864"/>
            <a:ext cx="5999252" cy="672823"/>
          </a:xfrm>
        </p:spPr>
        <p:txBody>
          <a:bodyPr/>
          <a:lstStyle/>
          <a:p>
            <a:r>
              <a:rPr lang="fr-FR" dirty="0"/>
              <a:t>Principaux changements dans le règlement</a:t>
            </a:r>
            <a:endParaRPr lang="en-GB" dirty="0"/>
          </a:p>
        </p:txBody>
      </p:sp>
      <p:pic>
        <p:nvPicPr>
          <p:cNvPr id="19" name="Picture Placeholder 18">
            <a:extLst>
              <a:ext uri="{FF2B5EF4-FFF2-40B4-BE49-F238E27FC236}">
                <a16:creationId xmlns:a16="http://schemas.microsoft.com/office/drawing/2014/main" id="{284DB165-11B5-42F9-BD50-EE158BE07D52}"/>
              </a:ext>
            </a:extLst>
          </p:cNvPr>
          <p:cNvPicPr>
            <a:picLocks noGrp="1" noChangeAspect="1"/>
          </p:cNvPicPr>
          <p:nvPr>
            <p:ph type="pic" sz="quarter" idx="13"/>
          </p:nvPr>
        </p:nvPicPr>
        <p:blipFill>
          <a:blip r:embed="rId3"/>
          <a:srcRect t="5785" b="5785"/>
          <a:stretch>
            <a:fillRect/>
          </a:stretch>
        </p:blipFill>
        <p:spPr>
          <a:prstGeom prst="rect">
            <a:avLst/>
          </a:prstGeom>
        </p:spPr>
      </p:pic>
      <p:sp>
        <p:nvSpPr>
          <p:cNvPr id="21" name="Rectangle: Rounded Corners 20">
            <a:extLst>
              <a:ext uri="{FF2B5EF4-FFF2-40B4-BE49-F238E27FC236}">
                <a16:creationId xmlns:a16="http://schemas.microsoft.com/office/drawing/2014/main" id="{44F5BD2A-DEAA-4010-8DB6-EF8FE5449110}"/>
              </a:ext>
            </a:extLst>
          </p:cNvPr>
          <p:cNvSpPr/>
          <p:nvPr/>
        </p:nvSpPr>
        <p:spPr>
          <a:xfrm>
            <a:off x="4811151" y="1863711"/>
            <a:ext cx="7380849" cy="4747811"/>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endParaRPr lang="nl-NL" sz="1800" b="0" i="0" u="none" strike="noStrike" baseline="0" dirty="0">
              <a:latin typeface="Arial" panose="020B0604020202020204" pitchFamily="34" charset="0"/>
            </a:endParaRPr>
          </a:p>
          <a:p>
            <a:pPr marL="285750" marR="0" indent="-285750" algn="l">
              <a:buFont typeface="Courier New" panose="02070309020205020404" pitchFamily="49" charset="0"/>
              <a:buChar char="o"/>
            </a:pPr>
            <a:r>
              <a:rPr lang="fr-FR" sz="1800" b="1" i="0" u="none" strike="noStrike" baseline="0" dirty="0">
                <a:solidFill>
                  <a:schemeClr val="tx1"/>
                </a:solidFill>
                <a:latin typeface="Arial" panose="020B0604020202020204" pitchFamily="34" charset="0"/>
              </a:rPr>
              <a:t>Une soumission harmonisée </a:t>
            </a:r>
            <a:r>
              <a:rPr lang="fr-FR" sz="1800" i="0" u="none" strike="noStrike" baseline="0" dirty="0">
                <a:solidFill>
                  <a:schemeClr val="tx1"/>
                </a:solidFill>
                <a:latin typeface="Arial" panose="020B0604020202020204" pitchFamily="34" charset="0"/>
              </a:rPr>
              <a:t>(annexe I) via le portail de l'UE </a:t>
            </a:r>
          </a:p>
          <a:p>
            <a:pPr marL="285750" marR="0" indent="-285750" algn="l">
              <a:buFont typeface="Courier New" panose="02070309020205020404" pitchFamily="49" charset="0"/>
              <a:buChar char="o"/>
            </a:pPr>
            <a:r>
              <a:rPr lang="fr-FR" sz="1800" i="0" u="none" strike="noStrike" baseline="0" dirty="0">
                <a:solidFill>
                  <a:schemeClr val="tx1"/>
                </a:solidFill>
                <a:latin typeface="Arial" panose="020B0604020202020204" pitchFamily="34" charset="0"/>
              </a:rPr>
              <a:t>Le promoteur choisit l'État membre déclarant ("RMS") (mais cela fait l'objet de discussions entre les MSC), les autres États membres où l'essai est réalisé sont considérés comme des États membres concernés ("MSC").</a:t>
            </a:r>
          </a:p>
          <a:p>
            <a:pPr marL="285750" marR="0" indent="-285750" algn="l">
              <a:buFont typeface="Courier New" panose="02070309020205020404" pitchFamily="49" charset="0"/>
              <a:buChar char="o"/>
            </a:pPr>
            <a:r>
              <a:rPr lang="fr-FR" sz="1800" i="0" u="none" strike="noStrike" baseline="0" dirty="0">
                <a:solidFill>
                  <a:schemeClr val="tx1"/>
                </a:solidFill>
                <a:latin typeface="Arial" panose="020B0604020202020204" pitchFamily="34" charset="0"/>
              </a:rPr>
              <a:t>Répartition de </a:t>
            </a:r>
            <a:r>
              <a:rPr lang="fr-FR" sz="1800" b="1" i="0" u="none" strike="noStrike" baseline="0" dirty="0">
                <a:solidFill>
                  <a:schemeClr val="tx1"/>
                </a:solidFill>
                <a:latin typeface="Arial" panose="020B0604020202020204" pitchFamily="34" charset="0"/>
              </a:rPr>
              <a:t>l'évaluation</a:t>
            </a:r>
            <a:r>
              <a:rPr lang="fr-FR" sz="1800" i="0" u="none" strike="noStrike" baseline="0" dirty="0">
                <a:solidFill>
                  <a:schemeClr val="tx1"/>
                </a:solidFill>
                <a:latin typeface="Arial" panose="020B0604020202020204" pitchFamily="34" charset="0"/>
              </a:rPr>
              <a:t> :</a:t>
            </a:r>
          </a:p>
          <a:p>
            <a:pPr marL="285750" marR="0" indent="-285750" algn="l">
              <a:buFont typeface="Courier New" panose="02070309020205020404" pitchFamily="49" charset="0"/>
              <a:buChar char="o"/>
            </a:pPr>
            <a:r>
              <a:rPr lang="fr-FR" sz="1800" i="0" u="sng" strike="noStrike" baseline="0" dirty="0">
                <a:solidFill>
                  <a:schemeClr val="tx1"/>
                </a:solidFill>
                <a:latin typeface="Arial" panose="020B0604020202020204" pitchFamily="34" charset="0"/>
              </a:rPr>
              <a:t>Partie I (scientifique) </a:t>
            </a:r>
            <a:r>
              <a:rPr lang="fr-FR" sz="1800" i="0" u="none" strike="noStrike" baseline="0" dirty="0">
                <a:solidFill>
                  <a:schemeClr val="tx1"/>
                </a:solidFill>
                <a:latin typeface="Arial" panose="020B0604020202020204" pitchFamily="34" charset="0"/>
              </a:rPr>
              <a:t>: 1 RMS, tous les autres MSC participent (évaluation coordonnée – essai, produit, protocole)</a:t>
            </a:r>
          </a:p>
          <a:p>
            <a:pPr marL="285750" marR="0" indent="-285750" algn="l">
              <a:buFont typeface="Courier New" panose="02070309020205020404" pitchFamily="49" charset="0"/>
              <a:buChar char="o"/>
            </a:pPr>
            <a:r>
              <a:rPr lang="fr-BE" sz="1800" i="0" u="sng" strike="noStrike" baseline="0" dirty="0">
                <a:solidFill>
                  <a:schemeClr val="tx1"/>
                </a:solidFill>
                <a:latin typeface="Arial" panose="020B0604020202020204" pitchFamily="34" charset="0"/>
              </a:rPr>
              <a:t>Partie II (éthique):</a:t>
            </a:r>
            <a:r>
              <a:rPr lang="fr-BE" sz="1800" i="0" strike="noStrike" baseline="0" dirty="0">
                <a:solidFill>
                  <a:schemeClr val="tx1"/>
                </a:solidFill>
                <a:latin typeface="Arial" panose="020B0604020202020204" pitchFamily="34" charset="0"/>
              </a:rPr>
              <a:t> </a:t>
            </a:r>
            <a:r>
              <a:rPr lang="fr-BE" sz="1800" i="0" u="none" strike="noStrike" baseline="0" dirty="0">
                <a:solidFill>
                  <a:schemeClr val="tx1"/>
                </a:solidFill>
                <a:latin typeface="Arial" panose="020B0604020202020204" pitchFamily="34" charset="0"/>
              </a:rPr>
              <a:t>procédure nationale </a:t>
            </a:r>
            <a:endParaRPr lang="nl-NL" sz="1800" b="0" i="0" u="none" strike="noStrike" baseline="0" dirty="0">
              <a:solidFill>
                <a:schemeClr val="tx1"/>
              </a:solidFill>
              <a:latin typeface="Arial" panose="020B0604020202020204" pitchFamily="34" charset="0"/>
            </a:endParaRPr>
          </a:p>
          <a:p>
            <a:pPr algn="ctr"/>
            <a:endParaRPr lang="nl-NL" sz="1400" dirty="0">
              <a:solidFill>
                <a:schemeClr val="tx1"/>
              </a:solidFill>
            </a:endParaRPr>
          </a:p>
        </p:txBody>
      </p:sp>
    </p:spTree>
    <p:extLst>
      <p:ext uri="{BB962C8B-B14F-4D97-AF65-F5344CB8AC3E}">
        <p14:creationId xmlns:p14="http://schemas.microsoft.com/office/powerpoint/2010/main" val="20703547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B267FBF-0D5A-46A2-8585-0CCBA7623620}"/>
              </a:ext>
            </a:extLst>
          </p:cNvPr>
          <p:cNvSpPr>
            <a:spLocks noGrp="1"/>
          </p:cNvSpPr>
          <p:nvPr>
            <p:ph type="dt" sz="half" idx="10"/>
          </p:nvPr>
        </p:nvSpPr>
        <p:spPr/>
        <p:txBody>
          <a:bodyPr/>
          <a:lstStyle/>
          <a:p>
            <a:r>
              <a:rPr lang="en-US"/>
              <a:t>19 octobre 2022</a:t>
            </a:r>
            <a:endParaRPr lang="en-GB" dirty="0"/>
          </a:p>
        </p:txBody>
      </p:sp>
      <p:sp>
        <p:nvSpPr>
          <p:cNvPr id="3" name="Rectangle: Rounded Corners 2">
            <a:extLst>
              <a:ext uri="{FF2B5EF4-FFF2-40B4-BE49-F238E27FC236}">
                <a16:creationId xmlns:a16="http://schemas.microsoft.com/office/drawing/2014/main" id="{156051CA-8D5A-49CB-B17F-D1C14C00A047}"/>
              </a:ext>
            </a:extLst>
          </p:cNvPr>
          <p:cNvSpPr/>
          <p:nvPr/>
        </p:nvSpPr>
        <p:spPr>
          <a:xfrm>
            <a:off x="3809646" y="320578"/>
            <a:ext cx="4061983" cy="2764076"/>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r>
              <a:rPr lang="fr-FR" sz="1400" b="1" dirty="0">
                <a:solidFill>
                  <a:schemeClr val="tx1"/>
                </a:solidFill>
              </a:rPr>
              <a:t>Partie I : Evaluation conjointe </a:t>
            </a:r>
            <a:r>
              <a:rPr lang="fr-FR" sz="1400" dirty="0">
                <a:solidFill>
                  <a:schemeClr val="tx1"/>
                </a:solidFill>
              </a:rPr>
              <a:t>coordonnée par RMS</a:t>
            </a:r>
            <a:r>
              <a:rPr lang="fr-FR" sz="1400" b="1" dirty="0">
                <a:solidFill>
                  <a:schemeClr val="tx1"/>
                </a:solidFill>
              </a:rPr>
              <a:t> </a:t>
            </a:r>
            <a:r>
              <a:rPr lang="fr-FR" sz="1400" b="1" dirty="0">
                <a:solidFill>
                  <a:srgbClr val="FF0000"/>
                </a:solidFill>
              </a:rPr>
              <a:t>(45 j +31 j)</a:t>
            </a:r>
          </a:p>
          <a:p>
            <a:pPr marL="285750" indent="-285750">
              <a:buFont typeface="Arial" panose="020B0604020202020204" pitchFamily="34" charset="0"/>
              <a:buChar char="•"/>
            </a:pPr>
            <a:r>
              <a:rPr lang="fr-FR" sz="1400" dirty="0">
                <a:solidFill>
                  <a:schemeClr val="tx1"/>
                </a:solidFill>
              </a:rPr>
              <a:t>Essai à faible niveau interventionnel  </a:t>
            </a:r>
          </a:p>
          <a:p>
            <a:pPr marL="285750" indent="-285750">
              <a:buFont typeface="Arial" panose="020B0604020202020204" pitchFamily="34" charset="0"/>
              <a:buChar char="•"/>
            </a:pPr>
            <a:r>
              <a:rPr lang="fr-FR" sz="1400" dirty="0">
                <a:solidFill>
                  <a:schemeClr val="tx1"/>
                </a:solidFill>
              </a:rPr>
              <a:t>Évaluation des bénéfices/risques</a:t>
            </a:r>
          </a:p>
          <a:p>
            <a:pPr marL="285750" indent="-285750">
              <a:buFont typeface="Arial" panose="020B0604020202020204" pitchFamily="34" charset="0"/>
              <a:buChar char="•"/>
            </a:pPr>
            <a:r>
              <a:rPr lang="fr-FR" sz="1400" dirty="0">
                <a:solidFill>
                  <a:schemeClr val="tx1"/>
                </a:solidFill>
              </a:rPr>
              <a:t>CMC</a:t>
            </a:r>
          </a:p>
          <a:p>
            <a:pPr marL="285750" indent="-285750">
              <a:buFont typeface="Arial" panose="020B0604020202020204" pitchFamily="34" charset="0"/>
              <a:buChar char="•"/>
            </a:pPr>
            <a:r>
              <a:rPr lang="fr-FR" sz="1400" dirty="0">
                <a:solidFill>
                  <a:schemeClr val="tx1"/>
                </a:solidFill>
              </a:rPr>
              <a:t>Étiquetage IMP</a:t>
            </a:r>
          </a:p>
          <a:p>
            <a:pPr marL="285750" indent="-285750">
              <a:buFont typeface="Arial" panose="020B0604020202020204" pitchFamily="34" charset="0"/>
              <a:buChar char="•"/>
            </a:pPr>
            <a:r>
              <a:rPr lang="fr-FR" sz="1400" dirty="0">
                <a:solidFill>
                  <a:schemeClr val="tx1"/>
                </a:solidFill>
              </a:rPr>
              <a:t>Brochure de l'investigateur</a:t>
            </a:r>
          </a:p>
          <a:p>
            <a:pPr marL="285750" indent="-285750">
              <a:buFont typeface="Arial" panose="020B0604020202020204" pitchFamily="34" charset="0"/>
              <a:buChar char="•"/>
            </a:pPr>
            <a:r>
              <a:rPr lang="fr-FR" sz="1400" dirty="0">
                <a:solidFill>
                  <a:schemeClr val="tx1"/>
                </a:solidFill>
              </a:rPr>
              <a:t>Rapport d'évaluation (AR)</a:t>
            </a:r>
            <a:endParaRPr lang="en-US" sz="1400" dirty="0">
              <a:solidFill>
                <a:schemeClr val="tx1"/>
              </a:solidFill>
            </a:endParaRPr>
          </a:p>
        </p:txBody>
      </p:sp>
      <p:sp>
        <p:nvSpPr>
          <p:cNvPr id="7" name="Rectangle: Rounded Corners 6">
            <a:extLst>
              <a:ext uri="{FF2B5EF4-FFF2-40B4-BE49-F238E27FC236}">
                <a16:creationId xmlns:a16="http://schemas.microsoft.com/office/drawing/2014/main" id="{16E63667-733A-4D3F-9774-265480D8123F}"/>
              </a:ext>
            </a:extLst>
          </p:cNvPr>
          <p:cNvSpPr/>
          <p:nvPr/>
        </p:nvSpPr>
        <p:spPr>
          <a:xfrm>
            <a:off x="1293190" y="709579"/>
            <a:ext cx="1944546" cy="1472878"/>
          </a:xfrm>
          <a:prstGeom prst="roundRect">
            <a:avLst/>
          </a:prstGeom>
          <a:solidFill>
            <a:srgbClr val="F6E1D9"/>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r>
              <a:rPr lang="fr-FR" sz="1400" dirty="0">
                <a:solidFill>
                  <a:schemeClr val="tx1"/>
                </a:solidFill>
              </a:rPr>
              <a:t>Soumission de la CTA à tous les MSC via le portail de l'UE</a:t>
            </a:r>
          </a:p>
        </p:txBody>
      </p:sp>
      <p:sp>
        <p:nvSpPr>
          <p:cNvPr id="9" name="Rectangle: Rounded Corners 8">
            <a:extLst>
              <a:ext uri="{FF2B5EF4-FFF2-40B4-BE49-F238E27FC236}">
                <a16:creationId xmlns:a16="http://schemas.microsoft.com/office/drawing/2014/main" id="{666C3539-C76C-45BE-8D12-B8DCA03925AB}"/>
              </a:ext>
            </a:extLst>
          </p:cNvPr>
          <p:cNvSpPr/>
          <p:nvPr/>
        </p:nvSpPr>
        <p:spPr>
          <a:xfrm>
            <a:off x="1293190" y="2711999"/>
            <a:ext cx="1944546" cy="1472878"/>
          </a:xfrm>
          <a:prstGeom prst="roundRect">
            <a:avLst/>
          </a:prstGeom>
          <a:solidFill>
            <a:srgbClr val="B2E4DC"/>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r>
              <a:rPr lang="fr-FR" sz="1400" dirty="0">
                <a:solidFill>
                  <a:schemeClr val="tx1"/>
                </a:solidFill>
              </a:rPr>
              <a:t>Détermination du RMS + validation de la CTA </a:t>
            </a:r>
            <a:r>
              <a:rPr lang="fr-FR" sz="1400" dirty="0">
                <a:solidFill>
                  <a:srgbClr val="FF0000"/>
                </a:solidFill>
              </a:rPr>
              <a:t>(10 j)</a:t>
            </a:r>
          </a:p>
        </p:txBody>
      </p:sp>
      <p:sp>
        <p:nvSpPr>
          <p:cNvPr id="10" name="Rectangle: Rounded Corners 9">
            <a:extLst>
              <a:ext uri="{FF2B5EF4-FFF2-40B4-BE49-F238E27FC236}">
                <a16:creationId xmlns:a16="http://schemas.microsoft.com/office/drawing/2014/main" id="{0C834139-D7A8-4E8E-9937-E4B59C9E87F7}"/>
              </a:ext>
            </a:extLst>
          </p:cNvPr>
          <p:cNvSpPr/>
          <p:nvPr/>
        </p:nvSpPr>
        <p:spPr>
          <a:xfrm>
            <a:off x="8356481" y="2633780"/>
            <a:ext cx="1616178" cy="1832108"/>
          </a:xfrm>
          <a:prstGeom prst="roundRect">
            <a:avLst/>
          </a:prstGeom>
          <a:solidFill>
            <a:srgbClr val="9FDDD3"/>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r>
              <a:rPr lang="en-US" sz="1400" b="1" dirty="0">
                <a:solidFill>
                  <a:schemeClr val="tx1"/>
                </a:solidFill>
              </a:rPr>
              <a:t>Décision</a:t>
            </a:r>
            <a:r>
              <a:rPr lang="en-US" sz="1400" dirty="0">
                <a:solidFill>
                  <a:schemeClr val="tx1"/>
                </a:solidFill>
              </a:rPr>
              <a:t> (</a:t>
            </a:r>
            <a:r>
              <a:rPr lang="en-US" sz="1400" dirty="0">
                <a:solidFill>
                  <a:srgbClr val="FF0000"/>
                </a:solidFill>
              </a:rPr>
              <a:t>5 j)</a:t>
            </a:r>
          </a:p>
        </p:txBody>
      </p:sp>
      <p:sp>
        <p:nvSpPr>
          <p:cNvPr id="11" name="Rectangle: Rounded Corners 10">
            <a:extLst>
              <a:ext uri="{FF2B5EF4-FFF2-40B4-BE49-F238E27FC236}">
                <a16:creationId xmlns:a16="http://schemas.microsoft.com/office/drawing/2014/main" id="{62E6CE6E-095A-4D20-AFC9-0A1F74FFD6CD}"/>
              </a:ext>
            </a:extLst>
          </p:cNvPr>
          <p:cNvSpPr/>
          <p:nvPr/>
        </p:nvSpPr>
        <p:spPr>
          <a:xfrm>
            <a:off x="3891436" y="3590470"/>
            <a:ext cx="3971079" cy="2946952"/>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r>
              <a:rPr lang="fr-FR" sz="1400" b="1" dirty="0">
                <a:solidFill>
                  <a:schemeClr val="tx1"/>
                </a:solidFill>
              </a:rPr>
              <a:t>Partie II : Évaluation nationale </a:t>
            </a:r>
            <a:r>
              <a:rPr lang="fr-FR" sz="1400" dirty="0">
                <a:solidFill>
                  <a:schemeClr val="tx1"/>
                </a:solidFill>
              </a:rPr>
              <a:t>par chaque MCS </a:t>
            </a:r>
            <a:r>
              <a:rPr lang="fr-FR" sz="1400" b="1" dirty="0">
                <a:solidFill>
                  <a:srgbClr val="FF0000"/>
                </a:solidFill>
              </a:rPr>
              <a:t>(45 j + 31 j)</a:t>
            </a:r>
          </a:p>
          <a:p>
            <a:pPr marL="285750" indent="-285750">
              <a:buFont typeface="Arial" panose="020B0604020202020204" pitchFamily="34" charset="0"/>
              <a:buChar char="•"/>
            </a:pPr>
            <a:r>
              <a:rPr lang="fr-FR" sz="1400" dirty="0">
                <a:solidFill>
                  <a:schemeClr val="tx1"/>
                </a:solidFill>
              </a:rPr>
              <a:t>Consentements éclairés</a:t>
            </a:r>
          </a:p>
          <a:p>
            <a:pPr marL="285750" indent="-285750">
              <a:buFont typeface="Arial" panose="020B0604020202020204" pitchFamily="34" charset="0"/>
              <a:buChar char="•"/>
            </a:pPr>
            <a:r>
              <a:rPr lang="fr-FR" sz="1400" dirty="0">
                <a:solidFill>
                  <a:schemeClr val="tx1"/>
                </a:solidFill>
              </a:rPr>
              <a:t>Adéquation des centres d'essais et des investigateurs</a:t>
            </a:r>
          </a:p>
          <a:p>
            <a:pPr marL="285750" indent="-285750">
              <a:buFont typeface="Arial" panose="020B0604020202020204" pitchFamily="34" charset="0"/>
              <a:buChar char="•"/>
            </a:pPr>
            <a:r>
              <a:rPr lang="fr-FR" sz="1400" dirty="0">
                <a:solidFill>
                  <a:schemeClr val="tx1"/>
                </a:solidFill>
              </a:rPr>
              <a:t>Protection des données </a:t>
            </a:r>
          </a:p>
          <a:p>
            <a:pPr marL="285750" indent="-285750">
              <a:buFont typeface="Arial" panose="020B0604020202020204" pitchFamily="34" charset="0"/>
              <a:buChar char="•"/>
            </a:pPr>
            <a:r>
              <a:rPr lang="fr-FR" sz="1400" dirty="0">
                <a:solidFill>
                  <a:schemeClr val="tx1"/>
                </a:solidFill>
              </a:rPr>
              <a:t>Dommages/indemnisation financière</a:t>
            </a:r>
          </a:p>
          <a:p>
            <a:pPr marL="285750" indent="-285750">
              <a:buFont typeface="Arial" panose="020B0604020202020204" pitchFamily="34" charset="0"/>
              <a:buChar char="•"/>
            </a:pPr>
            <a:r>
              <a:rPr lang="fr-FR" sz="1400" dirty="0" err="1">
                <a:solidFill>
                  <a:schemeClr val="tx1"/>
                </a:solidFill>
              </a:rPr>
              <a:t>Biobanques</a:t>
            </a:r>
            <a:endParaRPr lang="fr-FR" sz="1400" dirty="0">
              <a:solidFill>
                <a:schemeClr val="tx1"/>
              </a:solidFill>
            </a:endParaRPr>
          </a:p>
          <a:p>
            <a:pPr marL="285750" indent="-285750">
              <a:buFont typeface="Arial" panose="020B0604020202020204" pitchFamily="34" charset="0"/>
              <a:buChar char="•"/>
            </a:pPr>
            <a:r>
              <a:rPr lang="fr-FR" sz="1400" dirty="0">
                <a:solidFill>
                  <a:schemeClr val="tx1"/>
                </a:solidFill>
              </a:rPr>
              <a:t>Activités de recrutement</a:t>
            </a:r>
            <a:endParaRPr lang="en-US" sz="1400" dirty="0">
              <a:solidFill>
                <a:schemeClr val="tx1"/>
              </a:solidFill>
            </a:endParaRPr>
          </a:p>
        </p:txBody>
      </p:sp>
      <p:pic>
        <p:nvPicPr>
          <p:cNvPr id="12" name="Picture 11">
            <a:extLst>
              <a:ext uri="{FF2B5EF4-FFF2-40B4-BE49-F238E27FC236}">
                <a16:creationId xmlns:a16="http://schemas.microsoft.com/office/drawing/2014/main" id="{70284AE1-8897-449C-8F0D-9665EEB3AFD8}"/>
              </a:ext>
            </a:extLst>
          </p:cNvPr>
          <p:cNvPicPr>
            <a:picLocks noChangeAspect="1"/>
          </p:cNvPicPr>
          <p:nvPr/>
        </p:nvPicPr>
        <p:blipFill>
          <a:blip r:embed="rId3"/>
          <a:stretch>
            <a:fillRect/>
          </a:stretch>
        </p:blipFill>
        <p:spPr>
          <a:xfrm>
            <a:off x="10182573" y="2617325"/>
            <a:ext cx="1814450" cy="1832108"/>
          </a:xfrm>
          <a:prstGeom prst="rect">
            <a:avLst/>
          </a:prstGeom>
        </p:spPr>
      </p:pic>
      <p:sp>
        <p:nvSpPr>
          <p:cNvPr id="13" name="Left Brace 12">
            <a:extLst>
              <a:ext uri="{FF2B5EF4-FFF2-40B4-BE49-F238E27FC236}">
                <a16:creationId xmlns:a16="http://schemas.microsoft.com/office/drawing/2014/main" id="{50B7183E-424F-4DF6-B151-E030857A566A}"/>
              </a:ext>
            </a:extLst>
          </p:cNvPr>
          <p:cNvSpPr/>
          <p:nvPr/>
        </p:nvSpPr>
        <p:spPr>
          <a:xfrm>
            <a:off x="3264061" y="2106592"/>
            <a:ext cx="545585" cy="2853574"/>
          </a:xfrm>
          <a:prstGeom prst="leftBrace">
            <a:avLst/>
          </a:prstGeom>
          <a:ln w="158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Right Brace 13">
            <a:extLst>
              <a:ext uri="{FF2B5EF4-FFF2-40B4-BE49-F238E27FC236}">
                <a16:creationId xmlns:a16="http://schemas.microsoft.com/office/drawing/2014/main" id="{2F57C7C9-0FAB-4769-85D9-3714916DD4D3}"/>
              </a:ext>
            </a:extLst>
          </p:cNvPr>
          <p:cNvSpPr/>
          <p:nvPr/>
        </p:nvSpPr>
        <p:spPr>
          <a:xfrm>
            <a:off x="7871629" y="2106592"/>
            <a:ext cx="484852" cy="2853574"/>
          </a:xfrm>
          <a:prstGeom prst="rightBrace">
            <a:avLst/>
          </a:prstGeom>
          <a:ln w="158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6" name="Straight Arrow Connector 15">
            <a:extLst>
              <a:ext uri="{FF2B5EF4-FFF2-40B4-BE49-F238E27FC236}">
                <a16:creationId xmlns:a16="http://schemas.microsoft.com/office/drawing/2014/main" id="{3E4AD43F-03F5-4E07-A13B-FEB68E18C951}"/>
              </a:ext>
            </a:extLst>
          </p:cNvPr>
          <p:cNvCxnSpPr>
            <a:stCxn id="7" idx="2"/>
            <a:endCxn id="9" idx="0"/>
          </p:cNvCxnSpPr>
          <p:nvPr/>
        </p:nvCxnSpPr>
        <p:spPr>
          <a:xfrm>
            <a:off x="2265463" y="2182457"/>
            <a:ext cx="0" cy="529542"/>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58F801F-AB35-4FE3-B5CA-78847493D825}"/>
              </a:ext>
            </a:extLst>
          </p:cNvPr>
          <p:cNvCxnSpPr>
            <a:stCxn id="10" idx="3"/>
            <a:endCxn id="12" idx="1"/>
          </p:cNvCxnSpPr>
          <p:nvPr/>
        </p:nvCxnSpPr>
        <p:spPr>
          <a:xfrm flipV="1">
            <a:off x="9972659" y="3533379"/>
            <a:ext cx="209914" cy="16455"/>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5069119A-E91A-46F9-BE34-10294EECD5B3}"/>
              </a:ext>
            </a:extLst>
          </p:cNvPr>
          <p:cNvSpPr txBox="1"/>
          <p:nvPr/>
        </p:nvSpPr>
        <p:spPr>
          <a:xfrm>
            <a:off x="10277698" y="2873198"/>
            <a:ext cx="1624200" cy="1320361"/>
          </a:xfrm>
          <a:prstGeom prst="rect">
            <a:avLst/>
          </a:prstGeom>
          <a:noFill/>
        </p:spPr>
        <p:txBody>
          <a:bodyPr wrap="square">
            <a:spAutoFit/>
          </a:bodyPr>
          <a:lstStyle/>
          <a:p>
            <a:r>
              <a:rPr lang="fr-FR" sz="1400" dirty="0">
                <a:solidFill>
                  <a:schemeClr val="tx1"/>
                </a:solidFill>
              </a:rPr>
              <a:t>Notification du promoteur sur la décision nationale du CSM (partie I + II) via le portail de l'UE</a:t>
            </a:r>
            <a:endParaRPr lang="en-US" sz="1400" dirty="0">
              <a:solidFill>
                <a:schemeClr val="tx1"/>
              </a:solidFill>
            </a:endParaRPr>
          </a:p>
        </p:txBody>
      </p:sp>
      <p:sp>
        <p:nvSpPr>
          <p:cNvPr id="23" name="TextBox 22">
            <a:extLst>
              <a:ext uri="{FF2B5EF4-FFF2-40B4-BE49-F238E27FC236}">
                <a16:creationId xmlns:a16="http://schemas.microsoft.com/office/drawing/2014/main" id="{E59C1546-8279-43B5-84D2-DC6E4E478D93}"/>
              </a:ext>
            </a:extLst>
          </p:cNvPr>
          <p:cNvSpPr txBox="1"/>
          <p:nvPr/>
        </p:nvSpPr>
        <p:spPr>
          <a:xfrm>
            <a:off x="4305658" y="3162128"/>
            <a:ext cx="3171023" cy="175433"/>
          </a:xfrm>
          <a:prstGeom prst="rect">
            <a:avLst/>
          </a:prstGeom>
          <a:noFill/>
        </p:spPr>
        <p:txBody>
          <a:bodyPr wrap="square" lIns="0" tIns="0" rIns="0" bIns="0" rtlCol="0">
            <a:spAutoFit/>
          </a:bodyPr>
          <a:lstStyle/>
          <a:p>
            <a:pPr algn="l"/>
            <a:r>
              <a:rPr lang="en-US" sz="1200" dirty="0">
                <a:solidFill>
                  <a:srgbClr val="FF0000"/>
                </a:solidFill>
              </a:rPr>
              <a:t>26 j </a:t>
            </a:r>
            <a:r>
              <a:rPr lang="en-US" sz="1200" dirty="0"/>
              <a:t>= RMS   / </a:t>
            </a:r>
            <a:r>
              <a:rPr lang="en-US" sz="1200" dirty="0">
                <a:solidFill>
                  <a:srgbClr val="FF0000"/>
                </a:solidFill>
              </a:rPr>
              <a:t>12 j </a:t>
            </a:r>
            <a:r>
              <a:rPr lang="en-US" sz="1200" dirty="0"/>
              <a:t>= MSC   / </a:t>
            </a:r>
            <a:r>
              <a:rPr lang="en-US" sz="1200" dirty="0">
                <a:solidFill>
                  <a:srgbClr val="FF0000"/>
                </a:solidFill>
              </a:rPr>
              <a:t>7 j </a:t>
            </a:r>
            <a:r>
              <a:rPr lang="en-US" sz="1200" dirty="0"/>
              <a:t>= RMS</a:t>
            </a:r>
          </a:p>
        </p:txBody>
      </p:sp>
      <p:sp>
        <p:nvSpPr>
          <p:cNvPr id="24" name="TextBox 23">
            <a:extLst>
              <a:ext uri="{FF2B5EF4-FFF2-40B4-BE49-F238E27FC236}">
                <a16:creationId xmlns:a16="http://schemas.microsoft.com/office/drawing/2014/main" id="{4B9F0783-902E-4F1C-9FD4-63D2783AE3CA}"/>
              </a:ext>
            </a:extLst>
          </p:cNvPr>
          <p:cNvSpPr txBox="1"/>
          <p:nvPr/>
        </p:nvSpPr>
        <p:spPr>
          <a:xfrm>
            <a:off x="8417214" y="421898"/>
            <a:ext cx="3530719" cy="1637371"/>
          </a:xfrm>
          <a:prstGeom prst="rect">
            <a:avLst/>
          </a:prstGeom>
          <a:noFill/>
        </p:spPr>
        <p:txBody>
          <a:bodyPr wrap="square" lIns="0" tIns="0" rIns="0" bIns="0" rtlCol="0">
            <a:spAutoFit/>
          </a:bodyPr>
          <a:lstStyle/>
          <a:p>
            <a:pPr algn="l"/>
            <a:r>
              <a:rPr lang="fr-FR" sz="2800" i="1" dirty="0">
                <a:latin typeface="+mj-lt"/>
              </a:rPr>
              <a:t>Procedure d'autorisation (CTA) avec le nouveau règlement</a:t>
            </a:r>
          </a:p>
        </p:txBody>
      </p:sp>
    </p:spTree>
    <p:extLst>
      <p:ext uri="{BB962C8B-B14F-4D97-AF65-F5344CB8AC3E}">
        <p14:creationId xmlns:p14="http://schemas.microsoft.com/office/powerpoint/2010/main" val="41280600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F734A3E-E361-467D-B1B3-6ABAFD9358E7}"/>
              </a:ext>
            </a:extLst>
          </p:cNvPr>
          <p:cNvSpPr>
            <a:spLocks noGrp="1"/>
          </p:cNvSpPr>
          <p:nvPr>
            <p:ph type="dt" sz="half" idx="10"/>
          </p:nvPr>
        </p:nvSpPr>
        <p:spPr/>
        <p:txBody>
          <a:bodyPr/>
          <a:lstStyle/>
          <a:p>
            <a:r>
              <a:rPr lang="en-US"/>
              <a:t>19 octobre 2022</a:t>
            </a:r>
            <a:endParaRPr lang="en-GB" dirty="0"/>
          </a:p>
        </p:txBody>
      </p:sp>
      <p:sp>
        <p:nvSpPr>
          <p:cNvPr id="3" name="Title 2">
            <a:extLst>
              <a:ext uri="{FF2B5EF4-FFF2-40B4-BE49-F238E27FC236}">
                <a16:creationId xmlns:a16="http://schemas.microsoft.com/office/drawing/2014/main" id="{71AFDC06-3455-4085-B867-A022700F5764}"/>
              </a:ext>
            </a:extLst>
          </p:cNvPr>
          <p:cNvSpPr>
            <a:spLocks noGrp="1"/>
          </p:cNvSpPr>
          <p:nvPr>
            <p:ph type="title"/>
          </p:nvPr>
        </p:nvSpPr>
        <p:spPr>
          <a:xfrm>
            <a:off x="524738" y="563941"/>
            <a:ext cx="8430892" cy="720000"/>
          </a:xfrm>
        </p:spPr>
        <p:txBody>
          <a:bodyPr/>
          <a:lstStyle/>
          <a:p>
            <a:r>
              <a:rPr lang="fr-FR" dirty="0"/>
              <a:t>Nouvelle procédure de soumission </a:t>
            </a:r>
          </a:p>
        </p:txBody>
      </p:sp>
      <p:sp>
        <p:nvSpPr>
          <p:cNvPr id="7" name="TextBox 6">
            <a:extLst>
              <a:ext uri="{FF2B5EF4-FFF2-40B4-BE49-F238E27FC236}">
                <a16:creationId xmlns:a16="http://schemas.microsoft.com/office/drawing/2014/main" id="{13A87FED-95DC-4ECF-A6E4-3CEF9AA5BC29}"/>
              </a:ext>
            </a:extLst>
          </p:cNvPr>
          <p:cNvSpPr txBox="1"/>
          <p:nvPr/>
        </p:nvSpPr>
        <p:spPr>
          <a:xfrm>
            <a:off x="0" y="923941"/>
            <a:ext cx="9494688" cy="4773614"/>
          </a:xfrm>
          <a:prstGeom prst="rect">
            <a:avLst/>
          </a:prstGeom>
          <a:noFill/>
        </p:spPr>
        <p:txBody>
          <a:bodyPr wrap="square">
            <a:spAutoFit/>
          </a:bodyPr>
          <a:lstStyle/>
          <a:p>
            <a:pPr algn="l"/>
            <a:endParaRPr lang="nl-NL" sz="1400" b="0" i="0" u="none" strike="noStrike" baseline="0" dirty="0">
              <a:solidFill>
                <a:srgbClr val="000000"/>
              </a:solidFill>
              <a:latin typeface="Arial" panose="020B0604020202020204" pitchFamily="34" charset="0"/>
            </a:endParaRPr>
          </a:p>
          <a:p>
            <a:endParaRPr lang="nl-NL" sz="1400" b="0" i="0" u="none" strike="noStrike" baseline="0" dirty="0">
              <a:latin typeface="Arial" panose="020B0604020202020204" pitchFamily="34" charset="0"/>
            </a:endParaRPr>
          </a:p>
          <a:p>
            <a:pPr marL="285750" marR="0" indent="-285750" algn="l">
              <a:buFont typeface="Courier New" panose="02070309020205020404" pitchFamily="49" charset="0"/>
              <a:buChar char="o"/>
            </a:pPr>
            <a:endParaRPr lang="fr-FR" sz="1600" b="1" i="0" u="none" strike="noStrike" baseline="0" dirty="0">
              <a:latin typeface="Arial" panose="020B0604020202020204" pitchFamily="34" charset="0"/>
            </a:endParaRPr>
          </a:p>
          <a:p>
            <a:pPr marL="285750" marR="0" indent="-285750" algn="l">
              <a:buFont typeface="Courier New" panose="02070309020205020404" pitchFamily="49" charset="0"/>
              <a:buChar char="o"/>
            </a:pPr>
            <a:r>
              <a:rPr lang="fr-FR" sz="1600" b="1" i="0" u="none" strike="noStrike" baseline="0" dirty="0">
                <a:latin typeface="Arial" panose="020B0604020202020204" pitchFamily="34" charset="0"/>
              </a:rPr>
              <a:t>Comité d'Ethique reste une compétence nationale </a:t>
            </a:r>
            <a:r>
              <a:rPr lang="fr-FR" sz="1600" i="0" u="none" strike="noStrike" baseline="0" dirty="0">
                <a:latin typeface="Arial" panose="020B0604020202020204" pitchFamily="34" charset="0"/>
              </a:rPr>
              <a:t>(Rôle, compétences, composition) mais liés par les délais de la procédure CTR</a:t>
            </a:r>
            <a:endParaRPr lang="fr-FR" sz="1600" b="1" i="0" u="none" strike="noStrike" baseline="0" dirty="0">
              <a:latin typeface="Arial" panose="020B0604020202020204" pitchFamily="34" charset="0"/>
            </a:endParaRPr>
          </a:p>
          <a:p>
            <a:pPr marL="285750" marR="0" indent="-285750" algn="l">
              <a:buFont typeface="Courier New" panose="02070309020205020404" pitchFamily="49" charset="0"/>
              <a:buChar char="o"/>
            </a:pPr>
            <a:r>
              <a:rPr lang="fr-FR" sz="1600" b="1" i="0" u="none" strike="noStrike" baseline="0" dirty="0">
                <a:latin typeface="Arial" panose="020B0604020202020204" pitchFamily="34" charset="0"/>
              </a:rPr>
              <a:t>Les CSM ne peuvent être en désaccord </a:t>
            </a:r>
            <a:r>
              <a:rPr lang="fr-FR" sz="1600" b="0" i="0" u="none" strike="noStrike" baseline="0" dirty="0">
                <a:latin typeface="Arial" panose="020B0604020202020204" pitchFamily="34" charset="0"/>
              </a:rPr>
              <a:t>avec les conclusions de l'évaluation de la partie I que dans des cas limités : </a:t>
            </a:r>
          </a:p>
          <a:p>
            <a:pPr marL="645750" lvl="2" indent="-285750">
              <a:buFont typeface="Courier New" panose="02070309020205020404" pitchFamily="49" charset="0"/>
              <a:buChar char="o"/>
            </a:pPr>
            <a:r>
              <a:rPr lang="fr-FR" b="0" i="0" u="none" strike="noStrike" baseline="0" dirty="0">
                <a:latin typeface="Arial" panose="020B0604020202020204" pitchFamily="34" charset="0"/>
              </a:rPr>
              <a:t>Le sujet recevrait un traitement inférieur à celui de la pratique clinique normale des CSM.</a:t>
            </a:r>
          </a:p>
          <a:p>
            <a:pPr marL="645750" lvl="2" indent="-285750">
              <a:buFont typeface="Courier New" panose="02070309020205020404" pitchFamily="49" charset="0"/>
              <a:buChar char="o"/>
            </a:pPr>
            <a:r>
              <a:rPr lang="fr-FR" b="0" i="0" u="none" strike="noStrike" baseline="0" dirty="0">
                <a:latin typeface="Arial" panose="020B0604020202020204" pitchFamily="34" charset="0"/>
              </a:rPr>
              <a:t>Violation de la législation nationale sur les cellules, les abortifs, les substances narcotiques.</a:t>
            </a:r>
          </a:p>
          <a:p>
            <a:pPr marL="645750" lvl="2" indent="-285750">
              <a:buFont typeface="Courier New" panose="02070309020205020404" pitchFamily="49" charset="0"/>
              <a:buChar char="o"/>
            </a:pPr>
            <a:r>
              <a:rPr lang="fr-FR" b="0" i="0" u="none" strike="noStrike" baseline="0" dirty="0">
                <a:latin typeface="Arial" panose="020B0604020202020204" pitchFamily="34" charset="0"/>
              </a:rPr>
              <a:t>Sécurité du sujet et fiabilité et robustesse des données</a:t>
            </a:r>
          </a:p>
          <a:p>
            <a:pPr marL="285750" marR="0" indent="-285750" algn="l">
              <a:buFont typeface="Courier New" panose="02070309020205020404" pitchFamily="49" charset="0"/>
              <a:buChar char="o"/>
            </a:pPr>
            <a:r>
              <a:rPr lang="fr-FR" sz="1600" b="1" i="0" u="none" strike="noStrike" baseline="0" dirty="0">
                <a:latin typeface="Arial" panose="020B0604020202020204" pitchFamily="34" charset="0"/>
              </a:rPr>
              <a:t>Refus du RMS </a:t>
            </a:r>
            <a:r>
              <a:rPr lang="fr-FR" sz="1600" b="0" i="0" u="none" strike="noStrike" baseline="0" dirty="0">
                <a:latin typeface="Arial" panose="020B0604020202020204" pitchFamily="34" charset="0"/>
              </a:rPr>
              <a:t>est liant pour les MSC.</a:t>
            </a:r>
          </a:p>
          <a:p>
            <a:pPr marL="285750" marR="0" indent="-285750" algn="l">
              <a:buFont typeface="Courier New" panose="02070309020205020404" pitchFamily="49" charset="0"/>
              <a:buChar char="o"/>
            </a:pPr>
            <a:r>
              <a:rPr lang="fr-FR" sz="1600" b="0" i="0" u="none" strike="noStrike" baseline="0" dirty="0">
                <a:latin typeface="Arial" panose="020B0604020202020204" pitchFamily="34" charset="0"/>
              </a:rPr>
              <a:t>Un MSC peut </a:t>
            </a:r>
            <a:r>
              <a:rPr lang="fr-FR" sz="1600" b="1" i="0" u="none" strike="noStrike" baseline="0" dirty="0">
                <a:latin typeface="Arial" panose="020B0604020202020204" pitchFamily="34" charset="0"/>
              </a:rPr>
              <a:t>refuser</a:t>
            </a:r>
            <a:r>
              <a:rPr lang="fr-FR" sz="1600" b="0" i="0" u="none" strike="noStrike" baseline="0" dirty="0">
                <a:latin typeface="Arial" panose="020B0604020202020204" pitchFamily="34" charset="0"/>
              </a:rPr>
              <a:t> d'autoriser un essai lorsque :</a:t>
            </a:r>
          </a:p>
          <a:p>
            <a:pPr marL="645750" lvl="2" indent="-285750">
              <a:buFont typeface="Courier New" panose="02070309020205020404" pitchFamily="49" charset="0"/>
              <a:buChar char="o"/>
            </a:pPr>
            <a:r>
              <a:rPr lang="fr-FR" b="0" i="0" u="none" strike="noStrike" baseline="0" dirty="0">
                <a:latin typeface="Arial" panose="020B0604020202020204" pitchFamily="34" charset="0"/>
              </a:rPr>
              <a:t>Désaccord sur la partie I (scénarios limités)</a:t>
            </a:r>
          </a:p>
          <a:p>
            <a:pPr marL="645750" lvl="2" indent="-285750">
              <a:buFont typeface="Courier New" panose="02070309020205020404" pitchFamily="49" charset="0"/>
              <a:buChar char="o"/>
            </a:pPr>
            <a:r>
              <a:rPr lang="fr-FR" b="0" i="0" u="none" strike="noStrike" baseline="0" dirty="0">
                <a:latin typeface="Arial" panose="020B0604020202020204" pitchFamily="34" charset="0"/>
              </a:rPr>
              <a:t>Évaluation de la partie II</a:t>
            </a:r>
          </a:p>
          <a:p>
            <a:pPr marL="645750" lvl="2" indent="-285750">
              <a:buFont typeface="Courier New" panose="02070309020205020404" pitchFamily="49" charset="0"/>
              <a:buChar char="o"/>
            </a:pPr>
            <a:r>
              <a:rPr lang="fr-FR" b="0" i="0" u="none" strike="noStrike" baseline="0" dirty="0">
                <a:latin typeface="Arial" panose="020B0604020202020204" pitchFamily="34" charset="0"/>
              </a:rPr>
              <a:t>La CE nationale a émis un avis négatif Partie I et/ou Partie II</a:t>
            </a:r>
            <a:endParaRPr lang="nl-NL" b="0" i="0" u="none" strike="noStrike" baseline="0" dirty="0">
              <a:latin typeface="Arial" panose="020B0604020202020204" pitchFamily="34" charset="0"/>
            </a:endParaRPr>
          </a:p>
        </p:txBody>
      </p:sp>
    </p:spTree>
    <p:extLst>
      <p:ext uri="{BB962C8B-B14F-4D97-AF65-F5344CB8AC3E}">
        <p14:creationId xmlns:p14="http://schemas.microsoft.com/office/powerpoint/2010/main" val="28163874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7B65F74-4E5B-4FC5-848E-1F86D8400718}"/>
              </a:ext>
            </a:extLst>
          </p:cNvPr>
          <p:cNvSpPr>
            <a:spLocks noGrp="1"/>
          </p:cNvSpPr>
          <p:nvPr>
            <p:ph type="dt" sz="half" idx="10"/>
          </p:nvPr>
        </p:nvSpPr>
        <p:spPr/>
        <p:txBody>
          <a:bodyPr/>
          <a:lstStyle/>
          <a:p>
            <a:r>
              <a:rPr lang="en-US"/>
              <a:t>19 octobre 2022</a:t>
            </a:r>
            <a:endParaRPr lang="en-GB" dirty="0"/>
          </a:p>
        </p:txBody>
      </p:sp>
      <p:sp>
        <p:nvSpPr>
          <p:cNvPr id="22" name="Text Placeholder 21">
            <a:extLst>
              <a:ext uri="{FF2B5EF4-FFF2-40B4-BE49-F238E27FC236}">
                <a16:creationId xmlns:a16="http://schemas.microsoft.com/office/drawing/2014/main" id="{E3DF29EE-9AF2-445A-8786-AB16B2A1B565}"/>
              </a:ext>
            </a:extLst>
          </p:cNvPr>
          <p:cNvSpPr>
            <a:spLocks noGrp="1"/>
          </p:cNvSpPr>
          <p:nvPr>
            <p:ph type="body" sz="quarter" idx="12"/>
          </p:nvPr>
        </p:nvSpPr>
        <p:spPr>
          <a:xfrm>
            <a:off x="156753" y="2259874"/>
            <a:ext cx="5603966" cy="3230189"/>
          </a:xfrm>
        </p:spPr>
        <p:txBody>
          <a:bodyPr/>
          <a:lstStyle/>
          <a:p>
            <a:pPr marL="285750" indent="-285750">
              <a:buFont typeface="Courier New" panose="02070309020205020404" pitchFamily="49" charset="0"/>
              <a:buChar char="o"/>
            </a:pPr>
            <a:r>
              <a:rPr lang="fr-FR" sz="1600" b="1" i="0" u="none" strike="noStrike" baseline="0" dirty="0">
                <a:latin typeface="Arial" panose="020B0604020202020204" pitchFamily="34" charset="0"/>
              </a:rPr>
              <a:t>Délais stricts </a:t>
            </a:r>
            <a:r>
              <a:rPr lang="fr-FR" sz="1600" i="0" u="none" strike="noStrike" baseline="0" dirty="0">
                <a:latin typeface="Arial" panose="020B0604020202020204" pitchFamily="34" charset="0"/>
              </a:rPr>
              <a:t>: délai général de 60 jours pour l'autorisation</a:t>
            </a:r>
          </a:p>
          <a:p>
            <a:pPr marL="465750" lvl="1" indent="-285750">
              <a:buFont typeface="Courier New" panose="02070309020205020404" pitchFamily="49" charset="0"/>
              <a:buChar char="o"/>
            </a:pPr>
            <a:r>
              <a:rPr lang="fr-FR" i="0" u="none" strike="noStrike" baseline="0" dirty="0">
                <a:latin typeface="Arial" panose="020B0604020202020204" pitchFamily="34" charset="0"/>
              </a:rPr>
              <a:t>si aucune décision n'est prise dans les délais, </a:t>
            </a:r>
            <a:r>
              <a:rPr lang="fr-FR" b="1" i="0" u="none" strike="noStrike" baseline="0" dirty="0">
                <a:solidFill>
                  <a:srgbClr val="CB3665"/>
                </a:solidFill>
                <a:latin typeface="Arial" panose="020B0604020202020204" pitchFamily="34" charset="0"/>
              </a:rPr>
              <a:t>approbation tacite </a:t>
            </a:r>
            <a:r>
              <a:rPr lang="fr-FR" i="0" u="none" strike="noStrike" baseline="0" dirty="0">
                <a:latin typeface="Arial" panose="020B0604020202020204" pitchFamily="34" charset="0"/>
              </a:rPr>
              <a:t>: sécurité juridique accrue pour les promoteurs.</a:t>
            </a:r>
          </a:p>
          <a:p>
            <a:pPr marL="285750" indent="-285750">
              <a:buFont typeface="Courier New" panose="02070309020205020404" pitchFamily="49" charset="0"/>
              <a:buChar char="o"/>
            </a:pPr>
            <a:r>
              <a:rPr lang="fr-FR" sz="1600" i="0" u="none" strike="noStrike" baseline="0" dirty="0">
                <a:latin typeface="Arial" panose="020B0604020202020204" pitchFamily="34" charset="0"/>
              </a:rPr>
              <a:t>Autorisation valable </a:t>
            </a:r>
            <a:r>
              <a:rPr lang="fr-FR" sz="1600" b="1" i="0" u="none" strike="noStrike" baseline="0" dirty="0">
                <a:latin typeface="Arial" panose="020B0604020202020204" pitchFamily="34" charset="0"/>
              </a:rPr>
              <a:t>pendant 2 ans</a:t>
            </a:r>
          </a:p>
          <a:p>
            <a:pPr marL="285750" indent="-285750">
              <a:buFont typeface="Courier New" panose="02070309020205020404" pitchFamily="49" charset="0"/>
              <a:buChar char="o"/>
            </a:pPr>
            <a:r>
              <a:rPr lang="fr-FR" sz="1600" i="0" u="none" strike="noStrike" baseline="0" dirty="0">
                <a:latin typeface="Arial" panose="020B0604020202020204" pitchFamily="34" charset="0"/>
              </a:rPr>
              <a:t>Il est possible de soumettre une demande complète (parties I et II) à certains CSM et en même temps une demande limitée à la partie I à d'autres CSM.</a:t>
            </a:r>
          </a:p>
          <a:p>
            <a:pPr marL="285750" indent="-285750">
              <a:buFont typeface="Courier New" panose="02070309020205020404" pitchFamily="49" charset="0"/>
              <a:buChar char="o"/>
            </a:pPr>
            <a:r>
              <a:rPr lang="fr-FR" sz="1600" i="1" u="none" strike="noStrike" baseline="0" dirty="0">
                <a:latin typeface="Arial" panose="020B0604020202020204" pitchFamily="34" charset="0"/>
              </a:rPr>
              <a:t>Le promoteur peut commencer l'essai dans les CSM où des décisions positives ont été rendues sur les parties I et II. </a:t>
            </a:r>
          </a:p>
          <a:p>
            <a:endParaRPr lang="nl-NL" dirty="0"/>
          </a:p>
        </p:txBody>
      </p:sp>
      <p:sp>
        <p:nvSpPr>
          <p:cNvPr id="21" name="Title 20">
            <a:extLst>
              <a:ext uri="{FF2B5EF4-FFF2-40B4-BE49-F238E27FC236}">
                <a16:creationId xmlns:a16="http://schemas.microsoft.com/office/drawing/2014/main" id="{89C07CBA-12AE-457A-9BAA-C522ECDBA9B8}"/>
              </a:ext>
            </a:extLst>
          </p:cNvPr>
          <p:cNvSpPr>
            <a:spLocks noGrp="1"/>
          </p:cNvSpPr>
          <p:nvPr>
            <p:ph type="title"/>
          </p:nvPr>
        </p:nvSpPr>
        <p:spPr/>
        <p:txBody>
          <a:bodyPr/>
          <a:lstStyle/>
          <a:p>
            <a:r>
              <a:rPr lang="fr-FR" dirty="0"/>
              <a:t>Nouvelle procédure de soumission </a:t>
            </a:r>
            <a:endParaRPr lang="nl-NL" dirty="0"/>
          </a:p>
        </p:txBody>
      </p:sp>
      <p:sp>
        <p:nvSpPr>
          <p:cNvPr id="25" name="Rectangle: Rounded Corners 24">
            <a:extLst>
              <a:ext uri="{FF2B5EF4-FFF2-40B4-BE49-F238E27FC236}">
                <a16:creationId xmlns:a16="http://schemas.microsoft.com/office/drawing/2014/main" id="{3AED997D-6887-42FF-ABB7-3CECE8E9E7EA}"/>
              </a:ext>
            </a:extLst>
          </p:cNvPr>
          <p:cNvSpPr/>
          <p:nvPr/>
        </p:nvSpPr>
        <p:spPr>
          <a:xfrm>
            <a:off x="8229598" y="1386745"/>
            <a:ext cx="2090057" cy="65724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r>
              <a:rPr lang="fr-BE" sz="1400" b="1" dirty="0">
                <a:solidFill>
                  <a:schemeClr val="tx1"/>
                </a:solidFill>
              </a:rPr>
              <a:t>Sponsor</a:t>
            </a:r>
            <a:endParaRPr lang="nl-NL" sz="1400" b="1" dirty="0">
              <a:solidFill>
                <a:schemeClr val="tx1"/>
              </a:solidFill>
            </a:endParaRPr>
          </a:p>
        </p:txBody>
      </p:sp>
      <p:sp>
        <p:nvSpPr>
          <p:cNvPr id="27" name="Arrow: Down 26">
            <a:extLst>
              <a:ext uri="{FF2B5EF4-FFF2-40B4-BE49-F238E27FC236}">
                <a16:creationId xmlns:a16="http://schemas.microsoft.com/office/drawing/2014/main" id="{9D2CBAAA-1207-4F08-A7BC-F3209FEC47E5}"/>
              </a:ext>
            </a:extLst>
          </p:cNvPr>
          <p:cNvSpPr/>
          <p:nvPr/>
        </p:nvSpPr>
        <p:spPr>
          <a:xfrm>
            <a:off x="8784769" y="2043992"/>
            <a:ext cx="979714" cy="1537312"/>
          </a:xfrm>
          <a:prstGeom prst="down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28" name="Rectangle: Rounded Corners 27">
            <a:extLst>
              <a:ext uri="{FF2B5EF4-FFF2-40B4-BE49-F238E27FC236}">
                <a16:creationId xmlns:a16="http://schemas.microsoft.com/office/drawing/2014/main" id="{ED65AB85-763E-4152-AD8A-C30F371D0A75}"/>
              </a:ext>
            </a:extLst>
          </p:cNvPr>
          <p:cNvSpPr/>
          <p:nvPr/>
        </p:nvSpPr>
        <p:spPr>
          <a:xfrm>
            <a:off x="8340632" y="3581304"/>
            <a:ext cx="1867988" cy="65724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r>
              <a:rPr lang="fr-BE" sz="1400" b="1" dirty="0">
                <a:solidFill>
                  <a:schemeClr val="tx1"/>
                </a:solidFill>
              </a:rPr>
              <a:t>Portal UE</a:t>
            </a:r>
            <a:endParaRPr lang="nl-NL" sz="1400" b="1" dirty="0">
              <a:solidFill>
                <a:schemeClr val="tx1"/>
              </a:solidFill>
            </a:endParaRPr>
          </a:p>
        </p:txBody>
      </p:sp>
      <p:cxnSp>
        <p:nvCxnSpPr>
          <p:cNvPr id="30" name="Straight Arrow Connector 29">
            <a:extLst>
              <a:ext uri="{FF2B5EF4-FFF2-40B4-BE49-F238E27FC236}">
                <a16:creationId xmlns:a16="http://schemas.microsoft.com/office/drawing/2014/main" id="{92685E0D-17D7-42B1-99CE-55BD43D60873}"/>
              </a:ext>
            </a:extLst>
          </p:cNvPr>
          <p:cNvCxnSpPr>
            <a:cxnSpLocks/>
            <a:endCxn id="39" idx="0"/>
          </p:cNvCxnSpPr>
          <p:nvPr/>
        </p:nvCxnSpPr>
        <p:spPr>
          <a:xfrm flipH="1">
            <a:off x="7589516" y="4228629"/>
            <a:ext cx="966655" cy="902457"/>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0360AD8-51C7-4434-89A4-C0ABF82BF213}"/>
              </a:ext>
            </a:extLst>
          </p:cNvPr>
          <p:cNvCxnSpPr>
            <a:cxnSpLocks/>
            <a:endCxn id="41" idx="0"/>
          </p:cNvCxnSpPr>
          <p:nvPr/>
        </p:nvCxnSpPr>
        <p:spPr>
          <a:xfrm flipH="1">
            <a:off x="8712920" y="4238551"/>
            <a:ext cx="339640" cy="892535"/>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D8D04739-7DBF-4DB7-8BC0-85A57B321215}"/>
              </a:ext>
            </a:extLst>
          </p:cNvPr>
          <p:cNvCxnSpPr>
            <a:cxnSpLocks/>
            <a:endCxn id="44" idx="0"/>
          </p:cNvCxnSpPr>
          <p:nvPr/>
        </p:nvCxnSpPr>
        <p:spPr>
          <a:xfrm>
            <a:off x="9483634" y="4238551"/>
            <a:ext cx="418016" cy="892535"/>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3A51E42B-AF0A-4E93-B78B-7E8BC7061353}"/>
              </a:ext>
            </a:extLst>
          </p:cNvPr>
          <p:cNvCxnSpPr>
            <a:cxnSpLocks/>
          </p:cNvCxnSpPr>
          <p:nvPr/>
        </p:nvCxnSpPr>
        <p:spPr>
          <a:xfrm>
            <a:off x="10172694" y="4226375"/>
            <a:ext cx="548642" cy="904711"/>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A746E15D-A5F6-4359-ADCE-E5533340AEF5}"/>
              </a:ext>
            </a:extLst>
          </p:cNvPr>
          <p:cNvSpPr/>
          <p:nvPr/>
        </p:nvSpPr>
        <p:spPr>
          <a:xfrm>
            <a:off x="7132316" y="5131086"/>
            <a:ext cx="914400" cy="35897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r>
              <a:rPr lang="fr-BE" sz="1400" b="1" dirty="0">
                <a:solidFill>
                  <a:schemeClr val="tx1"/>
                </a:solidFill>
              </a:rPr>
              <a:t>France</a:t>
            </a:r>
            <a:endParaRPr lang="nl-NL" sz="1400" b="1" dirty="0">
              <a:solidFill>
                <a:schemeClr val="tx1"/>
              </a:solidFill>
            </a:endParaRPr>
          </a:p>
        </p:txBody>
      </p:sp>
      <p:sp>
        <p:nvSpPr>
          <p:cNvPr id="41" name="Rectangle: Rounded Corners 40">
            <a:extLst>
              <a:ext uri="{FF2B5EF4-FFF2-40B4-BE49-F238E27FC236}">
                <a16:creationId xmlns:a16="http://schemas.microsoft.com/office/drawing/2014/main" id="{23FA7D1D-BCE6-4138-810D-A5A9A7697A63}"/>
              </a:ext>
            </a:extLst>
          </p:cNvPr>
          <p:cNvSpPr/>
          <p:nvPr/>
        </p:nvSpPr>
        <p:spPr>
          <a:xfrm>
            <a:off x="8085900" y="5131086"/>
            <a:ext cx="1254039" cy="35897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r>
              <a:rPr lang="fr-BE" sz="1400" b="1" dirty="0">
                <a:solidFill>
                  <a:schemeClr val="tx1"/>
                </a:solidFill>
              </a:rPr>
              <a:t>Allemagne</a:t>
            </a:r>
            <a:endParaRPr lang="nl-NL" sz="1400" b="1" dirty="0">
              <a:solidFill>
                <a:schemeClr val="tx1"/>
              </a:solidFill>
            </a:endParaRPr>
          </a:p>
        </p:txBody>
      </p:sp>
      <p:sp>
        <p:nvSpPr>
          <p:cNvPr id="43" name="Rectangle: Rounded Corners 42">
            <a:extLst>
              <a:ext uri="{FF2B5EF4-FFF2-40B4-BE49-F238E27FC236}">
                <a16:creationId xmlns:a16="http://schemas.microsoft.com/office/drawing/2014/main" id="{AB6651FF-F472-4A01-B679-CC60A8B3F638}"/>
              </a:ext>
            </a:extLst>
          </p:cNvPr>
          <p:cNvSpPr/>
          <p:nvPr/>
        </p:nvSpPr>
        <p:spPr>
          <a:xfrm>
            <a:off x="10535180" y="5131085"/>
            <a:ext cx="914400" cy="35897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r>
              <a:rPr lang="fr-BE" sz="1400" b="1" dirty="0">
                <a:solidFill>
                  <a:schemeClr val="tx1"/>
                </a:solidFill>
              </a:rPr>
              <a:t>Italie </a:t>
            </a:r>
            <a:endParaRPr lang="nl-NL" sz="1400" b="1" dirty="0">
              <a:solidFill>
                <a:schemeClr val="tx1"/>
              </a:solidFill>
            </a:endParaRPr>
          </a:p>
        </p:txBody>
      </p:sp>
      <p:sp>
        <p:nvSpPr>
          <p:cNvPr id="44" name="Rectangle: Rounded Corners 43">
            <a:extLst>
              <a:ext uri="{FF2B5EF4-FFF2-40B4-BE49-F238E27FC236}">
                <a16:creationId xmlns:a16="http://schemas.microsoft.com/office/drawing/2014/main" id="{E8391F16-2F5D-4905-90AF-0C46FA52D282}"/>
              </a:ext>
            </a:extLst>
          </p:cNvPr>
          <p:cNvSpPr/>
          <p:nvPr/>
        </p:nvSpPr>
        <p:spPr>
          <a:xfrm>
            <a:off x="9444450" y="5131086"/>
            <a:ext cx="914400" cy="358977"/>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108000" tIns="72000" rIns="108000" bIns="72000" rtlCol="0" anchor="ctr"/>
          <a:lstStyle/>
          <a:p>
            <a:pPr algn="ctr"/>
            <a:r>
              <a:rPr lang="fr-BE" sz="1400" b="1" dirty="0">
                <a:solidFill>
                  <a:schemeClr val="tx1"/>
                </a:solidFill>
              </a:rPr>
              <a:t>Grèce</a:t>
            </a:r>
            <a:endParaRPr lang="nl-NL" sz="1400" b="1" dirty="0">
              <a:solidFill>
                <a:schemeClr val="tx1"/>
              </a:solidFill>
            </a:endParaRPr>
          </a:p>
        </p:txBody>
      </p:sp>
    </p:spTree>
    <p:extLst>
      <p:ext uri="{BB962C8B-B14F-4D97-AF65-F5344CB8AC3E}">
        <p14:creationId xmlns:p14="http://schemas.microsoft.com/office/powerpoint/2010/main" val="25026750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IAAAAAAAAAAwAAAAMAAAAA/////wQASwwAAAAAAAAAAAAAIAD///////////////8AAAD///////////////8DAAAAAgD///////////////////////////////////////////////////////////////////////////////////////////////////////////////////////////////////////////////////////////////////////////////////////////////////////////////////////////////////////////////////////////////////////////////////////////////////////////////////////////////////////////////////////////////////////////////////////////////////////////////////////////////////////////////////////////////////////////////////////////////////////////////8BACAA////////////////AAAO////////AwAAAAMA////////////////////////////////////////////////////////////////////////////////////////////////////////////////////////////////////////////////////////////////////////////////////////////////////////////////////////////////////////////////////////////////////////////////////////////////////////////////////////////////////////////////////////////////////////////////////////////////////////////////////////////////////////////////////////////////////////////////////////////////////////////////////////AgABAP///////wQAAAACABAACxXR5USMIo1Bkrn54xwseHwFAAAAAAADAAAAAAADAAAAAwADAAEA////////BAAAAAMAEAALGnb+YUqVWkeVCLpFWmp14w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OQLAAAAAAAAAAAAACAB////////////////AAAA////////////////BAAAAAMA////////BAAAAAMA////////BAAAAAMA////////BAAAAAIA////////BAAAAAIA////////////////////////////////////////////////////////////////////////////////////////////////////////////////////////////////////////////////////////////////////////////////////////////////////////////////////////////////////////////////////////////////////////////////////////////////////////////////////////////////////////////////////////////////////////////////////////////////////////////////////////////////////////////////AQAgAf///////////////wAADv///////wQAAAACAP///////////////////////////////////////////////////////////////////////////////////////////////////////////////////////////////////////////////////////////////////////////////////////////////////////////////////////////////////////////////////////////////////////////////////////////////////////////////////////////////////////////////////////////////////////////////////////////////////////////////////////////////////////////////////////////////////////////////////////////////////////////////////////wIABQEDAAAAAgD///////8aAAZMaW5rZWRTaGFwZXNEYXRhUHJvcGVydHlfMAUAAAAAAAQAAAADAAQAAAABAAQAAAADAP///////wQAAAADAP///////wQAAAAAAP///////wQAAAAAAP///////wMAAwEDAAAAAwD///////8lAAZMaW5rZWRTaGFwZVByZXNlbnRhdGlvblNldHRpbmdzRGF0YV8wBQAAAAE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BXR5USMIo1Bkrn54xwseHwDRGF0YQAbAAAABExpbmtlZFNoYXBlRGF0YQAFAAAAAAACTmFtZQAZAAAATGlua2VkU2hhcGVzRGF0YVByb3BlcnR5ABBWZXJzaW9uAAAAAAAJTGFzdFdyaXRlACn7zwJ8AQAAAAEA/////50AnQAAAAVfaWQAEAAAAAQadv5hSpVaR5UIukVaanXjA0RhdGEAKgAAAAhQcmVzZW50YXRpb25TY2FubmVkRm9yTGlua2VkU2hhcGVzAAEAAk5hbWUAJAAAAExpbmtlZFNoYXBlUHJlc2VudGF0aW9uU2V0dGluZ3NEYXRhABBWZXJzaW9uAAAAAAAJTGFzdFdyaXRlAGr7zwJ8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TITLESLIDEIMAGE" val="True"/>
  <p:tag name="TITLESLIDEIMAGEOPTION" val="1"/>
  <p:tag name="SLIDEDATE" val="19 octobre 2022"/>
  <p:tag name="SLIDENUMBER" val="True"/>
  <p:tag name="SLIDECOPYRIGHT" val="© Bird &amp; Bird LLP"/>
  <p:tag name="SLIDECOPYRIGHTLOGO" val="False"/>
  <p:tag name="ACCOLADESINCLUDED" val="False"/>
  <p:tag name="ACCOLADENUMBER" val=" 0"/>
  <p:tag name="TWOBIRDSOFFICES" val="True"/>
  <p:tag name="DISCLAIMERLANGUAGE" val="Chinese"/>
  <p:tag name="COLOURTHEME" val="Blue"/>
  <p:tag name="TWOBIRDSLOGO" val="Standard"/>
  <p:tag name="TWOBIRDSVALID" val="True"/>
</p:tagLst>
</file>

<file path=ppt/theme/theme1.xml><?xml version="1.0" encoding="utf-8"?>
<a:theme xmlns:a="http://schemas.openxmlformats.org/drawingml/2006/main" name="Bird &amp; Bird - 16x9">
  <a:themeElements>
    <a:clrScheme name="Bird &amp; Bird - Blue">
      <a:dk1>
        <a:srgbClr val="323E48"/>
      </a:dk1>
      <a:lt1>
        <a:sysClr val="window" lastClr="FFFFFF"/>
      </a:lt1>
      <a:dk2>
        <a:srgbClr val="005C82"/>
      </a:dk2>
      <a:lt2>
        <a:srgbClr val="E4E4E4"/>
      </a:lt2>
      <a:accent1>
        <a:srgbClr val="85ABE3"/>
      </a:accent1>
      <a:accent2>
        <a:srgbClr val="9EDED4"/>
      </a:accent2>
      <a:accent3>
        <a:srgbClr val="D19EC7"/>
      </a:accent3>
      <a:accent4>
        <a:srgbClr val="FFE84C"/>
      </a:accent4>
      <a:accent5>
        <a:srgbClr val="EDC2B2"/>
      </a:accent5>
      <a:accent6>
        <a:srgbClr val="FFA169"/>
      </a:accent6>
      <a:hlink>
        <a:srgbClr val="005C82"/>
      </a:hlink>
      <a:folHlink>
        <a:srgbClr val="323E48"/>
      </a:folHlink>
    </a:clrScheme>
    <a:fontScheme name="Bird &amp; Bird">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smtClean="0"/>
        </a:defPPr>
      </a:lstStyle>
    </a:txDef>
  </a:objectDefaults>
  <a:extraClrSchemeLst>
    <a:extraClrScheme>
      <a:clrScheme name="Bird &amp; Bird - Blue">
        <a:dk1>
          <a:srgbClr val="323E48"/>
        </a:dk1>
        <a:lt1>
          <a:sysClr val="window" lastClr="FFFFFF"/>
        </a:lt1>
        <a:dk2>
          <a:srgbClr val="005C82"/>
        </a:dk2>
        <a:lt2>
          <a:srgbClr val="E4E4E4"/>
        </a:lt2>
        <a:accent1>
          <a:srgbClr val="85ABE3"/>
        </a:accent1>
        <a:accent2>
          <a:srgbClr val="9EDED4"/>
        </a:accent2>
        <a:accent3>
          <a:srgbClr val="D19EC7"/>
        </a:accent3>
        <a:accent4>
          <a:srgbClr val="FFE84C"/>
        </a:accent4>
        <a:accent5>
          <a:srgbClr val="EDC2B2"/>
        </a:accent5>
        <a:accent6>
          <a:srgbClr val="FFA169"/>
        </a:accent6>
        <a:hlink>
          <a:srgbClr val="005C82"/>
        </a:hlink>
        <a:folHlink>
          <a:srgbClr val="323E48"/>
        </a:folHlink>
      </a:clrScheme>
    </a:extraClrScheme>
    <a:extraClrScheme>
      <a:clrScheme name="Bird &amp; Bird - Green">
        <a:dk1>
          <a:srgbClr val="323E48"/>
        </a:dk1>
        <a:lt1>
          <a:sysClr val="window" lastClr="FFFFFF"/>
        </a:lt1>
        <a:dk2>
          <a:srgbClr val="477529"/>
        </a:dk2>
        <a:lt2>
          <a:srgbClr val="E4E4E4"/>
        </a:lt2>
        <a:accent1>
          <a:srgbClr val="BFDE8A"/>
        </a:accent1>
        <a:accent2>
          <a:srgbClr val="FFE84C"/>
        </a:accent2>
        <a:accent3>
          <a:srgbClr val="85ABE3"/>
        </a:accent3>
        <a:accent4>
          <a:srgbClr val="FFA169"/>
        </a:accent4>
        <a:accent5>
          <a:srgbClr val="9EDED4"/>
        </a:accent5>
        <a:accent6>
          <a:srgbClr val="D19EC7"/>
        </a:accent6>
        <a:hlink>
          <a:srgbClr val="477529"/>
        </a:hlink>
        <a:folHlink>
          <a:srgbClr val="323E48"/>
        </a:folHlink>
      </a:clrScheme>
    </a:extraClrScheme>
    <a:extraClrScheme>
      <a:clrScheme name="Bird &amp; Bird - Pink">
        <a:dk1>
          <a:srgbClr val="323E48"/>
        </a:dk1>
        <a:lt1>
          <a:sysClr val="window" lastClr="FFFFFF"/>
        </a:lt1>
        <a:dk2>
          <a:srgbClr val="CC3666"/>
        </a:dk2>
        <a:lt2>
          <a:srgbClr val="E4E4E4"/>
        </a:lt2>
        <a:accent1>
          <a:srgbClr val="FFB0BA"/>
        </a:accent1>
        <a:accent2>
          <a:srgbClr val="D19EC7"/>
        </a:accent2>
        <a:accent3>
          <a:srgbClr val="FFA169"/>
        </a:accent3>
        <a:accent4>
          <a:srgbClr val="85ABE3"/>
        </a:accent4>
        <a:accent5>
          <a:srgbClr val="EDC2B2"/>
        </a:accent5>
        <a:accent6>
          <a:srgbClr val="FFE84C"/>
        </a:accent6>
        <a:hlink>
          <a:srgbClr val="CC3666"/>
        </a:hlink>
        <a:folHlink>
          <a:srgbClr val="323E48"/>
        </a:folHlink>
      </a:clrScheme>
    </a:extraClrScheme>
    <a:extraClrScheme>
      <a:clrScheme name="Bird &amp; Bird - Purple">
        <a:dk1>
          <a:srgbClr val="323E48"/>
        </a:dk1>
        <a:lt1>
          <a:sysClr val="window" lastClr="FFFFFF"/>
        </a:lt1>
        <a:dk2>
          <a:srgbClr val="5C265C"/>
        </a:dk2>
        <a:lt2>
          <a:srgbClr val="E4E4E4"/>
        </a:lt2>
        <a:accent1>
          <a:srgbClr val="D19EC7"/>
        </a:accent1>
        <a:accent2>
          <a:srgbClr val="FFA169"/>
        </a:accent2>
        <a:accent3>
          <a:srgbClr val="FFE84C"/>
        </a:accent3>
        <a:accent4>
          <a:srgbClr val="FFB0BA"/>
        </a:accent4>
        <a:accent5>
          <a:srgbClr val="BFDE8A"/>
        </a:accent5>
        <a:accent6>
          <a:srgbClr val="85ABE3"/>
        </a:accent6>
        <a:hlink>
          <a:srgbClr val="5C265C"/>
        </a:hlink>
        <a:folHlink>
          <a:srgbClr val="323E48"/>
        </a:folHlink>
      </a:clrScheme>
    </a:extraClrScheme>
  </a:extraClrSchemeLst>
  <a:custClrLst>
    <a:custClr name="Lime">
      <a:srgbClr val="C0DF8A"/>
    </a:custClr>
    <a:custClr name="Teal">
      <a:srgbClr val="9FDDD3"/>
    </a:custClr>
    <a:custClr name="Pink">
      <a:srgbClr val="FFB1BA"/>
    </a:custClr>
    <a:custClr name="Lilac">
      <a:srgbClr val="D09EC8"/>
    </a:custClr>
    <a:custClr name="Yellow">
      <a:srgbClr val="FFE84D"/>
    </a:custClr>
    <a:custClr name="Blue">
      <a:srgbClr val="84AAE4"/>
    </a:custClr>
    <a:custClr name="Orange">
      <a:srgbClr val="FFA069"/>
    </a:custClr>
    <a:custClr name="Sand">
      <a:srgbClr val="EDC2B2"/>
    </a:custClr>
    <a:custClr name=" ">
      <a:srgbClr val="FFFFFF"/>
    </a:custClr>
    <a:custClr name=" ">
      <a:srgbClr val="FFFFFF"/>
    </a:custClr>
    <a:custClr name="Lime 80%">
      <a:srgbClr val="CDE5A1"/>
    </a:custClr>
    <a:custClr name="Teal 80%">
      <a:srgbClr val="B2E4DC"/>
    </a:custClr>
    <a:custClr name="Pink 80%">
      <a:srgbClr val="FFC1C8"/>
    </a:custClr>
    <a:custClr name="Lilac 80%">
      <a:srgbClr val="D9B1D3"/>
    </a:custClr>
    <a:custClr name="Yellow 80%">
      <a:srgbClr val="FFED71"/>
    </a:custClr>
    <a:custClr name="Blue 80%">
      <a:srgbClr val="9DBBE9"/>
    </a:custClr>
    <a:custClr name="Orange 80%">
      <a:srgbClr val="FFB387"/>
    </a:custClr>
    <a:custClr name="Sand 80%">
      <a:srgbClr val="F1CEC1"/>
    </a:custClr>
    <a:custClr name=" ">
      <a:srgbClr val="FFFFFF"/>
    </a:custClr>
    <a:custClr name=" ">
      <a:srgbClr val="FFFFFF"/>
    </a:custClr>
    <a:custClr name="Lime 50%">
      <a:srgbClr val="E0EFC5"/>
    </a:custClr>
    <a:custClr name="Teal 50%">
      <a:srgbClr val="CFEEE9"/>
    </a:custClr>
    <a:custClr name="Pink 50%">
      <a:srgbClr val="FFD8DD"/>
    </a:custClr>
    <a:custClr name="Lilac 50%">
      <a:srgbClr val="E8CFE4"/>
    </a:custClr>
    <a:custClr name="Yellow 50%">
      <a:srgbClr val="FFF4A6"/>
    </a:custClr>
    <a:custClr name="Blue 50%">
      <a:srgbClr val="C2D5F2"/>
    </a:custClr>
    <a:custClr name="Orange 50%">
      <a:srgbClr val="FFD0B4"/>
    </a:custClr>
    <a:custClr name="Sand 50%">
      <a:srgbClr val="F6E1D9"/>
    </a:custClr>
    <a:custClr name=" ">
      <a:srgbClr val="FFFFFF"/>
    </a:custClr>
    <a:custClr name=" ">
      <a:srgbClr val="FFFFFF"/>
    </a:custClr>
    <a:custClr name="Lime 30%">
      <a:srgbClr val="ECF5DC"/>
    </a:custClr>
    <a:custClr name="Teal 30%">
      <a:srgbClr val="E2F5F2"/>
    </a:custClr>
    <a:custClr name="Pink 30%">
      <a:srgbClr val="FFE8EA"/>
    </a:custClr>
    <a:custClr name="Lilac 30%">
      <a:srgbClr val="F1E2EF"/>
    </a:custClr>
    <a:custClr name="Yellow 30%">
      <a:srgbClr val="FFF8CA"/>
    </a:custClr>
    <a:custClr name="Blue 30%">
      <a:srgbClr val="DAE6F7"/>
    </a:custClr>
    <a:custClr name="Orange 30%">
      <a:srgbClr val="FFE3D2"/>
    </a:custClr>
    <a:custClr name="Sand 30%">
      <a:srgbClr val="FAEDE8"/>
    </a:custClr>
    <a:custClr name=" ">
      <a:srgbClr val="FFFFFF"/>
    </a:custClr>
    <a:custClr name=" ">
      <a:srgbClr val="FFFFFF"/>
    </a:custClr>
    <a:custClr name="Secondary Dark Green">
      <a:srgbClr val="477628"/>
    </a:custClr>
    <a:custClr name="Secondary Dark Blue">
      <a:srgbClr val="005C83"/>
    </a:custClr>
    <a:custClr name="Secondary Dark Purple">
      <a:srgbClr val="5B255D"/>
    </a:custClr>
    <a:custClr name="Secondary Dark Pink">
      <a:srgbClr val="CB3665"/>
    </a:custClr>
  </a:custClrLst>
  <a:extLst>
    <a:ext uri="{05A4C25C-085E-4340-85A3-A5531E510DB2}">
      <thm15:themeFamily xmlns:thm15="http://schemas.microsoft.com/office/thememl/2012/main" name="Our Brand - 16x9 template.potx" id="{D2EEC3E2-84DA-440B-9787-519917DB30B8}" vid="{35C4F7BA-1261-4842-8FDD-64B1FB2DD7D4}"/>
    </a:ext>
  </a:extLst>
</a:theme>
</file>

<file path=ppt/theme/theme2.xml><?xml version="1.0" encoding="utf-8"?>
<a:theme xmlns:a="http://schemas.openxmlformats.org/drawingml/2006/main" name="1_Bird &amp; Bird - 16x9">
  <a:themeElements>
    <a:clrScheme name="Bird &amp; Bird - Purple">
      <a:dk1>
        <a:srgbClr val="323E48"/>
      </a:dk1>
      <a:lt1>
        <a:sysClr val="window" lastClr="FFFFFF"/>
      </a:lt1>
      <a:dk2>
        <a:srgbClr val="5C265C"/>
      </a:dk2>
      <a:lt2>
        <a:srgbClr val="E4E4E4"/>
      </a:lt2>
      <a:accent1>
        <a:srgbClr val="D19EC7"/>
      </a:accent1>
      <a:accent2>
        <a:srgbClr val="FFA169"/>
      </a:accent2>
      <a:accent3>
        <a:srgbClr val="FFE84C"/>
      </a:accent3>
      <a:accent4>
        <a:srgbClr val="FFB0BA"/>
      </a:accent4>
      <a:accent5>
        <a:srgbClr val="BFDE8A"/>
      </a:accent5>
      <a:accent6>
        <a:srgbClr val="85ABE3"/>
      </a:accent6>
      <a:hlink>
        <a:srgbClr val="5C265C"/>
      </a:hlink>
      <a:folHlink>
        <a:srgbClr val="323E48"/>
      </a:folHlink>
    </a:clrScheme>
    <a:fontScheme name="Bird &amp; Bird">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smtClean="0"/>
        </a:defPPr>
      </a:lstStyle>
    </a:txDef>
  </a:objectDefaults>
  <a:extraClrSchemeLst>
    <a:extraClrScheme>
      <a:clrScheme name="Bird &amp; Bird - Blue">
        <a:dk1>
          <a:srgbClr val="323E48"/>
        </a:dk1>
        <a:lt1>
          <a:sysClr val="window" lastClr="FFFFFF"/>
        </a:lt1>
        <a:dk2>
          <a:srgbClr val="005C82"/>
        </a:dk2>
        <a:lt2>
          <a:srgbClr val="E4E4E4"/>
        </a:lt2>
        <a:accent1>
          <a:srgbClr val="85ABE3"/>
        </a:accent1>
        <a:accent2>
          <a:srgbClr val="9EDED4"/>
        </a:accent2>
        <a:accent3>
          <a:srgbClr val="D19EC7"/>
        </a:accent3>
        <a:accent4>
          <a:srgbClr val="FFE84C"/>
        </a:accent4>
        <a:accent5>
          <a:srgbClr val="EDC2B2"/>
        </a:accent5>
        <a:accent6>
          <a:srgbClr val="FFA169"/>
        </a:accent6>
        <a:hlink>
          <a:srgbClr val="005C82"/>
        </a:hlink>
        <a:folHlink>
          <a:srgbClr val="323E48"/>
        </a:folHlink>
      </a:clrScheme>
    </a:extraClrScheme>
    <a:extraClrScheme>
      <a:clrScheme name="Bird &amp; Bird - Green">
        <a:dk1>
          <a:srgbClr val="323E48"/>
        </a:dk1>
        <a:lt1>
          <a:sysClr val="window" lastClr="FFFFFF"/>
        </a:lt1>
        <a:dk2>
          <a:srgbClr val="477529"/>
        </a:dk2>
        <a:lt2>
          <a:srgbClr val="E4E4E4"/>
        </a:lt2>
        <a:accent1>
          <a:srgbClr val="BFDE8A"/>
        </a:accent1>
        <a:accent2>
          <a:srgbClr val="FFE84C"/>
        </a:accent2>
        <a:accent3>
          <a:srgbClr val="85ABE3"/>
        </a:accent3>
        <a:accent4>
          <a:srgbClr val="FFA169"/>
        </a:accent4>
        <a:accent5>
          <a:srgbClr val="9EDED4"/>
        </a:accent5>
        <a:accent6>
          <a:srgbClr val="D19EC7"/>
        </a:accent6>
        <a:hlink>
          <a:srgbClr val="477529"/>
        </a:hlink>
        <a:folHlink>
          <a:srgbClr val="323E48"/>
        </a:folHlink>
      </a:clrScheme>
    </a:extraClrScheme>
    <a:extraClrScheme>
      <a:clrScheme name="Bird &amp; Bird - Pink">
        <a:dk1>
          <a:srgbClr val="323E48"/>
        </a:dk1>
        <a:lt1>
          <a:sysClr val="window" lastClr="FFFFFF"/>
        </a:lt1>
        <a:dk2>
          <a:srgbClr val="CC3666"/>
        </a:dk2>
        <a:lt2>
          <a:srgbClr val="E4E4E4"/>
        </a:lt2>
        <a:accent1>
          <a:srgbClr val="FFB0BA"/>
        </a:accent1>
        <a:accent2>
          <a:srgbClr val="D19EC7"/>
        </a:accent2>
        <a:accent3>
          <a:srgbClr val="FFA169"/>
        </a:accent3>
        <a:accent4>
          <a:srgbClr val="85ABE3"/>
        </a:accent4>
        <a:accent5>
          <a:srgbClr val="EDC2B2"/>
        </a:accent5>
        <a:accent6>
          <a:srgbClr val="FFE84C"/>
        </a:accent6>
        <a:hlink>
          <a:srgbClr val="CC3666"/>
        </a:hlink>
        <a:folHlink>
          <a:srgbClr val="323E48"/>
        </a:folHlink>
      </a:clrScheme>
    </a:extraClrScheme>
    <a:extraClrScheme>
      <a:clrScheme name="Bird &amp; Bird - Purple">
        <a:dk1>
          <a:srgbClr val="323E48"/>
        </a:dk1>
        <a:lt1>
          <a:sysClr val="window" lastClr="FFFFFF"/>
        </a:lt1>
        <a:dk2>
          <a:srgbClr val="5C265C"/>
        </a:dk2>
        <a:lt2>
          <a:srgbClr val="E4E4E4"/>
        </a:lt2>
        <a:accent1>
          <a:srgbClr val="D19EC7"/>
        </a:accent1>
        <a:accent2>
          <a:srgbClr val="FFA169"/>
        </a:accent2>
        <a:accent3>
          <a:srgbClr val="FFE84C"/>
        </a:accent3>
        <a:accent4>
          <a:srgbClr val="FFB0BA"/>
        </a:accent4>
        <a:accent5>
          <a:srgbClr val="BFDE8A"/>
        </a:accent5>
        <a:accent6>
          <a:srgbClr val="85ABE3"/>
        </a:accent6>
        <a:hlink>
          <a:srgbClr val="5C265C"/>
        </a:hlink>
        <a:folHlink>
          <a:srgbClr val="323E48"/>
        </a:folHlink>
      </a:clrScheme>
    </a:extraClrScheme>
  </a:extraClrSchemeLst>
  <a:custClrLst>
    <a:custClr name="Lime">
      <a:srgbClr val="C0DF8A"/>
    </a:custClr>
    <a:custClr name="Teal">
      <a:srgbClr val="9FDDD3"/>
    </a:custClr>
    <a:custClr name="Pink">
      <a:srgbClr val="FFB1BA"/>
    </a:custClr>
    <a:custClr name="Lilac">
      <a:srgbClr val="D09EC8"/>
    </a:custClr>
    <a:custClr name="Yellow">
      <a:srgbClr val="FFE84D"/>
    </a:custClr>
    <a:custClr name="Blue">
      <a:srgbClr val="84AAE4"/>
    </a:custClr>
    <a:custClr name="Orange">
      <a:srgbClr val="FFA069"/>
    </a:custClr>
    <a:custClr name="Sand">
      <a:srgbClr val="EDC2B2"/>
    </a:custClr>
    <a:custClr name=" ">
      <a:srgbClr val="FFFFFF"/>
    </a:custClr>
    <a:custClr name=" ">
      <a:srgbClr val="FFFFFF"/>
    </a:custClr>
    <a:custClr name="Lime 80%">
      <a:srgbClr val="CDE5A1"/>
    </a:custClr>
    <a:custClr name="Teal 80%">
      <a:srgbClr val="B2E4DC"/>
    </a:custClr>
    <a:custClr name="Pink 80%">
      <a:srgbClr val="FFC1C8"/>
    </a:custClr>
    <a:custClr name="Lilac 80%">
      <a:srgbClr val="D9B1D3"/>
    </a:custClr>
    <a:custClr name="Yellow 80%">
      <a:srgbClr val="FFED71"/>
    </a:custClr>
    <a:custClr name="Blue 80%">
      <a:srgbClr val="9DBBE9"/>
    </a:custClr>
    <a:custClr name="Orange 80%">
      <a:srgbClr val="FFB387"/>
    </a:custClr>
    <a:custClr name="Sand 80%">
      <a:srgbClr val="F1CEC1"/>
    </a:custClr>
    <a:custClr name=" ">
      <a:srgbClr val="FFFFFF"/>
    </a:custClr>
    <a:custClr name=" ">
      <a:srgbClr val="FFFFFF"/>
    </a:custClr>
    <a:custClr name="Lime 50%">
      <a:srgbClr val="E0EFC5"/>
    </a:custClr>
    <a:custClr name="Teal 50%">
      <a:srgbClr val="CFEEE9"/>
    </a:custClr>
    <a:custClr name="Pink 50%">
      <a:srgbClr val="FFD8DD"/>
    </a:custClr>
    <a:custClr name="Lilac 50%">
      <a:srgbClr val="E8CFE4"/>
    </a:custClr>
    <a:custClr name="Yellow 50%">
      <a:srgbClr val="FFF4A6"/>
    </a:custClr>
    <a:custClr name="Blue 50%">
      <a:srgbClr val="C2D5F2"/>
    </a:custClr>
    <a:custClr name="Orange 50%">
      <a:srgbClr val="FFD0B4"/>
    </a:custClr>
    <a:custClr name="Sand 50%">
      <a:srgbClr val="F6E1D9"/>
    </a:custClr>
    <a:custClr name=" ">
      <a:srgbClr val="FFFFFF"/>
    </a:custClr>
    <a:custClr name=" ">
      <a:srgbClr val="FFFFFF"/>
    </a:custClr>
    <a:custClr name="Lime 30%">
      <a:srgbClr val="ECF5DC"/>
    </a:custClr>
    <a:custClr name="Teal 30%">
      <a:srgbClr val="E2F5F2"/>
    </a:custClr>
    <a:custClr name="Pink 30%">
      <a:srgbClr val="FFE8EA"/>
    </a:custClr>
    <a:custClr name="Lilac 30%">
      <a:srgbClr val="F1E2EF"/>
    </a:custClr>
    <a:custClr name="Yellow 30%">
      <a:srgbClr val="FFF8CA"/>
    </a:custClr>
    <a:custClr name="Blue 30%">
      <a:srgbClr val="DAE6F7"/>
    </a:custClr>
    <a:custClr name="Orange 30%">
      <a:srgbClr val="FFE3D2"/>
    </a:custClr>
    <a:custClr name="Sand 30%">
      <a:srgbClr val="FAEDE8"/>
    </a:custClr>
    <a:custClr name=" ">
      <a:srgbClr val="FFFFFF"/>
    </a:custClr>
    <a:custClr name=" ">
      <a:srgbClr val="FFFFFF"/>
    </a:custClr>
    <a:custClr name="Secondary Dark Green">
      <a:srgbClr val="477628"/>
    </a:custClr>
    <a:custClr name="Secondary Dark Blue">
      <a:srgbClr val="005C83"/>
    </a:custClr>
    <a:custClr name="Secondary Dark Purple">
      <a:srgbClr val="5B255D"/>
    </a:custClr>
    <a:custClr name="Secondary Dark Pink">
      <a:srgbClr val="CB3665"/>
    </a:custClr>
  </a:custClrLst>
  <a:extLst>
    <a:ext uri="{05A4C25C-085E-4340-85A3-A5531E510DB2}">
      <thm15:themeFamily xmlns:thm15="http://schemas.microsoft.com/office/thememl/2012/main" name="Our Brand - 16x9 template.potx" id="{B529E14C-4340-4235-B10E-B1092BB43406}" vid="{E131E02B-1C93-43F0-B208-4F449FF1181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item4.xml>��< ? x m l   v e r s i o n = " 1 . 0 "   e n c o d i n g = " u t f - 1 6 " ? >  
 < p r o p e r t i e s   x m l n s = " h t t p : / / w w w . i m a n a g e . c o m / w o r k / x m l s c h e m a " >  
     < d o c u m e n t i d > A D M I N ! 5 4 3 4 0 0 6 7 . 4 < / d o c u m e n t i d >  
     < s e n d e r i d > M Z M < / s e n d e r i d >  
     < s e n d e r e m a i l > M A R C . M A R T E N S @ T W O B I R D S . C O M < / s e n d e r e m a i l >  
     < l a s t m o d i f i e d > 2 0 2 2 - 1 1 - 1 4 T 2 2 : 2 2 : 5 7 . 0 0 0 0 0 0 0 + 0 1 : 0 0 < / l a s t m o d i f i e d >  
     < d a t a b a s e > A D M I N < / d a t a b a s e >  
 < / p r o p e r t i e s > 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5D18E754D399F47815B5731EFB7C9E7" ma:contentTypeVersion="15" ma:contentTypeDescription="Create a new document." ma:contentTypeScope="" ma:versionID="67ab5e2c3b70ddc7254d3120b8837971">
  <xsd:schema xmlns:xsd="http://www.w3.org/2001/XMLSchema" xmlns:xs="http://www.w3.org/2001/XMLSchema" xmlns:p="http://schemas.microsoft.com/office/2006/metadata/properties" xmlns:ns1="http://schemas.microsoft.com/sharepoint/v3" xmlns:ns2="e139d09a-41d9-45b5-98a0-2e84292a6e2c" xmlns:ns3="a98157ff-b017-4921-8ad2-a7dd8004cc35" targetNamespace="http://schemas.microsoft.com/office/2006/metadata/properties" ma:root="true" ma:fieldsID="b583f095682e950bc8561491ae59fa51" ns1:_="" ns2:_="" ns3:_="">
    <xsd:import namespace="http://schemas.microsoft.com/sharepoint/v3"/>
    <xsd:import namespace="e139d09a-41d9-45b5-98a0-2e84292a6e2c"/>
    <xsd:import namespace="a98157ff-b017-4921-8ad2-a7dd8004cc3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139d09a-41d9-45b5-98a0-2e84292a6e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98157ff-b017-4921-8ad2-a7dd8004cc35"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7DD9CF9-8FFE-42E6-A34E-F2A385143CE7}">
  <ds:schemaRefs>
    <ds:schemaRef ds:uri="http://purl.org/dc/terms/"/>
    <ds:schemaRef ds:uri="http://purl.org/dc/elements/1.1/"/>
    <ds:schemaRef ds:uri="http://purl.org/dc/dcmitype/"/>
    <ds:schemaRef ds:uri="http://schemas.microsoft.com/sharepoint/v3"/>
    <ds:schemaRef ds:uri="http://schemas.openxmlformats.org/package/2006/metadata/core-properties"/>
    <ds:schemaRef ds:uri="e139d09a-41d9-45b5-98a0-2e84292a6e2c"/>
    <ds:schemaRef ds:uri="http://www.w3.org/XML/1998/namespace"/>
    <ds:schemaRef ds:uri="http://schemas.microsoft.com/office/2006/documentManagement/types"/>
    <ds:schemaRef ds:uri="http://schemas.microsoft.com/office/infopath/2007/PartnerControls"/>
    <ds:schemaRef ds:uri="a98157ff-b017-4921-8ad2-a7dd8004cc35"/>
    <ds:schemaRef ds:uri="http://schemas.microsoft.com/office/2006/metadata/properties"/>
  </ds:schemaRefs>
</ds:datastoreItem>
</file>

<file path=customXml/itemProps2.xml><?xml version="1.0" encoding="utf-8"?>
<ds:datastoreItem xmlns:ds="http://schemas.openxmlformats.org/officeDocument/2006/customXml" ds:itemID="{978467B0-637C-4192-BD0A-159DA533E583}">
  <ds:schemaRefs>
    <ds:schemaRef ds:uri="http://schemas.microsoft.com/sharepoint/v3/contenttype/forms"/>
  </ds:schemaRefs>
</ds:datastoreItem>
</file>

<file path=customXml/itemProps3.xml><?xml version="1.0" encoding="utf-8"?>
<ds:datastoreItem xmlns:ds="http://schemas.openxmlformats.org/officeDocument/2006/customXml" ds:itemID="{5E063506-32F2-45D2-99EF-6576814F8F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139d09a-41d9-45b5-98a0-2e84292a6e2c"/>
    <ds:schemaRef ds:uri="a98157ff-b017-4921-8ad2-a7dd8004cc3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ur Brand - 16x9 template</Template>
  <TotalTime>5663</TotalTime>
  <Words>9670</Words>
  <Application>Microsoft Office PowerPoint</Application>
  <PresentationFormat>Widescreen</PresentationFormat>
  <Paragraphs>611</Paragraphs>
  <Slides>24</Slides>
  <Notes>20</Notes>
  <HiddenSlides>0</HiddenSlides>
  <MMClips>0</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24</vt:i4>
      </vt:variant>
    </vt:vector>
  </HeadingPairs>
  <TitlesOfParts>
    <vt:vector size="37" baseType="lpstr">
      <vt:lpstr>35 Light</vt:lpstr>
      <vt:lpstr>Arial</vt:lpstr>
      <vt:lpstr>Calibri</vt:lpstr>
      <vt:lpstr>Calibri Light</vt:lpstr>
      <vt:lpstr>Courier New</vt:lpstr>
      <vt:lpstr>Georgia</vt:lpstr>
      <vt:lpstr>OpenSans-Light</vt:lpstr>
      <vt:lpstr>proxima-nova</vt:lpstr>
      <vt:lpstr>Symbol</vt:lpstr>
      <vt:lpstr>Times New Roman</vt:lpstr>
      <vt:lpstr>Verdana</vt:lpstr>
      <vt:lpstr>Bird &amp; Bird - 16x9</vt:lpstr>
      <vt:lpstr>1_Bird &amp; Bird - 16x9</vt:lpstr>
      <vt:lpstr>Règlement de l'UE sur les essais cliniques</vt:lpstr>
      <vt:lpstr>Agenda</vt:lpstr>
      <vt:lpstr>Essais Cliniques dans le temps</vt:lpstr>
      <vt:lpstr>Introduction au règlement sur les essais cliniques</vt:lpstr>
      <vt:lpstr>Rappel Champ d'application du Règlement EC</vt:lpstr>
      <vt:lpstr>Principaux changements dans le règlement</vt:lpstr>
      <vt:lpstr>PowerPoint Presentation</vt:lpstr>
      <vt:lpstr>Nouvelle procédure de soumission </vt:lpstr>
      <vt:lpstr>Nouvelle procédure de soumission </vt:lpstr>
      <vt:lpstr>Rappel des délais stricts (max. 160 jours) (art 5-8)</vt:lpstr>
      <vt:lpstr>Système d'Information sur les Essais  Clinical Trials Information System (CTIS) </vt:lpstr>
      <vt:lpstr>Clinical Trials Information System (CTIS) </vt:lpstr>
      <vt:lpstr>Plus de transparence</vt:lpstr>
      <vt:lpstr>Exceptions limitées à la transparence</vt:lpstr>
      <vt:lpstr>Limitations à la transparence Report</vt:lpstr>
      <vt:lpstr>Copromotion</vt:lpstr>
      <vt:lpstr>Nouveau concept d'essais cliniques à faible niveau d'intervention  </vt:lpstr>
      <vt:lpstr>Mise en œuvre du Règlement en France</vt:lpstr>
      <vt:lpstr>Avantages</vt:lpstr>
      <vt:lpstr>Q&amp;A</vt:lpstr>
      <vt:lpstr>Mise à jour des conditions en matière de consentement éclairé</vt:lpstr>
      <vt:lpstr>Utilisation secondaire des données pour la recherche scientifique - nouvelle base juridique ? </vt:lpstr>
      <vt:lpstr>Autres changements importants</vt:lpstr>
      <vt:lpstr>Transparenc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U Clinical Trials Regulation</dc:title>
  <dc:creator>Lora Arifagic</dc:creator>
  <cp:lastModifiedBy>Marc Martens</cp:lastModifiedBy>
  <cp:revision>38</cp:revision>
  <dcterms:created xsi:type="dcterms:W3CDTF">2022-10-19T09:34:40Z</dcterms:created>
  <dcterms:modified xsi:type="dcterms:W3CDTF">2022-11-14T21:22: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5D18E754D399F47815B5731EFB7C9E7</vt:lpwstr>
  </property>
  <property fmtid="{D5CDD505-2E9C-101B-9397-08002B2CF9AE}" pid="3" name="TwoBirdsTemplateName">
    <vt:lpwstr>Our Brand - 16x9 template</vt:lpwstr>
  </property>
  <property fmtid="{D5CDD505-2E9C-101B-9397-08002B2CF9AE}" pid="4" name="TwoBirdsTemplateDate">
    <vt:lpwstr>11 December 2022</vt:lpwstr>
  </property>
  <property fmtid="{D5CDD505-2E9C-101B-9397-08002B2CF9AE}" pid="5" name="TwoBirdsTemplateVersion">
    <vt:lpwstr>1.0</vt:lpwstr>
  </property>
</Properties>
</file>